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ags/tag4.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6.xml" ContentType="application/vnd.openxmlformats-officedocument.theme+xml"/>
  <Override PartName="/ppt/tags/tag6.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notesSlides/notesSlide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2.xml" ContentType="application/vnd.openxmlformats-officedocument.presentationml.notesSlide+xml"/>
  <Override PartName="/ppt/ink/ink1.xml" ContentType="application/inkml+xml"/>
  <Override PartName="/ppt/ink/ink2.xml" ContentType="application/inkml+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21" r:id="rId4"/>
    <p:sldMasterId id="2147483745" r:id="rId5"/>
    <p:sldMasterId id="2147483881" r:id="rId6"/>
    <p:sldMasterId id="2147483770" r:id="rId7"/>
    <p:sldMasterId id="2147483776" r:id="rId8"/>
    <p:sldMasterId id="2147483801" r:id="rId9"/>
    <p:sldMasterId id="2147483826" r:id="rId10"/>
    <p:sldMasterId id="2147483835" r:id="rId11"/>
  </p:sldMasterIdLst>
  <p:notesMasterIdLst>
    <p:notesMasterId r:id="rId34"/>
  </p:notesMasterIdLst>
  <p:handoutMasterIdLst>
    <p:handoutMasterId r:id="rId35"/>
  </p:handoutMasterIdLst>
  <p:sldIdLst>
    <p:sldId id="438" r:id="rId12"/>
    <p:sldId id="2147476896" r:id="rId13"/>
    <p:sldId id="618" r:id="rId14"/>
    <p:sldId id="619" r:id="rId15"/>
    <p:sldId id="2147476904" r:id="rId16"/>
    <p:sldId id="2147476900" r:id="rId17"/>
    <p:sldId id="624" r:id="rId18"/>
    <p:sldId id="2147476880" r:id="rId19"/>
    <p:sldId id="2147476878" r:id="rId20"/>
    <p:sldId id="2147475061" r:id="rId21"/>
    <p:sldId id="629" r:id="rId22"/>
    <p:sldId id="2147476869" r:id="rId23"/>
    <p:sldId id="2147474916" r:id="rId24"/>
    <p:sldId id="633" r:id="rId25"/>
    <p:sldId id="838" r:id="rId26"/>
    <p:sldId id="2147476870" r:id="rId27"/>
    <p:sldId id="2147476871" r:id="rId28"/>
    <p:sldId id="2147476892" r:id="rId29"/>
    <p:sldId id="2147474991" r:id="rId30"/>
    <p:sldId id="2147476894" r:id="rId31"/>
    <p:sldId id="2147476905" r:id="rId32"/>
    <p:sldId id="1493" r:id="rId33"/>
  </p:sldIdLst>
  <p:sldSz cx="9906000" cy="6858000" type="A4"/>
  <p:notesSz cx="7102475" cy="10233025"/>
  <p:custDataLst>
    <p:tags r:id="rId3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912" userDrawn="1">
          <p15:clr>
            <a:srgbClr val="A4A3A4"/>
          </p15:clr>
        </p15:guide>
        <p15:guide id="3" pos="172" userDrawn="1">
          <p15:clr>
            <a:srgbClr val="A4A3A4"/>
          </p15:clr>
        </p15:guide>
        <p15:guide id="4" pos="6046" userDrawn="1">
          <p15:clr>
            <a:srgbClr val="A4A3A4"/>
          </p15:clr>
        </p15:guide>
        <p15:guide id="5" orient="horz" pos="119" userDrawn="1">
          <p15:clr>
            <a:srgbClr val="A4A3A4"/>
          </p15:clr>
        </p15:guide>
        <p15:guide id="6" orient="horz" pos="417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新原 修一郎" initials="新原" lastIdx="4" clrIdx="0"/>
  <p:cmAuthor id="7" name="御手洗 圭一" initials="t" lastIdx="3" clrIdx="7">
    <p:extLst>
      <p:ext uri="{19B8F6BF-5375-455C-9EA6-DF929625EA0E}">
        <p15:presenceInfo xmlns:p15="http://schemas.microsoft.com/office/powerpoint/2012/main" userId="御手洗 圭一" providerId="None"/>
      </p:ext>
    </p:extLst>
  </p:cmAuthor>
  <p:cmAuthor id="1" name="川又 孝太郎" initials="t" lastIdx="5" clrIdx="1">
    <p:extLst>
      <p:ext uri="{19B8F6BF-5375-455C-9EA6-DF929625EA0E}">
        <p15:presenceInfo xmlns:p15="http://schemas.microsoft.com/office/powerpoint/2012/main" userId="川又 孝太郎" providerId="None"/>
      </p:ext>
    </p:extLst>
  </p:cmAuthor>
  <p:cmAuthor id="8" name="深澤 友博" initials="深澤" lastIdx="1" clrIdx="8">
    <p:extLst>
      <p:ext uri="{19B8F6BF-5375-455C-9EA6-DF929625EA0E}">
        <p15:presenceInfo xmlns:p15="http://schemas.microsoft.com/office/powerpoint/2012/main" userId="S::FUKASA02@moe.go.jp::c4758d73-7870-4b0c-9604-21f3b17337c9" providerId="AD"/>
      </p:ext>
    </p:extLst>
  </p:cmAuthor>
  <p:cmAuthor id="2" name="平田 清明" initials="t" lastIdx="5" clrIdx="2">
    <p:extLst>
      <p:ext uri="{19B8F6BF-5375-455C-9EA6-DF929625EA0E}">
        <p15:presenceInfo xmlns:p15="http://schemas.microsoft.com/office/powerpoint/2012/main" userId="平田 清明" providerId="None"/>
      </p:ext>
    </p:extLst>
  </p:cmAuthor>
  <p:cmAuthor id="9" name="良 岩本" initials="良" lastIdx="37" clrIdx="9">
    <p:extLst>
      <p:ext uri="{19B8F6BF-5375-455C-9EA6-DF929625EA0E}">
        <p15:presenceInfo xmlns:p15="http://schemas.microsoft.com/office/powerpoint/2012/main" userId="S::IWAMOT14@moe.go.jp::10795ab2-105b-4135-85dd-921e938dd049" providerId="AD"/>
      </p:ext>
    </p:extLst>
  </p:cmAuthor>
  <p:cmAuthor id="3" name="黒部 一隆" initials="t" lastIdx="9" clrIdx="3">
    <p:extLst>
      <p:ext uri="{19B8F6BF-5375-455C-9EA6-DF929625EA0E}">
        <p15:presenceInfo xmlns:p15="http://schemas.microsoft.com/office/powerpoint/2012/main" userId="黒部 一隆" providerId="None"/>
      </p:ext>
    </p:extLst>
  </p:cmAuthor>
  <p:cmAuthor id="4" name="佐藤 直己" initials="t" lastIdx="2" clrIdx="4">
    <p:extLst>
      <p:ext uri="{19B8F6BF-5375-455C-9EA6-DF929625EA0E}">
        <p15:presenceInfo xmlns:p15="http://schemas.microsoft.com/office/powerpoint/2012/main" userId="佐藤 直己" providerId="None"/>
      </p:ext>
    </p:extLst>
  </p:cmAuthor>
  <p:cmAuthor id="5" name="松田 尚之" initials="t" lastIdx="10" clrIdx="5">
    <p:extLst>
      <p:ext uri="{19B8F6BF-5375-455C-9EA6-DF929625EA0E}">
        <p15:presenceInfo xmlns:p15="http://schemas.microsoft.com/office/powerpoint/2012/main" userId="松田 尚之" providerId="None"/>
      </p:ext>
    </p:extLst>
  </p:cmAuthor>
  <p:cmAuthor id="6" name="作成者" initials="s" lastIdx="7" clrIdx="6">
    <p:extLst>
      <p:ext uri="{19B8F6BF-5375-455C-9EA6-DF929625EA0E}">
        <p15:presenceInfo xmlns:p15="http://schemas.microsoft.com/office/powerpoint/2012/main" userId="作成者"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A649"/>
    <a:srgbClr val="00584E"/>
    <a:srgbClr val="E2E2E2"/>
    <a:srgbClr val="ECF8F5"/>
    <a:srgbClr val="FFEDB3"/>
    <a:srgbClr val="99FF99"/>
    <a:srgbClr val="6699FF"/>
    <a:srgbClr val="FF7C80"/>
    <a:srgbClr val="FFCCFF"/>
    <a:srgbClr val="CDFF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淡色スタイル 2 - アクセント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A107856-5554-42FB-B03E-39F5DBC370BA}" styleName="中間スタイル 4 - アクセント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B301B821-A1FF-4177-AEE7-76D212191A09}" styleName="中間スタイル 1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0A1B5D5-9B99-4C35-A422-299274C87663}" styleName="中間スタイル 1 - アクセント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452" autoAdjust="0"/>
    <p:restoredTop sz="94660"/>
  </p:normalViewPr>
  <p:slideViewPr>
    <p:cSldViewPr snapToGrid="0">
      <p:cViewPr varScale="1">
        <p:scale>
          <a:sx n="87" d="100"/>
          <a:sy n="87" d="100"/>
        </p:scale>
        <p:origin x="778" y="77"/>
      </p:cViewPr>
      <p:guideLst>
        <p:guide pos="4912"/>
        <p:guide pos="172"/>
        <p:guide pos="6046"/>
        <p:guide orient="horz" pos="119"/>
        <p:guide orient="horz" pos="4178"/>
      </p:guideLst>
    </p:cSldViewPr>
  </p:slideViewPr>
  <p:notesTextViewPr>
    <p:cViewPr>
      <p:scale>
        <a:sx n="1" d="1"/>
        <a:sy n="1" d="1"/>
      </p:scale>
      <p:origin x="0" y="0"/>
    </p:cViewPr>
  </p:notesTextViewPr>
  <p:sorterViewPr>
    <p:cViewPr>
      <p:scale>
        <a:sx n="125" d="100"/>
        <a:sy n="125" d="100"/>
      </p:scale>
      <p:origin x="0" y="0"/>
    </p:cViewPr>
  </p:sorterViewPr>
  <p:notesViewPr>
    <p:cSldViewPr snapToGrid="0">
      <p:cViewPr varScale="1">
        <p:scale>
          <a:sx n="44" d="100"/>
          <a:sy n="44" d="100"/>
        </p:scale>
        <p:origin x="2780" y="5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viewProps" Target="viewProps.xml"/><Relationship Id="rId21" Type="http://schemas.openxmlformats.org/officeDocument/2006/relationships/slide" Target="slides/slide10.xml"/><Relationship Id="rId34"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tags" Target="tags/tag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handoutMaster" Target="handoutMasters/handout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634635691657866"/>
          <c:y val="3.5096391497775582E-2"/>
          <c:w val="0.79619852164730731"/>
          <c:h val="0.9293129016312407"/>
        </c:manualLayout>
      </c:layout>
      <c:barChart>
        <c:barDir val="col"/>
        <c:grouping val="stacked"/>
        <c:varyColors val="0"/>
        <c:ser>
          <c:idx val="0"/>
          <c:order val="0"/>
          <c:spPr>
            <a:solidFill>
              <a:schemeClr val="bg2"/>
            </a:solidFill>
            <a:ln>
              <a:noFill/>
            </a:ln>
          </c:spPr>
          <c:invertIfNegative val="0"/>
          <c:val>
            <c:numRef>
              <c:f>Sheet1!$A$1:$B$1</c:f>
              <c:numCache>
                <c:formatCode>General</c:formatCode>
                <c:ptCount val="2"/>
                <c:pt idx="0">
                  <c:v>3.5</c:v>
                </c:pt>
              </c:numCache>
            </c:numRef>
          </c:val>
          <c:extLst>
            <c:ext xmlns:c16="http://schemas.microsoft.com/office/drawing/2014/chart" uri="{C3380CC4-5D6E-409C-BE32-E72D297353CC}">
              <c16:uniqueId val="{00000000-24D7-4887-A7C5-82B6EE51A111}"/>
            </c:ext>
          </c:extLst>
        </c:ser>
        <c:ser>
          <c:idx val="1"/>
          <c:order val="1"/>
          <c:spPr>
            <a:solidFill>
              <a:schemeClr val="tx2"/>
            </a:solidFill>
            <a:ln>
              <a:noFill/>
            </a:ln>
          </c:spPr>
          <c:invertIfNegative val="0"/>
          <c:dLbls>
            <c:dLbl>
              <c:idx val="0"/>
              <c:layout>
                <c:manualLayout>
                  <c:x val="0"/>
                  <c:y val="9.8863074641621345E-4"/>
                </c:manualLayout>
              </c:layout>
              <c:tx>
                <c:rich>
                  <a:bodyPr wrap="none"/>
                  <a:lstStyle/>
                  <a:p>
                    <a:pPr>
                      <a:defRPr lang="ja-JP" sz="1400" kern="1200">
                        <a:solidFill>
                          <a:schemeClr val="bg1"/>
                        </a:solidFill>
                        <a:latin typeface="Meiryo UI"/>
                        <a:ea typeface="Meiryo UI"/>
                        <a:cs typeface="Meiryo UI"/>
                        <a:sym typeface="Meiryo UI"/>
                      </a:defRPr>
                    </a:pPr>
                    <a:r>
                      <a:rPr lang="en-US" altLang="ja-JP"/>
                      <a:t>29.5</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24D7-4887-A7C5-82B6EE51A11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formatCode="#,##0;&quot;-&quot;#,##0">
                  <c:v>29.5</c:v>
                </c:pt>
              </c:numCache>
            </c:numRef>
          </c:val>
          <c:extLst>
            <c:ext xmlns:c16="http://schemas.microsoft.com/office/drawing/2014/chart" uri="{C3380CC4-5D6E-409C-BE32-E72D297353CC}">
              <c16:uniqueId val="{00000002-24D7-4887-A7C5-82B6EE51A111}"/>
            </c:ext>
          </c:extLst>
        </c:ser>
        <c:ser>
          <c:idx val="2"/>
          <c:order val="2"/>
          <c:spPr>
            <a:solidFill>
              <a:srgbClr val="C8C8C8"/>
            </a:solidFill>
            <a:ln>
              <a:noFill/>
            </a:ln>
          </c:spPr>
          <c:invertIfNegative val="0"/>
          <c:dLbls>
            <c:dLbl>
              <c:idx val="0"/>
              <c:layout>
                <c:manualLayout>
                  <c:x val="0"/>
                  <c:y val="1.4829461196243204E-3"/>
                </c:manualLayout>
              </c:layout>
              <c:tx>
                <c:rich>
                  <a:bodyPr wrap="none"/>
                  <a:lstStyle/>
                  <a:p>
                    <a:pPr>
                      <a:defRPr lang="ja-JP" sz="1400" kern="1200">
                        <a:solidFill>
                          <a:schemeClr val="tx1"/>
                        </a:solidFill>
                        <a:latin typeface="Meiryo UI"/>
                        <a:ea typeface="Meiryo UI"/>
                        <a:cs typeface="Meiryo UI"/>
                        <a:sym typeface="Meiryo UI"/>
                      </a:defRPr>
                    </a:pPr>
                    <a:fld id="{144E77E4-702F-4F80-A75A-BBF8EA25CDBA}" type="VALUE">
                      <a:rPr lang="en-US" altLang="ja-JP" smtClean="0"/>
                      <a:pPr>
                        <a:defRPr lang="ja-JP" sz="1400" kern="1200">
                          <a:solidFill>
                            <a:schemeClr val="tx1"/>
                          </a:solidFill>
                          <a:latin typeface="Meiryo UI"/>
                          <a:ea typeface="Meiryo UI"/>
                          <a:cs typeface="Meiryo UI"/>
                          <a:sym typeface="Meiryo UI"/>
                        </a:defRPr>
                      </a:pPr>
                      <a:t>[値]</a:t>
                    </a:fld>
                    <a:r>
                      <a:rPr lang="en-US" altLang="ja-JP"/>
                      <a:t>.2</a:t>
                    </a:r>
                  </a:p>
                </c:rich>
              </c:tx>
              <c:numFmt formatCode="#,##0;&quot;-&quot;#,##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24D7-4887-A7C5-82B6EE51A11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formatCode="#,##0;&quot;-&quot;#,##0">
                  <c:v>32.200000000000003</c:v>
                </c:pt>
              </c:numCache>
            </c:numRef>
          </c:val>
          <c:extLst>
            <c:ext xmlns:c16="http://schemas.microsoft.com/office/drawing/2014/chart" uri="{C3380CC4-5D6E-409C-BE32-E72D297353CC}">
              <c16:uniqueId val="{00000004-24D7-4887-A7C5-82B6EE51A111}"/>
            </c:ext>
          </c:extLst>
        </c:ser>
        <c:ser>
          <c:idx val="3"/>
          <c:order val="3"/>
          <c:spPr>
            <a:solidFill>
              <a:srgbClr val="ABA8B3"/>
            </a:solidFill>
            <a:ln>
              <a:noFill/>
            </a:ln>
          </c:spPr>
          <c:invertIfNegative val="0"/>
          <c:val>
            <c:numRef>
              <c:f>Sheet1!$A$4:$B$4</c:f>
              <c:numCache>
                <c:formatCode>General</c:formatCode>
                <c:ptCount val="2"/>
                <c:pt idx="0">
                  <c:v>22.1</c:v>
                </c:pt>
              </c:numCache>
            </c:numRef>
          </c:val>
          <c:extLst>
            <c:ext xmlns:c16="http://schemas.microsoft.com/office/drawing/2014/chart" uri="{C3380CC4-5D6E-409C-BE32-E72D297353CC}">
              <c16:uniqueId val="{00000005-24D7-4887-A7C5-82B6EE51A111}"/>
            </c:ext>
          </c:extLst>
        </c:ser>
        <c:ser>
          <c:idx val="4"/>
          <c:order val="4"/>
          <c:invertIfNegative val="0"/>
          <c:val>
            <c:numRef>
              <c:f>Sheet1!$A$5:$B$5</c:f>
              <c:numCache>
                <c:formatCode>General</c:formatCode>
                <c:ptCount val="2"/>
                <c:pt idx="0">
                  <c:v>12.7</c:v>
                </c:pt>
              </c:numCache>
            </c:numRef>
          </c:val>
          <c:extLst>
            <c:ext xmlns:c16="http://schemas.microsoft.com/office/drawing/2014/chart" uri="{C3380CC4-5D6E-409C-BE32-E72D297353CC}">
              <c16:uniqueId val="{00000000-A4ED-4453-B26C-C4A21A639D3C}"/>
            </c:ext>
          </c:extLst>
        </c:ser>
        <c:dLbls>
          <c:showLegendKey val="0"/>
          <c:showVal val="0"/>
          <c:showCatName val="0"/>
          <c:showSerName val="0"/>
          <c:showPercent val="0"/>
          <c:showBubbleSize val="0"/>
        </c:dLbls>
        <c:gapWidth val="60"/>
        <c:overlap val="100"/>
        <c:axId val="1182328336"/>
        <c:axId val="1"/>
      </c:barChart>
      <c:catAx>
        <c:axId val="1182328336"/>
        <c:scaling>
          <c:orientation val="minMax"/>
        </c:scaling>
        <c:delete val="0"/>
        <c:axPos val="b"/>
        <c:majorGridlines>
          <c:spPr>
            <a:ln>
              <a:noFill/>
            </a:ln>
          </c:spPr>
        </c:majorGridlines>
        <c:majorTickMark val="none"/>
        <c:minorTickMark val="none"/>
        <c:tickLblPos val="none"/>
        <c:spPr>
          <a:ln w="9525" algn="ctr">
            <a:solidFill>
              <a:srgbClr val="7F7F7F"/>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rgbClr val="7F7F7F"/>
            </a:solidFill>
            <a:prstDash val="solid"/>
          </a:ln>
        </c:spPr>
        <c:txPr>
          <a:bodyPr wrap="none"/>
          <a:lstStyle/>
          <a:p>
            <a:pPr>
              <a:defRPr lang="ja-JP" sz="1200" kern="1200">
                <a:solidFill>
                  <a:schemeClr val="tx1"/>
                </a:solidFill>
                <a:latin typeface="+mn-lt"/>
                <a:ea typeface="+mn-ea"/>
                <a:cs typeface="+mn-cs"/>
                <a:sym typeface="Meiryo UI"/>
              </a:defRPr>
            </a:pPr>
            <a:endParaRPr lang="ja-JP"/>
          </a:p>
        </c:txPr>
        <c:crossAx val="1182328336"/>
        <c:crosses val="min"/>
        <c:crossBetween val="between"/>
        <c:majorUnit val="2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9696661913837525E-2"/>
          <c:y val="6.8019411303742061E-2"/>
          <c:w val="0.71003616810149917"/>
          <c:h val="0.73552312774758499"/>
        </c:manualLayout>
      </c:layout>
      <c:barChart>
        <c:barDir val="col"/>
        <c:grouping val="stacked"/>
        <c:varyColors val="0"/>
        <c:ser>
          <c:idx val="12"/>
          <c:order val="0"/>
          <c:tx>
            <c:strRef>
              <c:f>①CO2排出量の傾向把握!$AZ$26</c:f>
              <c:strCache>
                <c:ptCount val="1"/>
                <c:pt idx="0">
                  <c:v>廃棄物分野（一般廃棄物）</c:v>
                </c:pt>
              </c:strCache>
            </c:strRef>
          </c:tx>
          <c:spPr>
            <a:pattFill prst="ltUpDiag">
              <a:fgClr>
                <a:schemeClr val="bg1"/>
              </a:fgClr>
              <a:bgClr>
                <a:schemeClr val="accent6"/>
              </a:bgClr>
            </a:pattFill>
            <a:ln>
              <a:solidFill>
                <a:schemeClr val="tx1"/>
              </a:solidFill>
            </a:ln>
            <a:effectLst/>
          </c:spPr>
          <c:invertIfNegative val="0"/>
          <c:cat>
            <c:strRef>
              <c:f>①CO2排出量の傾向把握!$BA$21:$BP$21</c:f>
              <c:strCache>
                <c:ptCount val="16"/>
                <c:pt idx="0">
                  <c:v>平成17年度</c:v>
                </c:pt>
                <c:pt idx="2">
                  <c:v>平成19年度</c:v>
                </c:pt>
                <c:pt idx="3">
                  <c:v>平成20年度</c:v>
                </c:pt>
                <c:pt idx="4">
                  <c:v>平成21年度</c:v>
                </c:pt>
                <c:pt idx="5">
                  <c:v>平成22年度</c:v>
                </c:pt>
                <c:pt idx="6">
                  <c:v>平成23年度</c:v>
                </c:pt>
                <c:pt idx="7">
                  <c:v>平成24年度</c:v>
                </c:pt>
                <c:pt idx="8">
                  <c:v>平成25年度</c:v>
                </c:pt>
                <c:pt idx="9">
                  <c:v>平成26年度</c:v>
                </c:pt>
                <c:pt idx="10">
                  <c:v>平成27年度</c:v>
                </c:pt>
                <c:pt idx="11">
                  <c:v>平成28年度</c:v>
                </c:pt>
                <c:pt idx="12">
                  <c:v>平成29年度</c:v>
                </c:pt>
                <c:pt idx="13">
                  <c:v>平成30年度</c:v>
                </c:pt>
                <c:pt idx="14">
                  <c:v>令和元年度</c:v>
                </c:pt>
                <c:pt idx="15">
                  <c:v>令和2年度</c:v>
                </c:pt>
              </c:strCache>
            </c:strRef>
          </c:cat>
          <c:val>
            <c:numRef>
              <c:f>①CO2排出量の傾向把握!$BA$26:$BP$26</c:f>
              <c:numCache>
                <c:formatCode>General</c:formatCode>
                <c:ptCount val="16"/>
                <c:pt idx="0" formatCode="#,##0">
                  <c:v>581.61058667500004</c:v>
                </c:pt>
                <c:pt idx="2" formatCode="#,##0">
                  <c:v>561.96804522619834</c:v>
                </c:pt>
                <c:pt idx="3" formatCode="#,##0">
                  <c:v>615.93893050906001</c:v>
                </c:pt>
                <c:pt idx="4" formatCode="#,##0">
                  <c:v>448.78143674362002</c:v>
                </c:pt>
                <c:pt idx="5" formatCode="#,##0">
                  <c:v>474.58015432577201</c:v>
                </c:pt>
                <c:pt idx="6" formatCode="#,##0">
                  <c:v>534.19844595297991</c:v>
                </c:pt>
                <c:pt idx="7" formatCode="#,##0">
                  <c:v>469.5280375461997</c:v>
                </c:pt>
                <c:pt idx="8" formatCode="#,##0">
                  <c:v>427.79886533938003</c:v>
                </c:pt>
                <c:pt idx="9" formatCode="#,##0">
                  <c:v>438.879961475465</c:v>
                </c:pt>
                <c:pt idx="10" formatCode="#,##0">
                  <c:v>336.38442408211546</c:v>
                </c:pt>
                <c:pt idx="11" formatCode="#,##0">
                  <c:v>353.40510744971016</c:v>
                </c:pt>
                <c:pt idx="12" formatCode="#,##0">
                  <c:v>349.8941329950261</c:v>
                </c:pt>
                <c:pt idx="13" formatCode="#,##0">
                  <c:v>392.48253004499406</c:v>
                </c:pt>
                <c:pt idx="14" formatCode="#,##0">
                  <c:v>410.52472458130933</c:v>
                </c:pt>
                <c:pt idx="15" formatCode="#,##0">
                  <c:v>338.16916557465402</c:v>
                </c:pt>
              </c:numCache>
            </c:numRef>
          </c:val>
          <c:extLst>
            <c:ext xmlns:c16="http://schemas.microsoft.com/office/drawing/2014/chart" uri="{C3380CC4-5D6E-409C-BE32-E72D297353CC}">
              <c16:uniqueId val="{00000000-F095-4423-A7CC-CBEB7E8C246E}"/>
            </c:ext>
          </c:extLst>
        </c:ser>
        <c:ser>
          <c:idx val="8"/>
          <c:order val="1"/>
          <c:tx>
            <c:strRef>
              <c:f>①CO2排出量の傾向把握!$AZ$23</c:f>
              <c:strCache>
                <c:ptCount val="1"/>
                <c:pt idx="0">
                  <c:v>運輸部門</c:v>
                </c:pt>
              </c:strCache>
            </c:strRef>
          </c:tx>
          <c:spPr>
            <a:pattFill prst="ltUpDiag">
              <a:fgClr>
                <a:schemeClr val="bg1"/>
              </a:fgClr>
              <a:bgClr>
                <a:schemeClr val="accent1">
                  <a:lumMod val="60000"/>
                  <a:lumOff val="40000"/>
                </a:schemeClr>
              </a:bgClr>
            </a:pattFill>
            <a:ln>
              <a:solidFill>
                <a:schemeClr val="tx1"/>
              </a:solidFill>
            </a:ln>
            <a:effectLst/>
          </c:spPr>
          <c:invertIfNegative val="0"/>
          <c:cat>
            <c:strRef>
              <c:f>①CO2排出量の傾向把握!$BA$21:$BP$21</c:f>
              <c:strCache>
                <c:ptCount val="16"/>
                <c:pt idx="0">
                  <c:v>平成17年度</c:v>
                </c:pt>
                <c:pt idx="2">
                  <c:v>平成19年度</c:v>
                </c:pt>
                <c:pt idx="3">
                  <c:v>平成20年度</c:v>
                </c:pt>
                <c:pt idx="4">
                  <c:v>平成21年度</c:v>
                </c:pt>
                <c:pt idx="5">
                  <c:v>平成22年度</c:v>
                </c:pt>
                <c:pt idx="6">
                  <c:v>平成23年度</c:v>
                </c:pt>
                <c:pt idx="7">
                  <c:v>平成24年度</c:v>
                </c:pt>
                <c:pt idx="8">
                  <c:v>平成25年度</c:v>
                </c:pt>
                <c:pt idx="9">
                  <c:v>平成26年度</c:v>
                </c:pt>
                <c:pt idx="10">
                  <c:v>平成27年度</c:v>
                </c:pt>
                <c:pt idx="11">
                  <c:v>平成28年度</c:v>
                </c:pt>
                <c:pt idx="12">
                  <c:v>平成29年度</c:v>
                </c:pt>
                <c:pt idx="13">
                  <c:v>平成30年度</c:v>
                </c:pt>
                <c:pt idx="14">
                  <c:v>令和元年度</c:v>
                </c:pt>
                <c:pt idx="15">
                  <c:v>令和2年度</c:v>
                </c:pt>
              </c:strCache>
            </c:strRef>
          </c:cat>
          <c:val>
            <c:numRef>
              <c:f>①CO2排出量の傾向把握!$BA$23:$BP$23</c:f>
              <c:numCache>
                <c:formatCode>General</c:formatCode>
                <c:ptCount val="16"/>
                <c:pt idx="0" formatCode="#,##0">
                  <c:v>3018.067728561964</c:v>
                </c:pt>
                <c:pt idx="2" formatCode="#,##0">
                  <c:v>2894.9704734493989</c:v>
                </c:pt>
                <c:pt idx="3" formatCode="#,##0">
                  <c:v>2782.9191681942048</c:v>
                </c:pt>
                <c:pt idx="4" formatCode="#,##0">
                  <c:v>2708.0697165478095</c:v>
                </c:pt>
                <c:pt idx="5" formatCode="#,##0">
                  <c:v>2708.5362603393369</c:v>
                </c:pt>
                <c:pt idx="6" formatCode="#,##0">
                  <c:v>2678.4100364863248</c:v>
                </c:pt>
                <c:pt idx="7" formatCode="#,##0">
                  <c:v>2684.9626425731735</c:v>
                </c:pt>
                <c:pt idx="8" formatCode="#,##0">
                  <c:v>2636.6160794286056</c:v>
                </c:pt>
                <c:pt idx="9" formatCode="#,##0">
                  <c:v>2562.7603462751199</c:v>
                </c:pt>
                <c:pt idx="10" formatCode="#,##0">
                  <c:v>2529.6070249122049</c:v>
                </c:pt>
                <c:pt idx="11" formatCode="#,##0">
                  <c:v>2519.8968847575393</c:v>
                </c:pt>
                <c:pt idx="12" formatCode="#,##0">
                  <c:v>2498.5234172011146</c:v>
                </c:pt>
                <c:pt idx="13" formatCode="#,##0">
                  <c:v>2468.1705802815809</c:v>
                </c:pt>
                <c:pt idx="14" formatCode="#,##0">
                  <c:v>2427.2548514600257</c:v>
                </c:pt>
                <c:pt idx="15" formatCode="#,##0">
                  <c:v>2264.902317553001</c:v>
                </c:pt>
              </c:numCache>
            </c:numRef>
          </c:val>
          <c:extLst xmlns:c15="http://schemas.microsoft.com/office/drawing/2012/chart">
            <c:ext xmlns:c16="http://schemas.microsoft.com/office/drawing/2014/chart" uri="{C3380CC4-5D6E-409C-BE32-E72D297353CC}">
              <c16:uniqueId val="{00000001-F095-4423-A7CC-CBEB7E8C246E}"/>
            </c:ext>
          </c:extLst>
        </c:ser>
        <c:ser>
          <c:idx val="5"/>
          <c:order val="2"/>
          <c:tx>
            <c:strRef>
              <c:f>①CO2排出量の傾向把握!$AZ$25</c:f>
              <c:strCache>
                <c:ptCount val="1"/>
                <c:pt idx="0">
                  <c:v>家庭部門</c:v>
                </c:pt>
              </c:strCache>
            </c:strRef>
          </c:tx>
          <c:spPr>
            <a:pattFill prst="narHorz">
              <a:fgClr>
                <a:schemeClr val="bg1"/>
              </a:fgClr>
              <a:bgClr>
                <a:schemeClr val="accent4">
                  <a:lumMod val="60000"/>
                  <a:lumOff val="40000"/>
                </a:schemeClr>
              </a:bgClr>
            </a:pattFill>
            <a:ln>
              <a:solidFill>
                <a:schemeClr val="tx1"/>
              </a:solidFill>
            </a:ln>
            <a:effectLst/>
          </c:spPr>
          <c:invertIfNegative val="0"/>
          <c:cat>
            <c:strRef>
              <c:f>①CO2排出量の傾向把握!$BA$21:$BP$21</c:f>
              <c:strCache>
                <c:ptCount val="16"/>
                <c:pt idx="0">
                  <c:v>平成17年度</c:v>
                </c:pt>
                <c:pt idx="2">
                  <c:v>平成19年度</c:v>
                </c:pt>
                <c:pt idx="3">
                  <c:v>平成20年度</c:v>
                </c:pt>
                <c:pt idx="4">
                  <c:v>平成21年度</c:v>
                </c:pt>
                <c:pt idx="5">
                  <c:v>平成22年度</c:v>
                </c:pt>
                <c:pt idx="6">
                  <c:v>平成23年度</c:v>
                </c:pt>
                <c:pt idx="7">
                  <c:v>平成24年度</c:v>
                </c:pt>
                <c:pt idx="8">
                  <c:v>平成25年度</c:v>
                </c:pt>
                <c:pt idx="9">
                  <c:v>平成26年度</c:v>
                </c:pt>
                <c:pt idx="10">
                  <c:v>平成27年度</c:v>
                </c:pt>
                <c:pt idx="11">
                  <c:v>平成28年度</c:v>
                </c:pt>
                <c:pt idx="12">
                  <c:v>平成29年度</c:v>
                </c:pt>
                <c:pt idx="13">
                  <c:v>平成30年度</c:v>
                </c:pt>
                <c:pt idx="14">
                  <c:v>令和元年度</c:v>
                </c:pt>
                <c:pt idx="15">
                  <c:v>令和2年度</c:v>
                </c:pt>
              </c:strCache>
            </c:strRef>
          </c:cat>
          <c:val>
            <c:numRef>
              <c:f>①CO2排出量の傾向把握!$BA$25:$BP$25</c:f>
              <c:numCache>
                <c:formatCode>General</c:formatCode>
                <c:ptCount val="16"/>
                <c:pt idx="0" formatCode="#,##0">
                  <c:v>3380.3918907143552</c:v>
                </c:pt>
                <c:pt idx="2" formatCode="#,##0">
                  <c:v>3591.7111928420049</c:v>
                </c:pt>
                <c:pt idx="3" formatCode="#,##0">
                  <c:v>3493.055967737394</c:v>
                </c:pt>
                <c:pt idx="4" formatCode="#,##0">
                  <c:v>2873.7927445821047</c:v>
                </c:pt>
                <c:pt idx="5" formatCode="#,##0">
                  <c:v>3347.6937463433387</c:v>
                </c:pt>
                <c:pt idx="6" formatCode="#,##0">
                  <c:v>4143.6780963046294</c:v>
                </c:pt>
                <c:pt idx="7" formatCode="#,##0">
                  <c:v>4579.4058297631254</c:v>
                </c:pt>
                <c:pt idx="8" formatCode="#,##0">
                  <c:v>4610.0697409818949</c:v>
                </c:pt>
                <c:pt idx="9" formatCode="#,##0">
                  <c:v>4480.679874110635</c:v>
                </c:pt>
                <c:pt idx="10" formatCode="#,##0">
                  <c:v>4226.4682541399461</c:v>
                </c:pt>
                <c:pt idx="11" formatCode="#,##0">
                  <c:v>4279.5044628825945</c:v>
                </c:pt>
                <c:pt idx="12" formatCode="#,##0">
                  <c:v>4046.9186036571823</c:v>
                </c:pt>
                <c:pt idx="13" formatCode="#,##0">
                  <c:v>3297.5973778338025</c:v>
                </c:pt>
                <c:pt idx="14" formatCode="#,##0">
                  <c:v>2957.3237148589342</c:v>
                </c:pt>
                <c:pt idx="15" formatCode="#,##0">
                  <c:v>3699.436641978828</c:v>
                </c:pt>
              </c:numCache>
            </c:numRef>
          </c:val>
          <c:extLst xmlns:c15="http://schemas.microsoft.com/office/drawing/2012/chart">
            <c:ext xmlns:c16="http://schemas.microsoft.com/office/drawing/2014/chart" uri="{C3380CC4-5D6E-409C-BE32-E72D297353CC}">
              <c16:uniqueId val="{00000002-F095-4423-A7CC-CBEB7E8C246E}"/>
            </c:ext>
          </c:extLst>
        </c:ser>
        <c:ser>
          <c:idx val="4"/>
          <c:order val="3"/>
          <c:tx>
            <c:strRef>
              <c:f>①CO2排出量の傾向把握!$AZ$24</c:f>
              <c:strCache>
                <c:ptCount val="1"/>
                <c:pt idx="0">
                  <c:v>業務その他部門</c:v>
                </c:pt>
              </c:strCache>
            </c:strRef>
          </c:tx>
          <c:spPr>
            <a:pattFill prst="pct25">
              <a:fgClr>
                <a:schemeClr val="bg1"/>
              </a:fgClr>
              <a:bgClr>
                <a:schemeClr val="accent3">
                  <a:lumMod val="60000"/>
                  <a:lumOff val="40000"/>
                </a:schemeClr>
              </a:bgClr>
            </a:pattFill>
            <a:ln>
              <a:solidFill>
                <a:schemeClr val="tx1"/>
              </a:solidFill>
            </a:ln>
            <a:effectLst/>
          </c:spPr>
          <c:invertIfNegative val="0"/>
          <c:cat>
            <c:strRef>
              <c:f>①CO2排出量の傾向把握!$BA$21:$BP$21</c:f>
              <c:strCache>
                <c:ptCount val="16"/>
                <c:pt idx="0">
                  <c:v>平成17年度</c:v>
                </c:pt>
                <c:pt idx="2">
                  <c:v>平成19年度</c:v>
                </c:pt>
                <c:pt idx="3">
                  <c:v>平成20年度</c:v>
                </c:pt>
                <c:pt idx="4">
                  <c:v>平成21年度</c:v>
                </c:pt>
                <c:pt idx="5">
                  <c:v>平成22年度</c:v>
                </c:pt>
                <c:pt idx="6">
                  <c:v>平成23年度</c:v>
                </c:pt>
                <c:pt idx="7">
                  <c:v>平成24年度</c:v>
                </c:pt>
                <c:pt idx="8">
                  <c:v>平成25年度</c:v>
                </c:pt>
                <c:pt idx="9">
                  <c:v>平成26年度</c:v>
                </c:pt>
                <c:pt idx="10">
                  <c:v>平成27年度</c:v>
                </c:pt>
                <c:pt idx="11">
                  <c:v>平成28年度</c:v>
                </c:pt>
                <c:pt idx="12">
                  <c:v>平成29年度</c:v>
                </c:pt>
                <c:pt idx="13">
                  <c:v>平成30年度</c:v>
                </c:pt>
                <c:pt idx="14">
                  <c:v>令和元年度</c:v>
                </c:pt>
                <c:pt idx="15">
                  <c:v>令和2年度</c:v>
                </c:pt>
              </c:strCache>
            </c:strRef>
          </c:cat>
          <c:val>
            <c:numRef>
              <c:f>①CO2排出量の傾向把握!$BA$24:$BP$24</c:f>
              <c:numCache>
                <c:formatCode>General</c:formatCode>
                <c:ptCount val="16"/>
                <c:pt idx="0" formatCode="#,##0">
                  <c:v>6945.2560006318972</c:v>
                </c:pt>
                <c:pt idx="2" formatCode="#,##0">
                  <c:v>6591.1170790479537</c:v>
                </c:pt>
                <c:pt idx="3" formatCode="#,##0">
                  <c:v>6918.2524420126219</c:v>
                </c:pt>
                <c:pt idx="4" formatCode="#,##0">
                  <c:v>6222.9527647414152</c:v>
                </c:pt>
                <c:pt idx="5" formatCode="#,##0">
                  <c:v>6717.5028448399198</c:v>
                </c:pt>
                <c:pt idx="6" formatCode="#,##0">
                  <c:v>8567.1929378295117</c:v>
                </c:pt>
                <c:pt idx="7" formatCode="#,##0">
                  <c:v>9582.3525458571148</c:v>
                </c:pt>
                <c:pt idx="8" formatCode="#,##0">
                  <c:v>9651.5816067138676</c:v>
                </c:pt>
                <c:pt idx="9" formatCode="#,##0">
                  <c:v>9479.3016274747624</c:v>
                </c:pt>
                <c:pt idx="10" formatCode="#,##0">
                  <c:v>8689.2639167908983</c:v>
                </c:pt>
                <c:pt idx="11" formatCode="#,##0">
                  <c:v>7924.1697810609967</c:v>
                </c:pt>
                <c:pt idx="12" formatCode="#,##0">
                  <c:v>7116.8392286771905</c:v>
                </c:pt>
                <c:pt idx="13" formatCode="#,##0">
                  <c:v>6208.7669890147281</c:v>
                </c:pt>
                <c:pt idx="14" formatCode="#,##0">
                  <c:v>5915.2066402965866</c:v>
                </c:pt>
                <c:pt idx="15" formatCode="#,##0">
                  <c:v>5816.6806903905681</c:v>
                </c:pt>
              </c:numCache>
            </c:numRef>
          </c:val>
          <c:extLst>
            <c:ext xmlns:c16="http://schemas.microsoft.com/office/drawing/2014/chart" uri="{C3380CC4-5D6E-409C-BE32-E72D297353CC}">
              <c16:uniqueId val="{00000003-F095-4423-A7CC-CBEB7E8C246E}"/>
            </c:ext>
          </c:extLst>
        </c:ser>
        <c:ser>
          <c:idx val="0"/>
          <c:order val="4"/>
          <c:tx>
            <c:strRef>
              <c:f>①CO2排出量の傾向把握!$AZ$22</c:f>
              <c:strCache>
                <c:ptCount val="1"/>
                <c:pt idx="0">
                  <c:v>産業部門</c:v>
                </c:pt>
              </c:strCache>
            </c:strRef>
          </c:tx>
          <c:spPr>
            <a:solidFill>
              <a:schemeClr val="accent2">
                <a:lumMod val="60000"/>
                <a:lumOff val="40000"/>
              </a:schemeClr>
            </a:solidFill>
            <a:ln>
              <a:solidFill>
                <a:schemeClr val="tx1"/>
              </a:solidFill>
            </a:ln>
            <a:effectLst/>
          </c:spPr>
          <c:invertIfNegative val="0"/>
          <c:cat>
            <c:strRef>
              <c:f>①CO2排出量の傾向把握!$BA$21:$BP$21</c:f>
              <c:strCache>
                <c:ptCount val="16"/>
                <c:pt idx="0">
                  <c:v>平成17年度</c:v>
                </c:pt>
                <c:pt idx="2">
                  <c:v>平成19年度</c:v>
                </c:pt>
                <c:pt idx="3">
                  <c:v>平成20年度</c:v>
                </c:pt>
                <c:pt idx="4">
                  <c:v>平成21年度</c:v>
                </c:pt>
                <c:pt idx="5">
                  <c:v>平成22年度</c:v>
                </c:pt>
                <c:pt idx="6">
                  <c:v>平成23年度</c:v>
                </c:pt>
                <c:pt idx="7">
                  <c:v>平成24年度</c:v>
                </c:pt>
                <c:pt idx="8">
                  <c:v>平成25年度</c:v>
                </c:pt>
                <c:pt idx="9">
                  <c:v>平成26年度</c:v>
                </c:pt>
                <c:pt idx="10">
                  <c:v>平成27年度</c:v>
                </c:pt>
                <c:pt idx="11">
                  <c:v>平成28年度</c:v>
                </c:pt>
                <c:pt idx="12">
                  <c:v>平成29年度</c:v>
                </c:pt>
                <c:pt idx="13">
                  <c:v>平成30年度</c:v>
                </c:pt>
                <c:pt idx="14">
                  <c:v>令和元年度</c:v>
                </c:pt>
                <c:pt idx="15">
                  <c:v>令和2年度</c:v>
                </c:pt>
              </c:strCache>
            </c:strRef>
          </c:cat>
          <c:val>
            <c:numRef>
              <c:f>①CO2排出量の傾向把握!$BA$22:$BP$22</c:f>
              <c:numCache>
                <c:formatCode>General</c:formatCode>
                <c:ptCount val="16"/>
                <c:pt idx="0" formatCode="#,##0">
                  <c:v>4104.388591077296</c:v>
                </c:pt>
                <c:pt idx="2" formatCode="#,##0">
                  <c:v>4046.8799759389317</c:v>
                </c:pt>
                <c:pt idx="3" formatCode="#,##0">
                  <c:v>3855.9716268826328</c:v>
                </c:pt>
                <c:pt idx="4" formatCode="#,##0">
                  <c:v>3065.5075867218784</c:v>
                </c:pt>
                <c:pt idx="5" formatCode="#,##0">
                  <c:v>2917.6190874388012</c:v>
                </c:pt>
                <c:pt idx="6" formatCode="#,##0">
                  <c:v>3551.0431786368536</c:v>
                </c:pt>
                <c:pt idx="7" formatCode="#,##0">
                  <c:v>3337.9324902493422</c:v>
                </c:pt>
                <c:pt idx="8" formatCode="#,##0">
                  <c:v>3294.5800046789745</c:v>
                </c:pt>
                <c:pt idx="9" formatCode="#,##0">
                  <c:v>3270.3106036856152</c:v>
                </c:pt>
                <c:pt idx="10" formatCode="#,##0">
                  <c:v>3152.9820995387113</c:v>
                </c:pt>
                <c:pt idx="11" formatCode="#,##0">
                  <c:v>3191.9084027323979</c:v>
                </c:pt>
                <c:pt idx="12" formatCode="#,##0">
                  <c:v>2793.2247518119493</c:v>
                </c:pt>
                <c:pt idx="13" formatCode="#,##0">
                  <c:v>2528.7583255665263</c:v>
                </c:pt>
                <c:pt idx="14" formatCode="#,##0">
                  <c:v>2305.4755147221531</c:v>
                </c:pt>
                <c:pt idx="15" formatCode="#,##0">
                  <c:v>2246.8092870645846</c:v>
                </c:pt>
              </c:numCache>
            </c:numRef>
          </c:val>
          <c:extLst>
            <c:ext xmlns:c16="http://schemas.microsoft.com/office/drawing/2014/chart" uri="{C3380CC4-5D6E-409C-BE32-E72D297353CC}">
              <c16:uniqueId val="{00000004-F095-4423-A7CC-CBEB7E8C246E}"/>
            </c:ext>
          </c:extLst>
        </c:ser>
        <c:dLbls>
          <c:showLegendKey val="0"/>
          <c:showVal val="0"/>
          <c:showCatName val="0"/>
          <c:showSerName val="0"/>
          <c:showPercent val="0"/>
          <c:showBubbleSize val="0"/>
        </c:dLbls>
        <c:gapWidth val="150"/>
        <c:overlap val="100"/>
        <c:serLines>
          <c:spPr>
            <a:ln w="9525" cap="flat" cmpd="sng" algn="ctr">
              <a:solidFill>
                <a:schemeClr val="dk1">
                  <a:shade val="95000"/>
                  <a:satMod val="105000"/>
                </a:schemeClr>
              </a:solidFill>
              <a:prstDash val="solid"/>
              <a:round/>
            </a:ln>
            <a:effectLst/>
          </c:spPr>
        </c:serLines>
        <c:axId val="84688912"/>
        <c:axId val="84691088"/>
        <c:extLst/>
      </c:barChart>
      <c:barChart>
        <c:barDir val="col"/>
        <c:grouping val="stacked"/>
        <c:varyColors val="0"/>
        <c:ser>
          <c:idx val="1"/>
          <c:order val="5"/>
          <c:tx>
            <c:strRef>
              <c:f>①CO2排出量の傾向把握!$AZ$27</c:f>
              <c:strCache>
                <c:ptCount val="1"/>
                <c:pt idx="0">
                  <c:v>合計</c:v>
                </c:pt>
              </c:strCache>
            </c:strRef>
          </c:tx>
          <c:spPr>
            <a:noFill/>
            <a:ln>
              <a:noFill/>
            </a:ln>
            <a:effectLst/>
          </c:spPr>
          <c:invertIfNegative val="0"/>
          <c:cat>
            <c:strRef>
              <c:f>①CO2排出量の傾向把握!$BA$21:$BP$21</c:f>
              <c:strCache>
                <c:ptCount val="16"/>
                <c:pt idx="0">
                  <c:v>平成17年度</c:v>
                </c:pt>
                <c:pt idx="2">
                  <c:v>平成19年度</c:v>
                </c:pt>
                <c:pt idx="3">
                  <c:v>平成20年度</c:v>
                </c:pt>
                <c:pt idx="4">
                  <c:v>平成21年度</c:v>
                </c:pt>
                <c:pt idx="5">
                  <c:v>平成22年度</c:v>
                </c:pt>
                <c:pt idx="6">
                  <c:v>平成23年度</c:v>
                </c:pt>
                <c:pt idx="7">
                  <c:v>平成24年度</c:v>
                </c:pt>
                <c:pt idx="8">
                  <c:v>平成25年度</c:v>
                </c:pt>
                <c:pt idx="9">
                  <c:v>平成26年度</c:v>
                </c:pt>
                <c:pt idx="10">
                  <c:v>平成27年度</c:v>
                </c:pt>
                <c:pt idx="11">
                  <c:v>平成28年度</c:v>
                </c:pt>
                <c:pt idx="12">
                  <c:v>平成29年度</c:v>
                </c:pt>
                <c:pt idx="13">
                  <c:v>平成30年度</c:v>
                </c:pt>
                <c:pt idx="14">
                  <c:v>令和元年度</c:v>
                </c:pt>
                <c:pt idx="15">
                  <c:v>令和2年度</c:v>
                </c:pt>
              </c:strCache>
            </c:strRef>
          </c:cat>
          <c:val>
            <c:numRef>
              <c:f>①CO2排出量の傾向把握!$BA$27:$BP$27</c:f>
              <c:numCache>
                <c:formatCode>General</c:formatCode>
                <c:ptCount val="16"/>
                <c:pt idx="0" formatCode="#,##0">
                  <c:v>18029.714797660512</c:v>
                </c:pt>
                <c:pt idx="2" formatCode="#,##0">
                  <c:v>17686.646766504487</c:v>
                </c:pt>
                <c:pt idx="3" formatCode="#,##0">
                  <c:v>17666.13813533591</c:v>
                </c:pt>
                <c:pt idx="4" formatCode="#,##0">
                  <c:v>15319.104249336828</c:v>
                </c:pt>
                <c:pt idx="5" formatCode="#,##0">
                  <c:v>16165.932093287169</c:v>
                </c:pt>
                <c:pt idx="6" formatCode="#,##0">
                  <c:v>19474.5226952103</c:v>
                </c:pt>
                <c:pt idx="7" formatCode="#,##0">
                  <c:v>20654.181545988955</c:v>
                </c:pt>
                <c:pt idx="8" formatCode="#,##0">
                  <c:v>20620.646297142721</c:v>
                </c:pt>
                <c:pt idx="9" formatCode="#,##0">
                  <c:v>20231.932413021597</c:v>
                </c:pt>
                <c:pt idx="10" formatCode="#,##0">
                  <c:v>18934.705719463876</c:v>
                </c:pt>
                <c:pt idx="11" formatCode="#,##0">
                  <c:v>18268.884638883239</c:v>
                </c:pt>
                <c:pt idx="12" formatCode="#,##0">
                  <c:v>16805.400134342461</c:v>
                </c:pt>
                <c:pt idx="13" formatCode="#,##0">
                  <c:v>14895.775802741633</c:v>
                </c:pt>
                <c:pt idx="14" formatCode="#,##0">
                  <c:v>14015.785445919009</c:v>
                </c:pt>
                <c:pt idx="15" formatCode="#,##0">
                  <c:v>14365.998102561636</c:v>
                </c:pt>
              </c:numCache>
            </c:numRef>
          </c:val>
          <c:extLst>
            <c:ext xmlns:c16="http://schemas.microsoft.com/office/drawing/2014/chart" uri="{C3380CC4-5D6E-409C-BE32-E72D297353CC}">
              <c16:uniqueId val="{00000005-F095-4423-A7CC-CBEB7E8C246E}"/>
            </c:ext>
          </c:extLst>
        </c:ser>
        <c:dLbls>
          <c:showLegendKey val="0"/>
          <c:showVal val="0"/>
          <c:showCatName val="0"/>
          <c:showSerName val="0"/>
          <c:showPercent val="0"/>
          <c:showBubbleSize val="0"/>
        </c:dLbls>
        <c:gapWidth val="150"/>
        <c:overlap val="100"/>
        <c:axId val="84669328"/>
        <c:axId val="84668784"/>
      </c:barChart>
      <c:catAx>
        <c:axId val="84688912"/>
        <c:scaling>
          <c:orientation val="minMax"/>
        </c:scaling>
        <c:delete val="0"/>
        <c:axPos val="b"/>
        <c:numFmt formatCode="#,##0_);[Red]\(#,##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defRPr>
            </a:pPr>
            <a:endParaRPr lang="ja-JP"/>
          </a:p>
        </c:txPr>
        <c:crossAx val="84691088"/>
        <c:crosses val="autoZero"/>
        <c:auto val="1"/>
        <c:lblAlgn val="ctr"/>
        <c:lblOffset val="100"/>
        <c:noMultiLvlLbl val="0"/>
      </c:catAx>
      <c:valAx>
        <c:axId val="84691088"/>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ja-JP"/>
          </a:p>
        </c:txPr>
        <c:crossAx val="84688912"/>
        <c:crosses val="autoZero"/>
        <c:crossBetween val="between"/>
      </c:valAx>
      <c:valAx>
        <c:axId val="84668784"/>
        <c:scaling>
          <c:orientation val="minMax"/>
          <c:max val="5284.7872644880681"/>
          <c:min val="0"/>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ja-JP"/>
          </a:p>
        </c:txPr>
        <c:crossAx val="84669328"/>
        <c:crosses val="max"/>
        <c:crossBetween val="between"/>
      </c:valAx>
      <c:catAx>
        <c:axId val="84669328"/>
        <c:scaling>
          <c:orientation val="minMax"/>
        </c:scaling>
        <c:delete val="1"/>
        <c:axPos val="b"/>
        <c:numFmt formatCode="General" sourceLinked="1"/>
        <c:majorTickMark val="out"/>
        <c:minorTickMark val="none"/>
        <c:tickLblPos val="nextTo"/>
        <c:crossAx val="84668784"/>
        <c:crosses val="autoZero"/>
        <c:auto val="1"/>
        <c:lblAlgn val="ctr"/>
        <c:lblOffset val="100"/>
        <c:noMultiLvlLbl val="0"/>
      </c:catAx>
      <c:spPr>
        <a:noFill/>
        <a:ln>
          <a:noFill/>
        </a:ln>
        <a:effectLst/>
      </c:spPr>
    </c:plotArea>
    <c:legend>
      <c:legendPos val="r"/>
      <c:legendEntry>
        <c:idx val="5"/>
        <c:delete val="1"/>
      </c:legendEntry>
      <c:layout>
        <c:manualLayout>
          <c:xMode val="edge"/>
          <c:yMode val="edge"/>
          <c:x val="0.76929079521452237"/>
          <c:y val="0.15552418386852251"/>
          <c:w val="0.22473809340734888"/>
          <c:h val="0.68826382365802619"/>
        </c:manualLayout>
      </c:layout>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メイリオ" panose="020B0604030504040204" pitchFamily="50" charset="-128"/>
              <a:ea typeface="メイリオ" panose="020B0604030504040204" pitchFamily="50" charset="-128"/>
              <a:cs typeface="メイリオ" panose="020B0604030504040204" pitchFamily="50" charset="-128"/>
            </a:defRPr>
          </a:pPr>
          <a:endParaRPr lang="ja-JP"/>
        </a:p>
      </c:txPr>
    </c:legend>
    <c:plotVisOnly val="1"/>
    <c:dispBlanksAs val="gap"/>
    <c:showDLblsOverMax val="0"/>
  </c:chart>
  <c:spPr>
    <a:solidFill>
      <a:schemeClr val="bg1"/>
    </a:solidFill>
    <a:ln w="9525" cap="flat" cmpd="sng" algn="ctr">
      <a:noFill/>
      <a:round/>
    </a:ln>
    <a:effectLst/>
  </c:spPr>
  <c:txPr>
    <a:bodyPr/>
    <a:lstStyle/>
    <a:p>
      <a:pPr>
        <a:defRPr/>
      </a:pPr>
      <a:endParaRPr lang="ja-JP"/>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0837793356351072"/>
          <c:y val="7.9817961469435997E-2"/>
          <c:w val="0.86556949196202471"/>
          <c:h val="0.64776196758173643"/>
        </c:manualLayout>
      </c:layout>
      <c:barChart>
        <c:barDir val="bar"/>
        <c:grouping val="percentStacked"/>
        <c:varyColors val="0"/>
        <c:ser>
          <c:idx val="0"/>
          <c:order val="0"/>
          <c:tx>
            <c:strRef>
              <c:f>①CO2排出量の傾向把握!$BA$42</c:f>
              <c:strCache>
                <c:ptCount val="1"/>
                <c:pt idx="0">
                  <c:v>産業部門</c:v>
                </c:pt>
              </c:strCache>
            </c:strRef>
          </c:tx>
          <c:spPr>
            <a:solidFill>
              <a:schemeClr val="accent2">
                <a:lumMod val="60000"/>
                <a:lumOff val="40000"/>
              </a:schemeClr>
            </a:solidFill>
            <a:ln>
              <a:solidFill>
                <a:schemeClr val="tx1"/>
              </a:solidFill>
            </a:ln>
            <a:effectLst/>
          </c:spPr>
          <c:invertIfNegative val="0"/>
          <c:dLbls>
            <c:numFmt formatCode="[&gt;0.005]0%;;;" sourceLinked="0"/>
            <c:spPr>
              <a:solidFill>
                <a:schemeClr val="bg1"/>
              </a:solidFill>
              <a:ln>
                <a:noFill/>
              </a:ln>
              <a:effectLst/>
            </c:spPr>
            <c:txPr>
              <a:bodyPr rot="0" vert="horz"/>
              <a:lstStyle/>
              <a:p>
                <a:pPr>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①CO2排出量の傾向把握!$AZ$43:$AZ$45</c:f>
              <c:strCache>
                <c:ptCount val="3"/>
                <c:pt idx="0">
                  <c:v>全国</c:v>
                </c:pt>
                <c:pt idx="1">
                  <c:v>大阪府</c:v>
                </c:pt>
                <c:pt idx="2">
                  <c:v>大阪市</c:v>
                </c:pt>
              </c:strCache>
            </c:strRef>
          </c:cat>
          <c:val>
            <c:numRef>
              <c:f>①CO2排出量の傾向把握!$BA$43:$BA$45</c:f>
              <c:numCache>
                <c:formatCode>0%</c:formatCode>
                <c:ptCount val="3"/>
                <c:pt idx="0">
                  <c:v>0.42909631077189281</c:v>
                </c:pt>
                <c:pt idx="1">
                  <c:v>0.24678741294080861</c:v>
                </c:pt>
                <c:pt idx="2">
                  <c:v>0.15639771570511002</c:v>
                </c:pt>
              </c:numCache>
            </c:numRef>
          </c:val>
          <c:extLst>
            <c:ext xmlns:c16="http://schemas.microsoft.com/office/drawing/2014/chart" uri="{C3380CC4-5D6E-409C-BE32-E72D297353CC}">
              <c16:uniqueId val="{00000000-8DF5-4F29-90E4-185AD2F1562B}"/>
            </c:ext>
          </c:extLst>
        </c:ser>
        <c:ser>
          <c:idx val="1"/>
          <c:order val="1"/>
          <c:tx>
            <c:strRef>
              <c:f>①CO2排出量の傾向把握!$BB$42</c:f>
              <c:strCache>
                <c:ptCount val="1"/>
                <c:pt idx="0">
                  <c:v>業務その他部門</c:v>
                </c:pt>
              </c:strCache>
            </c:strRef>
          </c:tx>
          <c:spPr>
            <a:pattFill prst="pct25">
              <a:fgClr>
                <a:schemeClr val="bg1"/>
              </a:fgClr>
              <a:bgClr>
                <a:schemeClr val="accent3">
                  <a:lumMod val="60000"/>
                  <a:lumOff val="40000"/>
                </a:schemeClr>
              </a:bgClr>
            </a:pattFill>
            <a:ln>
              <a:solidFill>
                <a:schemeClr val="tx1"/>
              </a:solidFill>
            </a:ln>
            <a:effectLst/>
          </c:spPr>
          <c:invertIfNegative val="0"/>
          <c:dLbls>
            <c:numFmt formatCode="[&gt;0.005]0%;;;" sourceLinked="0"/>
            <c:spPr>
              <a:solidFill>
                <a:schemeClr val="bg1"/>
              </a:solidFill>
              <a:ln>
                <a:noFill/>
              </a:ln>
              <a:effectLst/>
            </c:spPr>
            <c:txPr>
              <a:bodyPr rot="0" vert="horz"/>
              <a:lstStyle/>
              <a:p>
                <a:pPr>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①CO2排出量の傾向把握!$AZ$43:$AZ$45</c:f>
              <c:strCache>
                <c:ptCount val="3"/>
                <c:pt idx="0">
                  <c:v>全国</c:v>
                </c:pt>
                <c:pt idx="1">
                  <c:v>大阪府</c:v>
                </c:pt>
                <c:pt idx="2">
                  <c:v>大阪市</c:v>
                </c:pt>
              </c:strCache>
            </c:strRef>
          </c:cat>
          <c:val>
            <c:numRef>
              <c:f>①CO2排出量の傾向把握!$BB$43:$BB$45</c:f>
              <c:numCache>
                <c:formatCode>0%</c:formatCode>
                <c:ptCount val="3"/>
                <c:pt idx="0">
                  <c:v>0.18339622764677718</c:v>
                </c:pt>
                <c:pt idx="1">
                  <c:v>0.26432383181754276</c:v>
                </c:pt>
                <c:pt idx="2">
                  <c:v>0.40489220789701913</c:v>
                </c:pt>
              </c:numCache>
            </c:numRef>
          </c:val>
          <c:extLst>
            <c:ext xmlns:c16="http://schemas.microsoft.com/office/drawing/2014/chart" uri="{C3380CC4-5D6E-409C-BE32-E72D297353CC}">
              <c16:uniqueId val="{00000001-8DF5-4F29-90E4-185AD2F1562B}"/>
            </c:ext>
          </c:extLst>
        </c:ser>
        <c:ser>
          <c:idx val="2"/>
          <c:order val="2"/>
          <c:tx>
            <c:strRef>
              <c:f>①CO2排出量の傾向把握!$BC$42</c:f>
              <c:strCache>
                <c:ptCount val="1"/>
                <c:pt idx="0">
                  <c:v>家庭部門</c:v>
                </c:pt>
              </c:strCache>
            </c:strRef>
          </c:tx>
          <c:spPr>
            <a:pattFill prst="narHorz">
              <a:fgClr>
                <a:schemeClr val="bg1">
                  <a:lumMod val="95000"/>
                </a:schemeClr>
              </a:fgClr>
              <a:bgClr>
                <a:schemeClr val="accent4">
                  <a:lumMod val="60000"/>
                  <a:lumOff val="40000"/>
                </a:schemeClr>
              </a:bgClr>
            </a:pattFill>
            <a:ln>
              <a:solidFill>
                <a:schemeClr val="tx1"/>
              </a:solidFill>
            </a:ln>
            <a:effectLst/>
          </c:spPr>
          <c:invertIfNegative val="0"/>
          <c:dLbls>
            <c:numFmt formatCode="[&gt;0.005]0%;;;" sourceLinked="0"/>
            <c:spPr>
              <a:solidFill>
                <a:schemeClr val="bg1"/>
              </a:solidFill>
              <a:ln>
                <a:noFill/>
              </a:ln>
              <a:effectLst/>
            </c:spPr>
            <c:txPr>
              <a:bodyPr rot="0" vert="horz"/>
              <a:lstStyle/>
              <a:p>
                <a:pPr>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①CO2排出量の傾向把握!$AZ$43:$AZ$45</c:f>
              <c:strCache>
                <c:ptCount val="3"/>
                <c:pt idx="0">
                  <c:v>全国</c:v>
                </c:pt>
                <c:pt idx="1">
                  <c:v>大阪府</c:v>
                </c:pt>
                <c:pt idx="2">
                  <c:v>大阪市</c:v>
                </c:pt>
              </c:strCache>
            </c:strRef>
          </c:cat>
          <c:val>
            <c:numRef>
              <c:f>①CO2排出量の傾向把握!$BC$43:$BC$45</c:f>
              <c:numCache>
                <c:formatCode>0%</c:formatCode>
                <c:ptCount val="3"/>
                <c:pt idx="0">
                  <c:v>0.17894988567081802</c:v>
                </c:pt>
                <c:pt idx="1">
                  <c:v>0.25632286613503652</c:v>
                </c:pt>
                <c:pt idx="2">
                  <c:v>0.25751337397985402</c:v>
                </c:pt>
              </c:numCache>
            </c:numRef>
          </c:val>
          <c:extLst>
            <c:ext xmlns:c16="http://schemas.microsoft.com/office/drawing/2014/chart" uri="{C3380CC4-5D6E-409C-BE32-E72D297353CC}">
              <c16:uniqueId val="{00000002-8DF5-4F29-90E4-185AD2F1562B}"/>
            </c:ext>
          </c:extLst>
        </c:ser>
        <c:ser>
          <c:idx val="3"/>
          <c:order val="3"/>
          <c:tx>
            <c:strRef>
              <c:f>①CO2排出量の傾向把握!$BD$42</c:f>
              <c:strCache>
                <c:ptCount val="1"/>
                <c:pt idx="0">
                  <c:v>運輸部門</c:v>
                </c:pt>
              </c:strCache>
            </c:strRef>
          </c:tx>
          <c:spPr>
            <a:pattFill prst="ltUpDiag">
              <a:fgClr>
                <a:schemeClr val="bg1"/>
              </a:fgClr>
              <a:bgClr>
                <a:schemeClr val="accent1">
                  <a:lumMod val="60000"/>
                  <a:lumOff val="40000"/>
                </a:schemeClr>
              </a:bgClr>
            </a:pattFill>
            <a:ln>
              <a:solidFill>
                <a:schemeClr val="tx1"/>
              </a:solidFill>
            </a:ln>
            <a:effectLst/>
          </c:spPr>
          <c:invertIfNegative val="0"/>
          <c:dLbls>
            <c:numFmt formatCode="[&gt;0.005]0%;;;" sourceLinked="0"/>
            <c:spPr>
              <a:solidFill>
                <a:schemeClr val="bg1"/>
              </a:solidFill>
              <a:ln>
                <a:noFill/>
              </a:ln>
              <a:effectLst/>
            </c:spPr>
            <c:txPr>
              <a:bodyPr rot="0" vert="horz"/>
              <a:lstStyle/>
              <a:p>
                <a:pPr>
                  <a:defRPr/>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①CO2排出量の傾向把握!$AZ$43:$AZ$45</c:f>
              <c:strCache>
                <c:ptCount val="3"/>
                <c:pt idx="0">
                  <c:v>全国</c:v>
                </c:pt>
                <c:pt idx="1">
                  <c:v>大阪府</c:v>
                </c:pt>
                <c:pt idx="2">
                  <c:v>大阪市</c:v>
                </c:pt>
              </c:strCache>
            </c:strRef>
          </c:cat>
          <c:val>
            <c:numRef>
              <c:f>①CO2排出量の傾向把握!$BD$43:$BD$45</c:f>
              <c:numCache>
                <c:formatCode>0%</c:formatCode>
                <c:ptCount val="3"/>
                <c:pt idx="0">
                  <c:v>0.19250888130070559</c:v>
                </c:pt>
                <c:pt idx="1">
                  <c:v>0.2026781154105948</c:v>
                </c:pt>
                <c:pt idx="2">
                  <c:v>0.15765714998591993</c:v>
                </c:pt>
              </c:numCache>
            </c:numRef>
          </c:val>
          <c:extLst>
            <c:ext xmlns:c16="http://schemas.microsoft.com/office/drawing/2014/chart" uri="{C3380CC4-5D6E-409C-BE32-E72D297353CC}">
              <c16:uniqueId val="{00000003-8DF5-4F29-90E4-185AD2F1562B}"/>
            </c:ext>
          </c:extLst>
        </c:ser>
        <c:ser>
          <c:idx val="4"/>
          <c:order val="4"/>
          <c:tx>
            <c:strRef>
              <c:f>①CO2排出量の傾向把握!$BE$42</c:f>
              <c:strCache>
                <c:ptCount val="1"/>
                <c:pt idx="0">
                  <c:v>廃棄物分野（一般廃棄物）</c:v>
                </c:pt>
              </c:strCache>
            </c:strRef>
          </c:tx>
          <c:spPr>
            <a:pattFill prst="ltDnDiag">
              <a:fgClr>
                <a:schemeClr val="bg1"/>
              </a:fgClr>
              <a:bgClr>
                <a:schemeClr val="accent6"/>
              </a:bgClr>
            </a:pattFill>
            <a:ln>
              <a:solidFill>
                <a:schemeClr val="tx1"/>
              </a:solidFill>
            </a:ln>
            <a:effectLst/>
          </c:spPr>
          <c:invertIfNegative val="0"/>
          <c:dLbls>
            <c:dLbl>
              <c:idx val="0"/>
              <c:layout>
                <c:manualLayout>
                  <c:x val="-2.266372285601228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DF5-4F29-90E4-185AD2F1562B}"/>
                </c:ext>
              </c:extLst>
            </c:dLbl>
            <c:dLbl>
              <c:idx val="1"/>
              <c:layout>
                <c:manualLayout>
                  <c:x val="-1.5506757743587354E-2"/>
                  <c:y val="-4.38746346227524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8DF5-4F29-90E4-185AD2F1562B}"/>
                </c:ext>
              </c:extLst>
            </c:dLbl>
            <c:numFmt formatCode="[&gt;0.005]0%;;;" sourceLinked="0"/>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①CO2排出量の傾向把握!$AZ$43:$AZ$45</c:f>
              <c:strCache>
                <c:ptCount val="3"/>
                <c:pt idx="0">
                  <c:v>全国</c:v>
                </c:pt>
                <c:pt idx="1">
                  <c:v>大阪府</c:v>
                </c:pt>
                <c:pt idx="2">
                  <c:v>大阪市</c:v>
                </c:pt>
              </c:strCache>
            </c:strRef>
          </c:cat>
          <c:val>
            <c:numRef>
              <c:f>①CO2排出量の傾向把握!$BE$43:$BE$45</c:f>
              <c:numCache>
                <c:formatCode>0%</c:formatCode>
                <c:ptCount val="3"/>
                <c:pt idx="0">
                  <c:v>1.6048694609806385E-2</c:v>
                </c:pt>
                <c:pt idx="1">
                  <c:v>2.9887773696017313E-2</c:v>
                </c:pt>
                <c:pt idx="2">
                  <c:v>2.3539552432096888E-2</c:v>
                </c:pt>
              </c:numCache>
            </c:numRef>
          </c:val>
          <c:extLst>
            <c:ext xmlns:c16="http://schemas.microsoft.com/office/drawing/2014/chart" uri="{C3380CC4-5D6E-409C-BE32-E72D297353CC}">
              <c16:uniqueId val="{00000006-8DF5-4F29-90E4-185AD2F1562B}"/>
            </c:ext>
          </c:extLst>
        </c:ser>
        <c:dLbls>
          <c:showLegendKey val="0"/>
          <c:showVal val="0"/>
          <c:showCatName val="0"/>
          <c:showSerName val="0"/>
          <c:showPercent val="0"/>
          <c:showBubbleSize val="0"/>
        </c:dLbls>
        <c:gapWidth val="70"/>
        <c:overlap val="100"/>
        <c:serLines/>
        <c:axId val="84672592"/>
        <c:axId val="84694896"/>
      </c:barChart>
      <c:catAx>
        <c:axId val="84672592"/>
        <c:scaling>
          <c:orientation val="minMax"/>
        </c:scaling>
        <c:delete val="0"/>
        <c:axPos val="l"/>
        <c:numFmt formatCode="General" sourceLinked="1"/>
        <c:majorTickMark val="none"/>
        <c:minorTickMark val="none"/>
        <c:tickLblPos val="nextTo"/>
        <c:spPr>
          <a:noFill/>
          <a:ln w="9525" cap="flat" cmpd="sng" algn="ctr">
            <a:solidFill>
              <a:schemeClr val="bg1">
                <a:lumMod val="50000"/>
              </a:schemeClr>
            </a:solidFill>
            <a:round/>
          </a:ln>
          <a:effectLst/>
        </c:spPr>
        <c:txPr>
          <a:bodyPr rot="-60000000" vert="horz"/>
          <a:lstStyle/>
          <a:p>
            <a:pPr>
              <a:defRPr/>
            </a:pPr>
            <a:endParaRPr lang="ja-JP"/>
          </a:p>
        </c:txPr>
        <c:crossAx val="84694896"/>
        <c:crosses val="autoZero"/>
        <c:auto val="1"/>
        <c:lblAlgn val="ctr"/>
        <c:lblOffset val="100"/>
        <c:noMultiLvlLbl val="0"/>
      </c:catAx>
      <c:valAx>
        <c:axId val="84694896"/>
        <c:scaling>
          <c:orientation val="minMax"/>
        </c:scaling>
        <c:delete val="0"/>
        <c:axPos val="b"/>
        <c:majorGridlines>
          <c:spPr>
            <a:ln w="9525" cap="flat" cmpd="sng" algn="ctr">
              <a:solidFill>
                <a:schemeClr val="bg1">
                  <a:lumMod val="75000"/>
                </a:schemeClr>
              </a:solidFill>
              <a:round/>
            </a:ln>
            <a:effectLst/>
          </c:spPr>
        </c:majorGridlines>
        <c:numFmt formatCode="0%" sourceLinked="1"/>
        <c:majorTickMark val="none"/>
        <c:minorTickMark val="none"/>
        <c:tickLblPos val="low"/>
        <c:spPr>
          <a:noFill/>
          <a:ln>
            <a:solidFill>
              <a:schemeClr val="tx1"/>
            </a:solidFill>
          </a:ln>
          <a:effectLst/>
        </c:spPr>
        <c:txPr>
          <a:bodyPr rot="-60000000" vert="horz"/>
          <a:lstStyle/>
          <a:p>
            <a:pPr>
              <a:defRPr/>
            </a:pPr>
            <a:endParaRPr lang="ja-JP"/>
          </a:p>
        </c:txPr>
        <c:crossAx val="84672592"/>
        <c:crosses val="autoZero"/>
        <c:crossBetween val="between"/>
      </c:valAx>
      <c:spPr>
        <a:noFill/>
        <a:ln w="25400">
          <a:noFill/>
        </a:ln>
      </c:spPr>
    </c:plotArea>
    <c:legend>
      <c:legendPos val="t"/>
      <c:layout>
        <c:manualLayout>
          <c:xMode val="edge"/>
          <c:yMode val="edge"/>
          <c:x val="0.1833090087443367"/>
          <c:y val="0.84408254704520924"/>
          <c:w val="0.71175135256777755"/>
          <c:h val="0.14173433201835406"/>
        </c:manualLayout>
      </c:layout>
      <c:overlay val="0"/>
      <c:spPr>
        <a:solidFill>
          <a:schemeClr val="bg1"/>
        </a:solidFill>
        <a:ln>
          <a:noFill/>
        </a:ln>
        <a:effectLst/>
      </c:spPr>
      <c:txPr>
        <a:bodyPr rot="0" vert="horz"/>
        <a:lstStyle/>
        <a:p>
          <a:pPr>
            <a:defRPr sz="1400"/>
          </a:pPr>
          <a:endParaRPr lang="ja-JP"/>
        </a:p>
      </c:txPr>
    </c:legend>
    <c:plotVisOnly val="1"/>
    <c:dispBlanksAs val="gap"/>
    <c:showDLblsOverMax val="0"/>
  </c:chart>
  <c:spPr>
    <a:solidFill>
      <a:schemeClr val="bg1"/>
    </a:solidFill>
    <a:ln w="9525">
      <a:noFill/>
    </a:ln>
  </c:spPr>
  <c:txPr>
    <a:bodyPr/>
    <a:lstStyle/>
    <a:p>
      <a:pPr>
        <a:defRPr sz="1100">
          <a:latin typeface="メイリオ" panose="020B0604030504040204" pitchFamily="50" charset="-128"/>
          <a:ea typeface="メイリオ" panose="020B0604030504040204" pitchFamily="50" charset="-128"/>
          <a:cs typeface="メイリオ" panose="020B0604030504040204" pitchFamily="50" charset="-128"/>
        </a:defRPr>
      </a:pPr>
      <a:endParaRPr lang="ja-JP"/>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7518" cy="513204"/>
          </a:xfrm>
          <a:prstGeom prst="rect">
            <a:avLst/>
          </a:prstGeom>
        </p:spPr>
        <p:txBody>
          <a:bodyPr vert="horz" lIns="94650" tIns="47325" rIns="94650" bIns="47325"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3302" y="0"/>
            <a:ext cx="3077518" cy="513204"/>
          </a:xfrm>
          <a:prstGeom prst="rect">
            <a:avLst/>
          </a:prstGeom>
        </p:spPr>
        <p:txBody>
          <a:bodyPr vert="horz" lIns="94650" tIns="47325" rIns="94650" bIns="47325" rtlCol="0"/>
          <a:lstStyle>
            <a:lvl1pPr algn="r">
              <a:defRPr sz="1200"/>
            </a:lvl1pPr>
          </a:lstStyle>
          <a:p>
            <a:fld id="{6B0C75D9-888C-4CB3-AD07-F78EBC379398}" type="datetimeFigureOut">
              <a:rPr kumimoji="1" lang="ja-JP" altLang="en-US" smtClean="0"/>
              <a:t>2024/2/7</a:t>
            </a:fld>
            <a:endParaRPr kumimoji="1" lang="ja-JP" altLang="en-US"/>
          </a:p>
        </p:txBody>
      </p:sp>
      <p:sp>
        <p:nvSpPr>
          <p:cNvPr id="4" name="フッター プレースホルダー 3"/>
          <p:cNvSpPr>
            <a:spLocks noGrp="1"/>
          </p:cNvSpPr>
          <p:nvPr>
            <p:ph type="ftr" sz="quarter" idx="2"/>
          </p:nvPr>
        </p:nvSpPr>
        <p:spPr>
          <a:xfrm>
            <a:off x="1" y="9719822"/>
            <a:ext cx="3077518" cy="513204"/>
          </a:xfrm>
          <a:prstGeom prst="rect">
            <a:avLst/>
          </a:prstGeom>
        </p:spPr>
        <p:txBody>
          <a:bodyPr vert="horz" lIns="94650" tIns="47325" rIns="94650" bIns="47325"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3302" y="9719822"/>
            <a:ext cx="3077518" cy="513204"/>
          </a:xfrm>
          <a:prstGeom prst="rect">
            <a:avLst/>
          </a:prstGeom>
        </p:spPr>
        <p:txBody>
          <a:bodyPr vert="horz" lIns="94650" tIns="47325" rIns="94650" bIns="47325" rtlCol="0" anchor="b"/>
          <a:lstStyle>
            <a:lvl1pPr algn="r">
              <a:defRPr sz="1200"/>
            </a:lvl1pPr>
          </a:lstStyle>
          <a:p>
            <a:fld id="{2CF6DB7F-7A23-4C57-B74A-B4D7073C5074}" type="slidenum">
              <a:rPr kumimoji="1" lang="ja-JP" altLang="en-US" smtClean="0"/>
              <a:t>‹#›</a:t>
            </a:fld>
            <a:endParaRPr kumimoji="1" lang="ja-JP" altLang="en-US"/>
          </a:p>
        </p:txBody>
      </p:sp>
    </p:spTree>
    <p:extLst>
      <p:ext uri="{BB962C8B-B14F-4D97-AF65-F5344CB8AC3E}">
        <p14:creationId xmlns:p14="http://schemas.microsoft.com/office/powerpoint/2010/main" val="3773933161"/>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21T07:29:50.296"/>
    </inkml:context>
    <inkml:brush xml:id="br0">
      <inkml:brushProperty name="width" value="0.05" units="cm"/>
      <inkml:brushProperty name="height" value="0.05" units="cm"/>
    </inkml:brush>
  </inkml:definitions>
  <inkml:trace contextRef="#ctx0" brushRef="#br0">1 0 24575,'0'0'-819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2-21T07:29:53.897"/>
    </inkml:context>
    <inkml:brush xml:id="br0">
      <inkml:brushProperty name="width" value="0.05" units="cm"/>
      <inkml:brushProperty name="height" value="0.05" units="cm"/>
    </inkml:brush>
  </inkml:definitions>
  <inkml:trace contextRef="#ctx0" brushRef="#br0">1 0 24575,'0'0'-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3077518" cy="513204"/>
          </a:xfrm>
          <a:prstGeom prst="rect">
            <a:avLst/>
          </a:prstGeom>
        </p:spPr>
        <p:txBody>
          <a:bodyPr vert="horz" lIns="94650" tIns="47325" rIns="94650" bIns="47325" rtlCol="0"/>
          <a:lstStyle>
            <a:lvl1pPr algn="l">
              <a:defRPr sz="1200"/>
            </a:lvl1pPr>
          </a:lstStyle>
          <a:p>
            <a:endParaRPr kumimoji="1" lang="ja-JP" altLang="en-US"/>
          </a:p>
        </p:txBody>
      </p:sp>
      <p:sp>
        <p:nvSpPr>
          <p:cNvPr id="3" name="日付プレースホルダー 2"/>
          <p:cNvSpPr>
            <a:spLocks noGrp="1"/>
          </p:cNvSpPr>
          <p:nvPr>
            <p:ph type="dt" idx="1"/>
          </p:nvPr>
        </p:nvSpPr>
        <p:spPr>
          <a:xfrm>
            <a:off x="4023302" y="0"/>
            <a:ext cx="3077518" cy="513204"/>
          </a:xfrm>
          <a:prstGeom prst="rect">
            <a:avLst/>
          </a:prstGeom>
        </p:spPr>
        <p:txBody>
          <a:bodyPr vert="horz" lIns="94650" tIns="47325" rIns="94650" bIns="47325" rtlCol="0"/>
          <a:lstStyle>
            <a:lvl1pPr algn="r">
              <a:defRPr sz="1200"/>
            </a:lvl1pPr>
          </a:lstStyle>
          <a:p>
            <a:fld id="{1ABD58D7-97B9-4562-A7DC-B209F1126903}" type="datetimeFigureOut">
              <a:rPr kumimoji="1" lang="ja-JP" altLang="en-US" smtClean="0"/>
              <a:t>2024/2/7</a:t>
            </a:fld>
            <a:endParaRPr kumimoji="1" lang="ja-JP" altLang="en-US"/>
          </a:p>
        </p:txBody>
      </p:sp>
      <p:sp>
        <p:nvSpPr>
          <p:cNvPr id="4" name="スライド イメージ プレースホルダー 3"/>
          <p:cNvSpPr>
            <a:spLocks noGrp="1" noRot="1" noChangeAspect="1"/>
          </p:cNvSpPr>
          <p:nvPr>
            <p:ph type="sldImg" idx="2"/>
          </p:nvPr>
        </p:nvSpPr>
        <p:spPr>
          <a:xfrm>
            <a:off x="1055688" y="1279525"/>
            <a:ext cx="4991100" cy="3454400"/>
          </a:xfrm>
          <a:prstGeom prst="rect">
            <a:avLst/>
          </a:prstGeom>
          <a:noFill/>
          <a:ln w="12700">
            <a:solidFill>
              <a:prstClr val="black"/>
            </a:solidFill>
          </a:ln>
        </p:spPr>
        <p:txBody>
          <a:bodyPr vert="horz" lIns="94650" tIns="47325" rIns="94650" bIns="47325" rtlCol="0" anchor="ctr"/>
          <a:lstStyle/>
          <a:p>
            <a:endParaRPr lang="ja-JP" altLang="en-US"/>
          </a:p>
        </p:txBody>
      </p:sp>
      <p:sp>
        <p:nvSpPr>
          <p:cNvPr id="5" name="ノート プレースホルダー 4"/>
          <p:cNvSpPr>
            <a:spLocks noGrp="1"/>
          </p:cNvSpPr>
          <p:nvPr>
            <p:ph type="body" sz="quarter" idx="3"/>
          </p:nvPr>
        </p:nvSpPr>
        <p:spPr>
          <a:xfrm>
            <a:off x="710580" y="4924470"/>
            <a:ext cx="5681317" cy="4028814"/>
          </a:xfrm>
          <a:prstGeom prst="rect">
            <a:avLst/>
          </a:prstGeom>
        </p:spPr>
        <p:txBody>
          <a:bodyPr vert="horz" lIns="94650" tIns="47325" rIns="94650" bIns="47325"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719822"/>
            <a:ext cx="3077518" cy="513204"/>
          </a:xfrm>
          <a:prstGeom prst="rect">
            <a:avLst/>
          </a:prstGeom>
        </p:spPr>
        <p:txBody>
          <a:bodyPr vert="horz" lIns="94650" tIns="47325" rIns="94650" bIns="47325"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023302" y="9719822"/>
            <a:ext cx="3077518" cy="513204"/>
          </a:xfrm>
          <a:prstGeom prst="rect">
            <a:avLst/>
          </a:prstGeom>
        </p:spPr>
        <p:txBody>
          <a:bodyPr vert="horz" lIns="94650" tIns="47325" rIns="94650" bIns="47325" rtlCol="0" anchor="b"/>
          <a:lstStyle>
            <a:lvl1pPr algn="r">
              <a:defRPr sz="1200"/>
            </a:lvl1pPr>
          </a:lstStyle>
          <a:p>
            <a:fld id="{E8D71F5B-8F1A-41E3-8EB2-AA72DC696BC6}" type="slidenum">
              <a:rPr kumimoji="1" lang="ja-JP" altLang="en-US" smtClean="0"/>
              <a:t>‹#›</a:t>
            </a:fld>
            <a:endParaRPr kumimoji="1" lang="ja-JP" altLang="en-US"/>
          </a:p>
        </p:txBody>
      </p:sp>
    </p:spTree>
    <p:extLst>
      <p:ext uri="{BB962C8B-B14F-4D97-AF65-F5344CB8AC3E}">
        <p14:creationId xmlns:p14="http://schemas.microsoft.com/office/powerpoint/2010/main" val="146101414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55688" y="1279525"/>
            <a:ext cx="4991100" cy="3454400"/>
          </a:xfrm>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fld id="{E8D71F5B-8F1A-41E3-8EB2-AA72DC696BC6}" type="slidenum">
              <a:rPr kumimoji="1" lang="ja-JP" altLang="en-US" smtClean="0"/>
              <a:t>7</a:t>
            </a:fld>
            <a:endParaRPr kumimoji="1" lang="ja-JP" altLang="en-US"/>
          </a:p>
        </p:txBody>
      </p:sp>
    </p:spTree>
    <p:extLst>
      <p:ext uri="{BB962C8B-B14F-4D97-AF65-F5344CB8AC3E}">
        <p14:creationId xmlns:p14="http://schemas.microsoft.com/office/powerpoint/2010/main" val="2225730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en-US"/>
          </a:p>
        </p:txBody>
      </p:sp>
      <p:sp>
        <p:nvSpPr>
          <p:cNvPr id="4" name="Slide Number Placeholder 3"/>
          <p:cNvSpPr>
            <a:spLocks noGrp="1"/>
          </p:cNvSpPr>
          <p:nvPr>
            <p:ph type="sldNum" sz="quarter" idx="5"/>
          </p:nvPr>
        </p:nvSpPr>
        <p:spPr/>
        <p:txBody>
          <a:bodyPr/>
          <a:lstStyle/>
          <a:p>
            <a:pPr defTabSz="979812">
              <a:defRPr/>
            </a:pPr>
            <a:r>
              <a:rPr lang="en-US">
                <a:solidFill>
                  <a:srgbClr val="6E6F73"/>
                </a:solidFill>
                <a:latin typeface="Trebuchet MS"/>
              </a:rPr>
              <a:t>Notes view: </a:t>
            </a:r>
            <a:fld id="{128CEAFE-FA94-43E5-B0FF-D47E1CCDD1B4}" type="slidenum">
              <a:rPr lang="en-US">
                <a:solidFill>
                  <a:srgbClr val="6E6F73"/>
                </a:solidFill>
                <a:latin typeface="Trebuchet MS"/>
              </a:rPr>
              <a:pPr defTabSz="979812">
                <a:defRPr/>
              </a:pPr>
              <a:t>18</a:t>
            </a:fld>
            <a:endParaRPr lang="en-US">
              <a:solidFill>
                <a:srgbClr val="6E6F73"/>
              </a:solidFill>
              <a:latin typeface="Trebuchet MS"/>
            </a:endParaRPr>
          </a:p>
        </p:txBody>
      </p:sp>
    </p:spTree>
    <p:extLst>
      <p:ext uri="{BB962C8B-B14F-4D97-AF65-F5344CB8AC3E}">
        <p14:creationId xmlns:p14="http://schemas.microsoft.com/office/powerpoint/2010/main" val="6049278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dirty="0">
                <a:solidFill>
                  <a:srgbClr val="C00000"/>
                </a:solidFill>
              </a:rPr>
              <a:t>途中で御紹介した、エネ特ポータルサイト、を見てもよく分からない、あるいは、補助事業の検索の方法が分からない等、お困りごとがございましたら、</a:t>
            </a:r>
            <a:endParaRPr kumimoji="1" lang="en-US" altLang="ja-JP" dirty="0">
              <a:solidFill>
                <a:srgbClr val="C00000"/>
              </a:solidFill>
            </a:endParaRPr>
          </a:p>
          <a:p>
            <a:r>
              <a:rPr lang="ja-JP" altLang="en-US" dirty="0">
                <a:solidFill>
                  <a:srgbClr val="C00000"/>
                </a:solidFill>
              </a:rPr>
              <a:t>お気軽に、近畿地方環境事務所まで、お問い合わせいただきましたら幸いです。</a:t>
            </a:r>
            <a:endParaRPr lang="en-US" altLang="ja-JP" dirty="0">
              <a:solidFill>
                <a:srgbClr val="C00000"/>
              </a:solidFill>
            </a:endParaRPr>
          </a:p>
          <a:p>
            <a:endParaRPr kumimoji="1" lang="en-US" altLang="ja-JP" dirty="0">
              <a:solidFill>
                <a:srgbClr val="C00000"/>
              </a:solidFill>
            </a:endParaRPr>
          </a:p>
          <a:p>
            <a:r>
              <a:rPr kumimoji="1" lang="ja-JP" altLang="en-US" dirty="0">
                <a:solidFill>
                  <a:srgbClr val="C00000"/>
                </a:solidFill>
              </a:rPr>
              <a:t>以上、ご清聴ありがとうございました。</a:t>
            </a:r>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FFC476-5EA4-493E-B35E-3BCFFE9D823A}"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0832801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8.xml"/><Relationship Id="rId1" Type="http://schemas.openxmlformats.org/officeDocument/2006/relationships/tags" Target="../tags/tag9.xml"/><Relationship Id="rId5" Type="http://schemas.openxmlformats.org/officeDocument/2006/relationships/image" Target="../media/image28.jpeg"/><Relationship Id="rId4" Type="http://schemas.openxmlformats.org/officeDocument/2006/relationships/image" Target="../media/image34.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5.jpeg"/><Relationship Id="rId5" Type="http://schemas.openxmlformats.org/officeDocument/2006/relationships/image" Target="../media/image14.svg"/><Relationship Id="rId4" Type="http://schemas.openxmlformats.org/officeDocument/2006/relationships/image" Target="../media/image13.png"/></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7.jpeg"/><Relationship Id="rId2" Type="http://schemas.openxmlformats.org/officeDocument/2006/relationships/image" Target="../media/image20.jpeg"/><Relationship Id="rId1" Type="http://schemas.openxmlformats.org/officeDocument/2006/relationships/slideMaster" Target="../slideMasters/slideMaster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 Id="rId6" Type="http://schemas.openxmlformats.org/officeDocument/2006/relationships/image" Target="../media/image15.jpeg"/><Relationship Id="rId5" Type="http://schemas.openxmlformats.org/officeDocument/2006/relationships/image" Target="../media/image14.svg"/><Relationship Id="rId4" Type="http://schemas.openxmlformats.org/officeDocument/2006/relationships/image" Target="../media/image13.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7.jpeg"/><Relationship Id="rId2" Type="http://schemas.openxmlformats.org/officeDocument/2006/relationships/image" Target="../media/image20.jpeg"/><Relationship Id="rId1" Type="http://schemas.openxmlformats.org/officeDocument/2006/relationships/slideMaster" Target="../slideMasters/slideMaster6.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7.jpeg"/><Relationship Id="rId2" Type="http://schemas.openxmlformats.org/officeDocument/2006/relationships/image" Target="../media/image20.jpeg"/><Relationship Id="rId1" Type="http://schemas.openxmlformats.org/officeDocument/2006/relationships/slideMaster" Target="../slideMasters/slideMaster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11.png"/><Relationship Id="rId1" Type="http://schemas.openxmlformats.org/officeDocument/2006/relationships/slideMaster" Target="../slideMasters/slideMaster8.xml"/><Relationship Id="rId6" Type="http://schemas.openxmlformats.org/officeDocument/2006/relationships/image" Target="../media/image15.jpeg"/><Relationship Id="rId5" Type="http://schemas.openxmlformats.org/officeDocument/2006/relationships/image" Target="../media/image33.svg"/><Relationship Id="rId4" Type="http://schemas.openxmlformats.org/officeDocument/2006/relationships/image" Target="../media/image13.png"/></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742950" y="1122363"/>
            <a:ext cx="8420100" cy="2387600"/>
          </a:xfrm>
        </p:spPr>
        <p:txBody>
          <a:bodyPr anchor="b"/>
          <a:lstStyle>
            <a:lvl1pPr algn="ctr">
              <a:defRPr sz="6000"/>
            </a:lvl1pPr>
          </a:lstStyle>
          <a:p>
            <a:r>
              <a:rPr lang="ja-JP" altLang="en-US"/>
              <a:t>マスター タイトルの書式設定</a:t>
            </a:r>
            <a:endParaRPr lang="en-US"/>
          </a:p>
        </p:txBody>
      </p:sp>
      <p:sp>
        <p:nvSpPr>
          <p:cNvPr id="3" name="Subtitle 2"/>
          <p:cNvSpPr>
            <a:spLocks noGrp="1"/>
          </p:cNvSpPr>
          <p:nvPr>
            <p:ph type="subTitle" idx="1"/>
          </p:nvPr>
        </p:nvSpPr>
        <p:spPr>
          <a:xfrm>
            <a:off x="1238250" y="3602038"/>
            <a:ext cx="7429500" cy="1655762"/>
          </a:xfrm>
        </p:spPr>
        <p:txBody>
          <a:bodyPr/>
          <a:lstStyle>
            <a:lvl1pPr marL="0" indent="0" algn="ctr">
              <a:buNone/>
              <a:defRPr sz="2400"/>
            </a:lvl1pPr>
            <a:lvl2pPr marL="457221" indent="0" algn="ctr">
              <a:buNone/>
              <a:defRPr sz="2000"/>
            </a:lvl2pPr>
            <a:lvl3pPr marL="914441" indent="0" algn="ctr">
              <a:buNone/>
              <a:defRPr sz="1800"/>
            </a:lvl3pPr>
            <a:lvl4pPr marL="1371662" indent="0" algn="ctr">
              <a:buNone/>
              <a:defRPr sz="1600"/>
            </a:lvl4pPr>
            <a:lvl5pPr marL="1828883" indent="0" algn="ctr">
              <a:buNone/>
              <a:defRPr sz="1600"/>
            </a:lvl5pPr>
            <a:lvl6pPr marL="2286103" indent="0" algn="ctr">
              <a:buNone/>
              <a:defRPr sz="1600"/>
            </a:lvl6pPr>
            <a:lvl7pPr marL="2743323" indent="0" algn="ctr">
              <a:buNone/>
              <a:defRPr sz="1600"/>
            </a:lvl7pPr>
            <a:lvl8pPr marL="3200544" indent="0" algn="ctr">
              <a:buNone/>
              <a:defRPr sz="1600"/>
            </a:lvl8pPr>
            <a:lvl9pPr marL="3657765" indent="0" algn="ctr">
              <a:buNone/>
              <a:defRPr sz="160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70199342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pic>
        <p:nvPicPr>
          <p:cNvPr id="6"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5115" y="301448"/>
            <a:ext cx="8872196" cy="461266"/>
          </a:xfrm>
          <a:prstGeom prst="rect">
            <a:avLst/>
          </a:prstGeom>
        </p:spPr>
      </p:pic>
      <p:cxnSp>
        <p:nvCxnSpPr>
          <p:cNvPr id="7" name="直線コネクタ 6">
            <a:extLst>
              <a:ext uri="{FF2B5EF4-FFF2-40B4-BE49-F238E27FC236}">
                <a16:creationId xmlns:a16="http://schemas.microsoft.com/office/drawing/2014/main" id="{EBCF4434-9025-3445-AC58-7DECDD0D5A3D}"/>
              </a:ext>
            </a:extLst>
          </p:cNvPr>
          <p:cNvCxnSpPr>
            <a:cxnSpLocks/>
          </p:cNvCxnSpPr>
          <p:nvPr userDrawn="1"/>
        </p:nvCxnSpPr>
        <p:spPr>
          <a:xfrm>
            <a:off x="239745" y="503688"/>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626490" y="234015"/>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ー 6"/>
          <p:cNvSpPr>
            <a:spLocks noGrp="1"/>
          </p:cNvSpPr>
          <p:nvPr>
            <p:ph type="sldNum" sz="quarter" idx="13"/>
          </p:nvPr>
        </p:nvSpPr>
        <p:spPr>
          <a:xfrm>
            <a:off x="7594601" y="6597352"/>
            <a:ext cx="2311400" cy="260648"/>
          </a:xfrm>
        </p:spPr>
        <p:txBody>
          <a:bodyPr tIns="36000" rIns="72000" bIns="0"/>
          <a:lstStyle>
            <a:lvl1pPr>
              <a:defRPr sz="9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fld id="{C0E165EF-8CF6-4151-AFE5-5BCB0FC607F3}" type="slidenum">
              <a:rPr lang="ja-JP" altLang="en-US" smtClean="0"/>
              <a:pPr>
                <a:defRPr/>
              </a:pPr>
              <a:t>‹#›</a:t>
            </a:fld>
            <a:endParaRPr lang="ja-JP" altLang="en-US" dirty="0"/>
          </a:p>
        </p:txBody>
      </p:sp>
    </p:spTree>
    <p:extLst>
      <p:ext uri="{BB962C8B-B14F-4D97-AF65-F5344CB8AC3E}">
        <p14:creationId xmlns:p14="http://schemas.microsoft.com/office/powerpoint/2010/main" val="317441721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dirty="0">
              <a:latin typeface="Arial" panose="020B0604020202020204" pitchFamily="34" charset="0"/>
              <a:ea typeface="メイリオ" panose="020B0604030504040204" pitchFamily="50" charset="-128"/>
              <a:cs typeface="Arial" panose="020B0604020202020204" pitchFamily="34" charset="0"/>
            </a:endParaRPr>
          </a:p>
        </p:txBody>
      </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8" y="332656"/>
            <a:ext cx="9278294" cy="587854"/>
          </a:xfrm>
          <a:prstGeom prst="rect">
            <a:avLst/>
          </a:prstGeom>
          <a:solidFill>
            <a:schemeClr val="accent1">
              <a:lumMod val="75000"/>
              <a:lumOff val="25000"/>
            </a:schemeClr>
          </a:solidFill>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userDrawn="1">
            <p:ph sz="quarter" idx="16" hasCustomPrompt="1"/>
          </p:nvPr>
        </p:nvSpPr>
        <p:spPr>
          <a:xfrm>
            <a:off x="531441" y="1012092"/>
            <a:ext cx="8705425" cy="783805"/>
          </a:xfrm>
          <a:prstGeom prst="rect">
            <a:avLst/>
          </a:prstGeom>
        </p:spPr>
        <p:txBody>
          <a:bodyPr lIns="0" tIns="144000" rIns="0" bIns="0" anchor="t"/>
          <a:lstStyle>
            <a:lvl1pPr marL="0" marR="0" indent="0" algn="l" defTabSz="782016" rtl="0" eaLnBrk="1" fontAlgn="auto" latinLnBrk="0" hangingPunct="1">
              <a:lnSpc>
                <a:spcPct val="100000"/>
              </a:lnSpc>
              <a:spcBef>
                <a:spcPts val="0"/>
              </a:spcBef>
              <a:spcAft>
                <a:spcPts val="513"/>
              </a:spcAft>
              <a:buClrTx/>
              <a:buSzTx/>
              <a:buFontTx/>
              <a:buNone/>
              <a:tabLst/>
              <a:defRPr sz="1368" b="1">
                <a:solidFill>
                  <a:schemeClr val="tx1"/>
                </a:solidFill>
                <a:latin typeface="Meiryo UI" panose="020B0604030504040204" pitchFamily="50" charset="-128"/>
                <a:ea typeface="Meiryo UI" panose="020B0604030504040204" pitchFamily="50" charset="-128"/>
              </a:defRPr>
            </a:lvl1pPr>
            <a:lvl2pPr marL="391008" indent="0">
              <a:buFontTx/>
              <a:buNone/>
              <a:defRPr/>
            </a:lvl2pPr>
            <a:lvl3pPr marL="782016" indent="0">
              <a:buFontTx/>
              <a:buNone/>
              <a:defRPr/>
            </a:lvl3pPr>
            <a:lvl4pPr marL="1173022" indent="0">
              <a:buFontTx/>
              <a:buNone/>
              <a:defRPr/>
            </a:lvl4pPr>
            <a:lvl5pPr marL="1564030" indent="0">
              <a:buFontTx/>
              <a:buNone/>
              <a:defRPr/>
            </a:lvl5pPr>
          </a:lstStyle>
          <a:p>
            <a:pPr marL="0" marR="0" lvl="0" indent="0" algn="l" defTabSz="782016"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8829631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リー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947646" y="273944"/>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60" y="354185"/>
            <a:ext cx="8713007" cy="461267"/>
          </a:xfrm>
          <a:prstGeom prst="rect">
            <a:avLst/>
          </a:prstGeom>
        </p:spPr>
      </p:pic>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483867" y="6534298"/>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5"/>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hasCustomPrompt="1"/>
          </p:nvPr>
        </p:nvSpPr>
        <p:spPr>
          <a:xfrm>
            <a:off x="550091" y="823889"/>
            <a:ext cx="8041877" cy="589919"/>
          </a:xfrm>
          <a:prstGeom prst="rect">
            <a:avLst/>
          </a:prstGeom>
        </p:spPr>
        <p:txBody>
          <a:bodyPr lIns="0" tIns="108000" rIns="0" bIns="0" anchor="t"/>
          <a:lstStyle>
            <a:lvl1pPr marL="0" marR="0" indent="0" algn="l" defTabSz="782020" rtl="0" eaLnBrk="1" fontAlgn="auto" latinLnBrk="0" hangingPunct="1">
              <a:lnSpc>
                <a:spcPct val="100000"/>
              </a:lnSpc>
              <a:spcBef>
                <a:spcPts val="0"/>
              </a:spcBef>
              <a:spcAft>
                <a:spcPts val="0"/>
              </a:spcAft>
              <a:buClrTx/>
              <a:buSzTx/>
              <a:buFontTx/>
              <a:buNone/>
              <a:tabLst/>
              <a:defRPr sz="1026" b="1">
                <a:solidFill>
                  <a:srgbClr val="009C89"/>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marL="0" marR="0" lvl="0" indent="0" algn="l" defTabSz="782020"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8" y="532086"/>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8"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380241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947646" y="273944"/>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60" y="354185"/>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8" y="532086"/>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8"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483867" y="6544931"/>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5"/>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212625315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目次用スライド">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08499E0-6698-7242-8365-20FF5A758AA5}"/>
              </a:ext>
            </a:extLst>
          </p:cNvPr>
          <p:cNvSpPr txBox="1"/>
          <p:nvPr userDrawn="1"/>
        </p:nvSpPr>
        <p:spPr>
          <a:xfrm>
            <a:off x="1" y="6609925"/>
            <a:ext cx="9906000" cy="230512"/>
          </a:xfrm>
          <a:prstGeom prst="rect">
            <a:avLst/>
          </a:prstGeom>
          <a:noFill/>
        </p:spPr>
        <p:txBody>
          <a:bodyPr wrap="square" rtlCol="0">
            <a:spAutoFit/>
          </a:bodyPr>
          <a:lstStyle/>
          <a:p>
            <a:pPr algn="r"/>
            <a:fld id="{38434F60-59C2-5746-B363-8E311F3EE048}" type="slidenum">
              <a:rPr lang="en-US" altLang="ja-JP" sz="898"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98"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2" y="133064"/>
            <a:ext cx="596513" cy="598234"/>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872196"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50001" y="532086"/>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636744" y="262413"/>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66213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内容説明用スライド-1">
    <p:spTree>
      <p:nvGrpSpPr>
        <p:cNvPr id="1" name=""/>
        <p:cNvGrpSpPr/>
        <p:nvPr/>
      </p:nvGrpSpPr>
      <p:grpSpPr>
        <a:xfrm>
          <a:off x="0" y="0"/>
          <a:ext cx="0" cy="0"/>
          <a:chOff x="0" y="0"/>
          <a:chExt cx="0" cy="0"/>
        </a:xfrm>
      </p:grpSpPr>
      <p:pic>
        <p:nvPicPr>
          <p:cNvPr id="10" name="Picture 11" descr="ç°å¢ç">
            <a:extLst>
              <a:ext uri="{FF2B5EF4-FFF2-40B4-BE49-F238E27FC236}">
                <a16:creationId xmlns:a16="http://schemas.microsoft.com/office/drawing/2014/main" id="{60E486B8-662B-314A-9026-A2BE09EFE3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3" y="133064"/>
            <a:ext cx="596513"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8933A530-EA13-4E40-8853-24895B93ACAC}"/>
              </a:ext>
            </a:extLst>
          </p:cNvPr>
          <p:cNvGrpSpPr/>
          <p:nvPr userDrawn="1"/>
        </p:nvGrpSpPr>
        <p:grpSpPr>
          <a:xfrm>
            <a:off x="249997" y="285663"/>
            <a:ext cx="9414416" cy="899980"/>
            <a:chOff x="269828" y="1704549"/>
            <a:chExt cx="10161233" cy="1425716"/>
          </a:xfrm>
        </p:grpSpPr>
        <p:pic>
          <p:nvPicPr>
            <p:cNvPr id="7" name="グラフィックス 6">
              <a:extLst>
                <a:ext uri="{FF2B5EF4-FFF2-40B4-BE49-F238E27FC236}">
                  <a16:creationId xmlns:a16="http://schemas.microsoft.com/office/drawing/2014/main" id="{1965654B-C214-044C-9754-691F56B1A74E}"/>
                </a:ext>
              </a:extLst>
            </p:cNvPr>
            <p:cNvPicPr>
              <a:picLocks noChangeAspect="1"/>
            </p:cNvPicPr>
            <p:nvPr/>
          </p:nvPicPr>
          <p:blipFill>
            <a:blip/>
            <a:stretch>
              <a:fillRect/>
            </a:stretch>
          </p:blipFill>
          <p:spPr>
            <a:xfrm>
              <a:off x="341713" y="1816883"/>
              <a:ext cx="9997200" cy="1224147"/>
            </a:xfrm>
            <a:prstGeom prst="rect">
              <a:avLst/>
            </a:prstGeom>
          </p:spPr>
        </p:pic>
        <p:cxnSp>
          <p:nvCxnSpPr>
            <p:cNvPr id="8" name="直線コネクタ 7">
              <a:extLst>
                <a:ext uri="{FF2B5EF4-FFF2-40B4-BE49-F238E27FC236}">
                  <a16:creationId xmlns:a16="http://schemas.microsoft.com/office/drawing/2014/main" id="{803ACE90-2131-A448-9D2B-E09F626D0747}"/>
                </a:ext>
              </a:extLst>
            </p:cNvPr>
            <p:cNvCxnSpPr/>
            <p:nvPr/>
          </p:nvCxnSpPr>
          <p:spPr>
            <a:xfrm>
              <a:off x="269828" y="2691065"/>
              <a:ext cx="438100" cy="439200"/>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492973B8-A1E0-8249-B6B2-09ED50D99913}"/>
                </a:ext>
              </a:extLst>
            </p:cNvPr>
            <p:cNvCxnSpPr>
              <a:cxnSpLocks/>
            </p:cNvCxnSpPr>
            <p:nvPr/>
          </p:nvCxnSpPr>
          <p:spPr>
            <a:xfrm>
              <a:off x="9321870" y="1704549"/>
              <a:ext cx="1109191" cy="1111976"/>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12" name="テキスト ボックス 11">
            <a:extLst>
              <a:ext uri="{FF2B5EF4-FFF2-40B4-BE49-F238E27FC236}">
                <a16:creationId xmlns:a16="http://schemas.microsoft.com/office/drawing/2014/main" id="{008499E0-6698-7242-8365-20FF5A758AA5}"/>
              </a:ext>
            </a:extLst>
          </p:cNvPr>
          <p:cNvSpPr txBox="1"/>
          <p:nvPr userDrawn="1"/>
        </p:nvSpPr>
        <p:spPr>
          <a:xfrm>
            <a:off x="1" y="6609925"/>
            <a:ext cx="9906000" cy="230832"/>
          </a:xfrm>
          <a:prstGeom prst="rect">
            <a:avLst/>
          </a:prstGeom>
          <a:noFill/>
        </p:spPr>
        <p:txBody>
          <a:bodyPr wrap="square" rtlCol="0">
            <a:spAutoFit/>
          </a:bodyPr>
          <a:lstStyle/>
          <a:p>
            <a:pPr algn="r"/>
            <a:fld id="{38434F60-59C2-5746-B363-8E311F3EE048}" type="slidenum">
              <a:rPr lang="en-US" altLang="ja-JP" sz="900"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47"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37297522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3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9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8" y="339774"/>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7" y="424232"/>
            <a:ext cx="8271821"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41" y="1012092"/>
            <a:ext cx="8705425" cy="783805"/>
          </a:xfrm>
          <a:prstGeom prst="rect">
            <a:avLst/>
          </a:prstGeom>
        </p:spPr>
        <p:txBody>
          <a:bodyPr lIns="0" tIns="144000" rIns="0" bIns="0" anchor="t"/>
          <a:lstStyle>
            <a:lvl1pPr marL="0" marR="0" indent="0" algn="l" defTabSz="737199" rtl="0" eaLnBrk="1" fontAlgn="auto" latinLnBrk="0" hangingPunct="1">
              <a:lnSpc>
                <a:spcPct val="100000"/>
              </a:lnSpc>
              <a:spcBef>
                <a:spcPts val="0"/>
              </a:spcBef>
              <a:spcAft>
                <a:spcPts val="483"/>
              </a:spcAft>
              <a:buClrTx/>
              <a:buSzTx/>
              <a:buFontTx/>
              <a:buNone/>
              <a:tabLst/>
              <a:defRPr sz="1290" b="1">
                <a:solidFill>
                  <a:srgbClr val="009C89"/>
                </a:solidFill>
                <a:latin typeface="Meiryo UI" panose="020B0604030504040204" pitchFamily="50" charset="-128"/>
                <a:ea typeface="Meiryo UI" panose="020B0604030504040204" pitchFamily="50" charset="-128"/>
              </a:defRPr>
            </a:lvl1pPr>
            <a:lvl2pPr marL="368600" indent="0">
              <a:buFontTx/>
              <a:buNone/>
              <a:defRPr/>
            </a:lvl2pPr>
            <a:lvl3pPr marL="737199" indent="0">
              <a:buFontTx/>
              <a:buNone/>
              <a:defRPr/>
            </a:lvl3pPr>
            <a:lvl4pPr marL="1105800" indent="0">
              <a:buFontTx/>
              <a:buNone/>
              <a:defRPr/>
            </a:lvl4pPr>
            <a:lvl5pPr marL="1474399" indent="0">
              <a:buFontTx/>
              <a:buNone/>
              <a:defRPr/>
            </a:lvl5pPr>
          </a:lstStyle>
          <a:p>
            <a:pPr marL="0" marR="0" lvl="0" indent="0" algn="l" defTabSz="737199" rtl="0" eaLnBrk="1" fontAlgn="auto" latinLnBrk="0" hangingPunct="1">
              <a:lnSpc>
                <a:spcPct val="90000"/>
              </a:lnSpc>
              <a:spcBef>
                <a:spcPts val="806"/>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99392641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5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4"/>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6" y="419806"/>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92523754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090124"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81"/>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7" y="732553"/>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4"/>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5" y="419807"/>
            <a:ext cx="8271821" cy="228610"/>
          </a:xfrm>
          <a:prstGeom prst="rect">
            <a:avLst/>
          </a:prstGeom>
        </p:spPr>
        <p:txBody>
          <a:bodyPr lIns="180000" tIns="36000" rIns="0" bIns="0" anchor="ctr"/>
          <a:lstStyle>
            <a:lvl1pPr marL="0" indent="0" algn="l">
              <a:buFontTx/>
              <a:buNone/>
              <a:defRPr sz="1026" b="1">
                <a:solidFill>
                  <a:schemeClr val="bg1"/>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lvl="0"/>
            <a:r>
              <a:rPr kumimoji="1" lang="ja-JP" altLang="en-US"/>
              <a:t>第</a:t>
            </a:r>
            <a:r>
              <a:rPr kumimoji="1" lang="en-US" altLang="ja-JP"/>
              <a:t>1</a:t>
            </a:r>
            <a:r>
              <a:rPr kumimoji="1" lang="ja-JP" altLang="en-US"/>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5" y="191741"/>
            <a:ext cx="8271821" cy="228610"/>
          </a:xfrm>
          <a:prstGeom prst="rect">
            <a:avLst/>
          </a:prstGeom>
        </p:spPr>
        <p:txBody>
          <a:bodyPr lIns="72000" tIns="36000" rIns="0" bIns="0" anchor="ctr"/>
          <a:lstStyle>
            <a:lvl1pPr marL="0" indent="0" algn="l">
              <a:buFontTx/>
              <a:buNone/>
              <a:defRPr sz="1026" b="1">
                <a:solidFill>
                  <a:schemeClr val="accent1"/>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lvl="0"/>
            <a:r>
              <a:rPr kumimoji="1" lang="ja-JP" altLang="en-US"/>
              <a:t>第</a:t>
            </a:r>
            <a:r>
              <a:rPr kumimoji="1" lang="en-US" altLang="ja-JP"/>
              <a:t>2</a:t>
            </a:r>
            <a:r>
              <a:rPr kumimoji="1" lang="ja-JP" altLang="en-US"/>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40" y="1012091"/>
            <a:ext cx="8705425" cy="783805"/>
          </a:xfrm>
          <a:prstGeom prst="rect">
            <a:avLst/>
          </a:prstGeom>
        </p:spPr>
        <p:txBody>
          <a:bodyPr lIns="0" tIns="144000" rIns="0" bIns="0" anchor="t"/>
          <a:lstStyle>
            <a:lvl1pPr marL="0" marR="0" indent="0" algn="l" defTabSz="78202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marL="0" marR="0" lvl="0" indent="0" algn="l" defTabSz="782020"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5" y="648417"/>
            <a:ext cx="8276234" cy="359244"/>
          </a:xfrm>
          <a:prstGeom prst="rect">
            <a:avLst/>
          </a:prstGeom>
        </p:spPr>
        <p:txBody>
          <a:bodyPr lIns="252000" tIns="36000" rIns="0" bIns="0" anchor="ctr" anchorCtr="0"/>
          <a:lstStyle>
            <a:lvl1pPr>
              <a:defRPr sz="188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327890168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4"/>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5" y="419807"/>
            <a:ext cx="8271821" cy="228610"/>
          </a:xfrm>
          <a:prstGeom prst="rect">
            <a:avLst/>
          </a:prstGeom>
        </p:spPr>
        <p:txBody>
          <a:bodyPr lIns="180000" tIns="36000" rIns="0" bIns="0" anchor="ctr"/>
          <a:lstStyle>
            <a:lvl1pPr marL="0" marR="0" indent="0" algn="l" defTabSz="829565" rtl="0" eaLnBrk="1" fontAlgn="auto" latinLnBrk="0" hangingPunct="1">
              <a:lnSpc>
                <a:spcPct val="90000"/>
              </a:lnSpc>
              <a:spcBef>
                <a:spcPts val="907"/>
              </a:spcBef>
              <a:spcAft>
                <a:spcPts val="0"/>
              </a:spcAft>
              <a:buClrTx/>
              <a:buSzTx/>
              <a:buFontTx/>
              <a:buNone/>
              <a:tabLst/>
              <a:defRPr sz="1089" b="1">
                <a:solidFill>
                  <a:schemeClr val="bg1"/>
                </a:solidFill>
                <a:latin typeface="Meiryo UI" panose="020B0604030504040204" pitchFamily="50" charset="-128"/>
                <a:ea typeface="Meiryo UI" panose="020B0604030504040204" pitchFamily="50" charset="-128"/>
              </a:defRPr>
            </a:lvl1pPr>
            <a:lvl2pPr marL="414782" indent="0">
              <a:buFontTx/>
              <a:buNone/>
              <a:defRPr/>
            </a:lvl2pPr>
            <a:lvl3pPr marL="829565" indent="0">
              <a:buFontTx/>
              <a:buNone/>
              <a:defRPr/>
            </a:lvl3pPr>
            <a:lvl4pPr marL="1244347" indent="0">
              <a:buFontTx/>
              <a:buNone/>
              <a:defRPr/>
            </a:lvl4pPr>
            <a:lvl5pPr marL="1659128" indent="0">
              <a:buFontTx/>
              <a:buNone/>
              <a:defRPr/>
            </a:lvl5pPr>
          </a:lstStyle>
          <a:p>
            <a:pPr marL="0" marR="0" lvl="0" indent="0" algn="l" defTabSz="829565" rtl="0" eaLnBrk="1" fontAlgn="auto" latinLnBrk="0" hangingPunct="1">
              <a:lnSpc>
                <a:spcPct val="90000"/>
              </a:lnSpc>
              <a:spcBef>
                <a:spcPts val="907"/>
              </a:spcBef>
              <a:spcAft>
                <a:spcPts val="0"/>
              </a:spcAft>
              <a:buClrTx/>
              <a:buSzTx/>
              <a:buFontTx/>
              <a:buNone/>
              <a:tabLst/>
              <a:defRPr/>
            </a:pPr>
            <a:r>
              <a:rPr kumimoji="1" lang="ja-JP" altLang="en-US"/>
              <a:t>第</a:t>
            </a:r>
            <a:r>
              <a:rPr kumimoji="1" lang="en-US" altLang="ja-JP"/>
              <a:t>1</a:t>
            </a:r>
            <a:r>
              <a:rPr kumimoji="1" lang="ja-JP" altLang="en-US"/>
              <a:t>階層（例：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5"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82" indent="0">
              <a:buFontTx/>
              <a:buNone/>
              <a:defRPr/>
            </a:lvl2pPr>
            <a:lvl3pPr marL="829565" indent="0">
              <a:buFontTx/>
              <a:buNone/>
              <a:defRPr/>
            </a:lvl3pPr>
            <a:lvl4pPr marL="1244347" indent="0">
              <a:buFontTx/>
              <a:buNone/>
              <a:defRPr/>
            </a:lvl4pPr>
            <a:lvl5pPr marL="1659128" indent="0">
              <a:buFontTx/>
              <a:buNone/>
              <a:defRPr/>
            </a:lvl5pPr>
          </a:lstStyle>
          <a:p>
            <a:pPr lvl="0"/>
            <a:r>
              <a:rPr kumimoji="1" lang="ja-JP" altLang="en-US"/>
              <a:t>第</a:t>
            </a:r>
            <a:r>
              <a:rPr kumimoji="1" lang="en-US" altLang="ja-JP"/>
              <a:t>2</a:t>
            </a:r>
            <a:r>
              <a:rPr kumimoji="1" lang="ja-JP" altLang="en-US"/>
              <a:t>階層（例：表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70969882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03C09AE-856D-4DF0-B800-CBDE171ADFDC}"/>
              </a:ext>
            </a:extLst>
          </p:cNvPr>
          <p:cNvGraphicFramePr>
            <a:graphicFrameLocks noChangeAspect="1"/>
          </p:cNvGraphicFramePr>
          <p:nvPr userDrawn="1">
            <p:custDataLst>
              <p:tags r:id="rId1"/>
            </p:custDataLst>
            <p:extLst>
              <p:ext uri="{D42A27DB-BD31-4B8C-83A1-F6EECF244321}">
                <p14:modId xmlns:p14="http://schemas.microsoft.com/office/powerpoint/2010/main" val="2883605133"/>
              </p:ext>
            </p:extLst>
          </p:nvPr>
        </p:nvGraphicFramePr>
        <p:xfrm>
          <a:off x="1721" y="1588"/>
          <a:ext cx="1720" cy="1588"/>
        </p:xfrm>
        <a:graphic>
          <a:graphicData uri="http://schemas.openxmlformats.org/presentationml/2006/ole">
            <mc:AlternateContent xmlns:mc="http://schemas.openxmlformats.org/markup-compatibility/2006">
              <mc:Choice xmlns:v="urn:schemas-microsoft-com:vml" Requires="v">
                <p:oleObj name="think-cell スライド" r:id="rId3" imgW="606" imgH="608" progId="TCLayout.ActiveDocument.1">
                  <p:embed/>
                </p:oleObj>
              </mc:Choice>
              <mc:Fallback>
                <p:oleObj name="think-cell スライド" r:id="rId3" imgW="606" imgH="608" progId="TCLayout.ActiveDocument.1">
                  <p:embed/>
                  <p:pic>
                    <p:nvPicPr>
                      <p:cNvPr id="3" name="Object 2" hidden="1">
                        <a:extLst>
                          <a:ext uri="{FF2B5EF4-FFF2-40B4-BE49-F238E27FC236}">
                            <a16:creationId xmlns:a16="http://schemas.microsoft.com/office/drawing/2014/main" id="{A03C09AE-856D-4DF0-B800-CBDE171ADFDC}"/>
                          </a:ext>
                        </a:extLst>
                      </p:cNvPr>
                      <p:cNvPicPr/>
                      <p:nvPr/>
                    </p:nvPicPr>
                    <p:blipFill>
                      <a:blip r:embed="rId4"/>
                      <a:stretch>
                        <a:fillRect/>
                      </a:stretch>
                    </p:blipFill>
                    <p:spPr>
                      <a:xfrm>
                        <a:off x="1721" y="1588"/>
                        <a:ext cx="1720" cy="1588"/>
                      </a:xfrm>
                      <a:prstGeom prst="rect">
                        <a:avLst/>
                      </a:prstGeom>
                    </p:spPr>
                  </p:pic>
                </p:oleObj>
              </mc:Fallback>
            </mc:AlternateContent>
          </a:graphicData>
        </a:graphic>
      </p:graphicFrame>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8" y="196674"/>
            <a:ext cx="9657897"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5"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13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7" y="257881"/>
            <a:ext cx="8605363" cy="587854"/>
          </a:xfrm>
          <a:prstGeom prst="rect">
            <a:avLst/>
          </a:prstGeom>
        </p:spPr>
        <p:txBody>
          <a:bodyPr vert="horz" lIns="252000" tIns="36000" rIns="0" bIns="0" anchor="ctr" anchorCtr="0"/>
          <a:lstStyle>
            <a:lvl1pPr algn="l">
              <a:defRPr sz="1759"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7" y="1007811"/>
            <a:ext cx="9605952" cy="520422"/>
          </a:xfrm>
          <a:prstGeom prst="rect">
            <a:avLst/>
          </a:prstGeom>
          <a:ln w="19050">
            <a:solidFill>
              <a:schemeClr val="tx2"/>
            </a:solidFill>
          </a:ln>
        </p:spPr>
        <p:txBody>
          <a:bodyPr wrap="square" lIns="180000" tIns="180000" rIns="180000" bIns="144000" anchor="t" anchorCtr="0">
            <a:spAutoFit/>
          </a:bodyPr>
          <a:lstStyle>
            <a:lvl1pPr marL="179462" indent="-179462" algn="l">
              <a:lnSpc>
                <a:spcPct val="100000"/>
              </a:lnSpc>
              <a:spcBef>
                <a:spcPts val="377"/>
              </a:spcBef>
              <a:spcAft>
                <a:spcPts val="0"/>
              </a:spcAft>
              <a:buFont typeface="Wingdings" panose="05000000000000000000" pitchFamily="2" charset="2"/>
              <a:buChar char="n"/>
              <a:defRPr sz="1256"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6" name="テキスト ボックス 15">
            <a:extLst>
              <a:ext uri="{FF2B5EF4-FFF2-40B4-BE49-F238E27FC236}">
                <a16:creationId xmlns:a16="http://schemas.microsoft.com/office/drawing/2014/main" id="{8FD50C7F-9ACA-4B30-8C3B-E73A326DFDE0}"/>
              </a:ext>
            </a:extLst>
          </p:cNvPr>
          <p:cNvSpPr txBox="1"/>
          <p:nvPr userDrawn="1"/>
        </p:nvSpPr>
        <p:spPr>
          <a:xfrm>
            <a:off x="9572461" y="653142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753"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948926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0"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045878" y="1359900"/>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9" y="2714144"/>
            <a:ext cx="7989045" cy="1441483"/>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41492" y="2718651"/>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pic>
        <p:nvPicPr>
          <p:cNvPr id="2" name="図 1">
            <a:extLst>
              <a:ext uri="{FF2B5EF4-FFF2-40B4-BE49-F238E27FC236}">
                <a16:creationId xmlns:a16="http://schemas.microsoft.com/office/drawing/2014/main" id="{381CA3D0-B985-54D4-EB17-BFA4C57EF5A9}"/>
              </a:ext>
            </a:extLst>
          </p:cNvPr>
          <p:cNvPicPr>
            <a:picLocks noChangeAspect="1"/>
          </p:cNvPicPr>
          <p:nvPr userDrawn="1"/>
        </p:nvPicPr>
        <p:blipFill>
          <a:blip r:embed="rId3"/>
          <a:stretch>
            <a:fillRect/>
          </a:stretch>
        </p:blipFill>
        <p:spPr>
          <a:xfrm>
            <a:off x="3884481" y="5599416"/>
            <a:ext cx="2137038" cy="805437"/>
          </a:xfrm>
          <a:prstGeom prst="rect">
            <a:avLst/>
          </a:prstGeom>
        </p:spPr>
      </p:pic>
    </p:spTree>
    <p:extLst>
      <p:ext uri="{BB962C8B-B14F-4D97-AF65-F5344CB8AC3E}">
        <p14:creationId xmlns:p14="http://schemas.microsoft.com/office/powerpoint/2010/main" val="15937001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10"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9"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5"/>
            <a:ext cx="333541" cy="326585"/>
          </a:xfrm>
          <a:prstGeom prst="rect">
            <a:avLst/>
          </a:prstGeom>
          <a:noFill/>
        </p:spPr>
        <p:txBody>
          <a:bodyPr wrap="none" lIns="0" tIns="0" rIns="0" bIns="0" rtlCol="0" anchor="b" anchorCtr="0">
            <a:noAutofit/>
          </a:bodyPr>
          <a:lstStyle/>
          <a:p>
            <a:pPr algn="ctr"/>
            <a:fld id="{9C1B02FA-3B43-4965-97B5-C29D405C4738}" type="slidenum">
              <a:rPr lang="ja-JP" altLang="en-US" sz="900" kern="1200" smtClean="0">
                <a:solidFill>
                  <a:schemeClr val="tx1"/>
                </a:solidFill>
                <a:latin typeface="メイリオ" panose="020B0604030504040204" pitchFamily="50" charset="-128"/>
                <a:ea typeface="メイリオ" panose="020B0604030504040204" pitchFamily="50" charset="-128"/>
                <a:cs typeface="Arial" panose="020B0604020202020204" pitchFamily="34" charset="0"/>
              </a:rPr>
              <a:pPr algn="ctr"/>
              <a:t>‹#›</a:t>
            </a:fld>
            <a:endParaRPr lang="ja-JP" altLang="en-US" sz="900" kern="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4904319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9"/>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9"/>
            <a:ext cx="8004988" cy="4572197"/>
          </a:xfrm>
          <a:prstGeom prst="rect">
            <a:avLst/>
          </a:prstGeom>
        </p:spPr>
        <p:txBody>
          <a:bodyPr lIns="360000" tIns="0" rIns="0" bIns="0"/>
          <a:lstStyle>
            <a:lvl1pPr marL="674021" indent="-674021"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5"/>
            <a:ext cx="333541" cy="326585"/>
          </a:xfrm>
          <a:prstGeom prst="rect">
            <a:avLst/>
          </a:prstGeom>
          <a:noFill/>
        </p:spPr>
        <p:txBody>
          <a:bodyPr wrap="none" lIns="0" tIns="0" rIns="0" bIns="0" rtlCol="0" anchor="b" anchorCtr="0">
            <a:noAutofit/>
          </a:bodyPr>
          <a:lstStyle/>
          <a:p>
            <a:pPr algn="ctr"/>
            <a:fld id="{9C1B02FA-3B43-4965-97B5-C29D405C4738}" type="slidenum">
              <a:rPr lang="ja-JP" altLang="en-US" sz="900" kern="1200" smtClean="0">
                <a:solidFill>
                  <a:schemeClr val="tx1"/>
                </a:solidFill>
                <a:latin typeface="メイリオ" panose="020B0604030504040204" pitchFamily="50" charset="-128"/>
                <a:ea typeface="メイリオ" panose="020B0604030504040204" pitchFamily="50" charset="-128"/>
                <a:cs typeface="Arial" panose="020B0604020202020204" pitchFamily="34" charset="0"/>
              </a:rPr>
              <a:pPr algn="ctr"/>
              <a:t>‹#›</a:t>
            </a:fld>
            <a:endParaRPr lang="ja-JP" altLang="en-US" sz="900" kern="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7"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4152498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6"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10"/>
            <a:ext cx="9605952" cy="606343"/>
          </a:xfrm>
          <a:prstGeom prst="rect">
            <a:avLst/>
          </a:prstGeom>
          <a:ln w="19050">
            <a:solidFill>
              <a:schemeClr val="tx2"/>
            </a:solidFill>
          </a:ln>
        </p:spPr>
        <p:txBody>
          <a:bodyPr wrap="square" lIns="180000" tIns="180000" rIns="180000" bIns="144000" anchor="t" anchorCtr="0">
            <a:spAutoFit/>
          </a:bodyPr>
          <a:lstStyle>
            <a:lvl1pPr marL="259239" indent="-259239"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568209" y="6531415"/>
            <a:ext cx="333541" cy="326585"/>
          </a:xfrm>
          <a:prstGeom prst="rect">
            <a:avLst/>
          </a:prstGeom>
          <a:noFill/>
        </p:spPr>
        <p:txBody>
          <a:bodyPr wrap="none" lIns="0" tIns="0" rIns="0" bIns="0" rtlCol="0" anchor="b" anchorCtr="0">
            <a:noAutofit/>
          </a:bodyPr>
          <a:lstStyle/>
          <a:p>
            <a:pPr algn="ctr"/>
            <a:fld id="{9C1B02FA-3B43-4965-97B5-C29D405C4738}" type="slidenum">
              <a:rPr lang="ja-JP" altLang="en-US" sz="900" kern="1200" smtClean="0">
                <a:solidFill>
                  <a:schemeClr val="tx1"/>
                </a:solidFill>
                <a:latin typeface="メイリオ" panose="020B0604030504040204" pitchFamily="50" charset="-128"/>
                <a:ea typeface="メイリオ" panose="020B0604030504040204" pitchFamily="50" charset="-128"/>
                <a:cs typeface="Arial" panose="020B0604020202020204" pitchFamily="34" charset="0"/>
              </a:rPr>
              <a:pPr algn="ctr"/>
              <a:t>‹#›</a:t>
            </a:fld>
            <a:endParaRPr lang="ja-JP" altLang="en-US" sz="900" kern="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03837223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5"/>
            <a:ext cx="333541" cy="326585"/>
          </a:xfrm>
          <a:prstGeom prst="rect">
            <a:avLst/>
          </a:prstGeom>
          <a:noFill/>
        </p:spPr>
        <p:txBody>
          <a:bodyPr wrap="none" lIns="0" tIns="0" rIns="0" bIns="0" rtlCol="0" anchor="b" anchorCtr="0">
            <a:noAutofit/>
          </a:bodyPr>
          <a:lstStyle/>
          <a:p>
            <a:pPr algn="ctr"/>
            <a:fld id="{9C1B02FA-3B43-4965-97B5-C29D405C4738}" type="slidenum">
              <a:rPr lang="ja-JP" altLang="en-US" sz="900" kern="1200" smtClean="0">
                <a:solidFill>
                  <a:schemeClr val="tx1"/>
                </a:solidFill>
                <a:latin typeface="メイリオ" panose="020B0604030504040204" pitchFamily="50" charset="-128"/>
                <a:ea typeface="メイリオ" panose="020B0604030504040204" pitchFamily="50" charset="-128"/>
                <a:cs typeface="Arial" panose="020B0604020202020204" pitchFamily="34" charset="0"/>
              </a:rPr>
              <a:pPr algn="ctr"/>
              <a:t>‹#›</a:t>
            </a:fld>
            <a:endParaRPr lang="ja-JP" altLang="en-US" sz="900" kern="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6"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6"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6"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4" y="1007810"/>
            <a:ext cx="9605952" cy="606343"/>
          </a:xfrm>
          <a:prstGeom prst="rect">
            <a:avLst/>
          </a:prstGeom>
          <a:ln w="19050">
            <a:solidFill>
              <a:schemeClr val="tx2"/>
            </a:solidFill>
          </a:ln>
        </p:spPr>
        <p:txBody>
          <a:bodyPr wrap="square" lIns="180000" tIns="180000" rIns="180000" bIns="144000" anchor="t" anchorCtr="0">
            <a:spAutoFit/>
          </a:bodyPr>
          <a:lstStyle>
            <a:lvl1pPr marL="259239" indent="-259239"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8988922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7"/>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91"/>
            <a:ext cx="9605986" cy="449899"/>
          </a:xfrm>
          <a:prstGeom prst="rect">
            <a:avLst/>
          </a:prstGeom>
          <a:ln w="19050">
            <a:solidFill>
              <a:schemeClr val="tx2"/>
            </a:solidFill>
          </a:ln>
        </p:spPr>
        <p:txBody>
          <a:bodyPr lIns="144000" tIns="144000" rIns="144000" bIns="108000" anchor="t" anchorCtr="0">
            <a:spAutoFit/>
          </a:bodyPr>
          <a:lstStyle>
            <a:lvl1pPr marL="172826" indent="-172826" algn="l">
              <a:lnSpc>
                <a:spcPct val="100000"/>
              </a:lnSpc>
              <a:spcBef>
                <a:spcPts val="544"/>
              </a:spcBef>
              <a:buFont typeface="Wingdings" panose="05000000000000000000" pitchFamily="2" charset="2"/>
              <a:buChar char="n"/>
              <a:defRPr sz="127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5"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a:ext>
            </a:extLst>
          </a:blip>
          <a:srcRect/>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5"/>
            <a:ext cx="333541" cy="326585"/>
          </a:xfrm>
          <a:prstGeom prst="rect">
            <a:avLst/>
          </a:prstGeom>
          <a:noFill/>
        </p:spPr>
        <p:txBody>
          <a:bodyPr wrap="none" lIns="0" tIns="0" rIns="0" bIns="0" rtlCol="0" anchor="b" anchorCtr="0">
            <a:noAutofit/>
          </a:bodyPr>
          <a:lstStyle/>
          <a:p>
            <a:pPr algn="ctr"/>
            <a:fld id="{9C1B02FA-3B43-4965-97B5-C29D405C4738}" type="slidenum">
              <a:rPr lang="ja-JP" altLang="en-US" sz="900" kern="1200" smtClean="0">
                <a:solidFill>
                  <a:schemeClr val="tx1"/>
                </a:solidFill>
                <a:latin typeface="メイリオ" panose="020B0604030504040204" pitchFamily="50" charset="-128"/>
                <a:ea typeface="メイリオ" panose="020B0604030504040204" pitchFamily="50" charset="-128"/>
                <a:cs typeface="Arial" panose="020B0604020202020204" pitchFamily="34" charset="0"/>
              </a:rPr>
              <a:pPr algn="ctr"/>
              <a:t>‹#›</a:t>
            </a:fld>
            <a:endParaRPr lang="ja-JP" altLang="en-US" sz="900" kern="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9655703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7"/>
            <a:ext cx="9185684"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50024" y="6368682"/>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5" y="6368682"/>
            <a:ext cx="1078684" cy="326585"/>
          </a:xfrm>
          <a:prstGeom prst="rect">
            <a:avLst/>
          </a:prstGeom>
          <a:noFill/>
        </p:spPr>
        <p:txBody>
          <a:bodyPr wrap="square" lIns="97976" tIns="0" rIns="0" bIns="0" rtlCol="0" anchor="ctr">
            <a:noAutofit/>
          </a:bodyPr>
          <a:lstStyle/>
          <a:p>
            <a:r>
              <a:rPr lang="ja-JP" altLang="en-US" sz="1089"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7" y="2173436"/>
            <a:ext cx="5021847"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2. </a:t>
            </a:r>
            <a:r>
              <a:rPr lang="ja-JP" altLang="en-US" sz="137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6"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63"/>
            <a:ext cx="8819803" cy="653171"/>
          </a:xfrm>
        </p:spPr>
        <p:txBody>
          <a:bodyPr lIns="108000" tIns="36000" rIns="0" bIns="0" anchor="t" anchorCtr="0">
            <a:noAutofit/>
          </a:bodyPr>
          <a:lstStyle>
            <a:lvl1pPr marL="223837" indent="-223837"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63"/>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7" y="1399556"/>
            <a:ext cx="1055075" cy="326585"/>
          </a:xfrm>
          <a:prstGeom prst="rect">
            <a:avLst/>
          </a:prstGeom>
          <a:noFill/>
        </p:spPr>
        <p:txBody>
          <a:bodyPr wrap="square" lIns="0" tIns="0" rIns="0" bIns="0" rtlCol="0" anchor="ctr">
            <a:noAutofit/>
          </a:bodyPr>
          <a:lstStyle/>
          <a:p>
            <a:r>
              <a:rPr lang="en-US" altLang="ja-JP" sz="1371" b="1">
                <a:solidFill>
                  <a:schemeClr val="bg2"/>
                </a:solidFill>
                <a:latin typeface="Meiryo UI" panose="020B0604030504040204" pitchFamily="50" charset="-128"/>
                <a:ea typeface="Meiryo UI" panose="020B0604030504040204" pitchFamily="50" charset="-128"/>
              </a:rPr>
              <a:t>1. </a:t>
            </a:r>
            <a:r>
              <a:rPr lang="ja-JP" altLang="en-US" sz="137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82"/>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6" y="5458321"/>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6" y="5976775"/>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63"/>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5" y="447263"/>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6"/>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9"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5" y="5717548"/>
            <a:ext cx="900561" cy="228610"/>
          </a:xfrm>
          <a:prstGeom prst="rect">
            <a:avLst/>
          </a:prstGeom>
          <a:noFill/>
        </p:spPr>
        <p:txBody>
          <a:bodyPr wrap="none" lIns="0" tIns="0" rIns="0" bIns="0" rtlCol="0" anchor="ctr">
            <a:noAutofit/>
          </a:bodyPr>
          <a:lstStyle/>
          <a:p>
            <a:pPr algn="dist" defTabSz="162745">
              <a:tabLst/>
            </a:pPr>
            <a:r>
              <a:rPr lang="ja-JP" altLang="en-US" sz="1175">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6" y="5113933"/>
            <a:ext cx="5188618"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3. </a:t>
            </a:r>
            <a:r>
              <a:rPr lang="ja-JP" altLang="en-US" sz="137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5"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4"/>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086156"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6" y="2173436"/>
            <a:ext cx="4169265" cy="261268"/>
          </a:xfrm>
          <a:prstGeom prst="rect">
            <a:avLst/>
          </a:prstGeom>
          <a:noFill/>
        </p:spPr>
        <p:txBody>
          <a:bodyPr wrap="square" lIns="0" tIns="0" bIns="65317" rtlCol="0" anchor="b" anchorCtr="0">
            <a:noAutofit/>
          </a:bodyPr>
          <a:lstStyle/>
          <a:p>
            <a:pPr algn="l"/>
            <a:r>
              <a:rPr lang="en-US" altLang="ja-JP" sz="1371" b="1">
                <a:solidFill>
                  <a:schemeClr val="bg2"/>
                </a:solidFill>
                <a:latin typeface="Meiryo UI" panose="020B0604030504040204" pitchFamily="50" charset="-128"/>
                <a:ea typeface="Meiryo UI" panose="020B0604030504040204" pitchFamily="50" charset="-128"/>
              </a:rPr>
              <a:t>4. </a:t>
            </a:r>
          </a:p>
        </p:txBody>
      </p:sp>
      <p:sp>
        <p:nvSpPr>
          <p:cNvPr id="3" name="正方形/長方形 2"/>
          <p:cNvSpPr/>
          <p:nvPr userDrawn="1"/>
        </p:nvSpPr>
        <p:spPr>
          <a:xfrm>
            <a:off x="9512486" y="6500820"/>
            <a:ext cx="325730" cy="230832"/>
          </a:xfrm>
          <a:prstGeom prst="rect">
            <a:avLst/>
          </a:prstGeom>
        </p:spPr>
        <p:txBody>
          <a:bodyPr wrap="none">
            <a:spAutoFit/>
          </a:bodyPr>
          <a:lstStyle/>
          <a:p>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t>‹#›</a:t>
            </a:fld>
            <a:endParaRPr lang="ja-JP" altLang="en-US" sz="1800" dirty="0"/>
          </a:p>
        </p:txBody>
      </p:sp>
    </p:spTree>
    <p:extLst>
      <p:ext uri="{BB962C8B-B14F-4D97-AF65-F5344CB8AC3E}">
        <p14:creationId xmlns:p14="http://schemas.microsoft.com/office/powerpoint/2010/main" val="39924225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0"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rot="10800000">
            <a:off x="4054894" y="3120327"/>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正方形/長方形 1"/>
          <p:cNvSpPr/>
          <p:nvPr userDrawn="1"/>
        </p:nvSpPr>
        <p:spPr>
          <a:xfrm>
            <a:off x="9305794" y="6314237"/>
            <a:ext cx="325730" cy="230832"/>
          </a:xfrm>
          <a:prstGeom prst="rect">
            <a:avLst/>
          </a:prstGeom>
        </p:spPr>
        <p:txBody>
          <a:bodyPr wrap="none">
            <a:spAutoFit/>
          </a:bodyPr>
          <a:lstStyle/>
          <a:p>
            <a:fld id="{9C1B02FA-3B43-4965-97B5-C29D405C4738}" type="slidenum">
              <a:rPr kumimoji="1" lang="ja-JP" altLang="en-US" sz="900" b="0" kern="1200" smtClean="0">
                <a:solidFill>
                  <a:schemeClr val="tx1"/>
                </a:solidFill>
                <a:latin typeface="Arial" panose="020B0604020202020204" pitchFamily="34" charset="0"/>
                <a:ea typeface="メイリオ" panose="020B0604030504040204" pitchFamily="50" charset="-128"/>
                <a:cs typeface="Arial" panose="020B0604020202020204" pitchFamily="34" charset="0"/>
              </a:rPr>
              <a:pPr/>
              <a:t>‹#›</a:t>
            </a:fld>
            <a:endParaRPr kumimoji="1" lang="ja-JP" altLang="en-US" sz="900" b="0" kern="1200" dirty="0">
              <a:solidFill>
                <a:schemeClr val="tx1"/>
              </a:solidFill>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1790949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kern="1200" smtClean="0">
                <a:solidFill>
                  <a:schemeClr val="tx1"/>
                </a:solidFill>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kern="1200" dirty="0">
              <a:solidFill>
                <a:schemeClr val="tx1"/>
              </a:solidFill>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7" y="339774"/>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6" y="424232"/>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40" y="1012091"/>
            <a:ext cx="8705425" cy="783805"/>
          </a:xfrm>
          <a:prstGeom prst="rect">
            <a:avLst/>
          </a:prstGeom>
        </p:spPr>
        <p:txBody>
          <a:bodyPr lIns="0" tIns="144000" rIns="0" bIns="0" anchor="t"/>
          <a:lstStyle>
            <a:lvl1pPr marL="0" marR="0" indent="0" algn="l" defTabSz="78202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marL="0" marR="0" lvl="0" indent="0" algn="l" defTabSz="782020"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4048608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目次用スライ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1" y="133064"/>
            <a:ext cx="596514" cy="598234"/>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95115" y="301448"/>
            <a:ext cx="8872196"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29488" y="494222"/>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616237" y="224550"/>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008499E0-6698-7242-8365-20FF5A758AA5}"/>
              </a:ext>
            </a:extLst>
          </p:cNvPr>
          <p:cNvSpPr txBox="1"/>
          <p:nvPr userDrawn="1"/>
        </p:nvSpPr>
        <p:spPr>
          <a:xfrm>
            <a:off x="1" y="6609925"/>
            <a:ext cx="9906000" cy="230512"/>
          </a:xfrm>
          <a:prstGeom prst="rect">
            <a:avLst/>
          </a:prstGeom>
          <a:noFill/>
        </p:spPr>
        <p:txBody>
          <a:bodyPr wrap="square" rtlCol="0">
            <a:spAutoFit/>
          </a:bodyPr>
          <a:lstStyle/>
          <a:p>
            <a:pPr algn="r"/>
            <a:fld id="{38434F60-59C2-5746-B363-8E311F3EE048}" type="slidenum">
              <a:rPr lang="en-US" altLang="ja-JP" sz="898"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98"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1960692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kern="1200" smtClean="0">
                <a:solidFill>
                  <a:schemeClr val="tx1"/>
                </a:solidFill>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kern="1200" dirty="0">
              <a:solidFill>
                <a:schemeClr val="tx1"/>
              </a:solidFill>
              <a:latin typeface="Arial" panose="020B0604020202020204" pitchFamily="34" charset="0"/>
              <a:ea typeface="メイリオ" panose="020B0604030504040204" pitchFamily="50" charset="-128"/>
              <a:cs typeface="Arial" panose="020B0604020202020204" pitchFamily="34" charset="0"/>
            </a:endParaRPr>
          </a:p>
        </p:txBody>
      </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8" y="332656"/>
            <a:ext cx="9278294" cy="587854"/>
          </a:xfrm>
          <a:prstGeom prst="rect">
            <a:avLst/>
          </a:prstGeom>
          <a:solidFill>
            <a:schemeClr val="accent1">
              <a:lumMod val="75000"/>
              <a:lumOff val="25000"/>
            </a:schemeClr>
          </a:solidFill>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userDrawn="1">
            <p:ph sz="quarter" idx="16" hasCustomPrompt="1"/>
          </p:nvPr>
        </p:nvSpPr>
        <p:spPr>
          <a:xfrm>
            <a:off x="531441" y="1012092"/>
            <a:ext cx="8705425" cy="783805"/>
          </a:xfrm>
          <a:prstGeom prst="rect">
            <a:avLst/>
          </a:prstGeom>
        </p:spPr>
        <p:txBody>
          <a:bodyPr lIns="0" tIns="144000" rIns="0" bIns="0" anchor="t"/>
          <a:lstStyle>
            <a:lvl1pPr marL="0" marR="0" indent="0" algn="l" defTabSz="782016" rtl="0" eaLnBrk="1" fontAlgn="auto" latinLnBrk="0" hangingPunct="1">
              <a:lnSpc>
                <a:spcPct val="100000"/>
              </a:lnSpc>
              <a:spcBef>
                <a:spcPts val="0"/>
              </a:spcBef>
              <a:spcAft>
                <a:spcPts val="513"/>
              </a:spcAft>
              <a:buClrTx/>
              <a:buSzTx/>
              <a:buFontTx/>
              <a:buNone/>
              <a:tabLst/>
              <a:defRPr sz="1368" b="1">
                <a:solidFill>
                  <a:schemeClr val="tx1"/>
                </a:solidFill>
                <a:latin typeface="Meiryo UI" panose="020B0604030504040204" pitchFamily="50" charset="-128"/>
                <a:ea typeface="Meiryo UI" panose="020B0604030504040204" pitchFamily="50" charset="-128"/>
              </a:defRPr>
            </a:lvl1pPr>
            <a:lvl2pPr marL="391008" indent="0">
              <a:buFontTx/>
              <a:buNone/>
              <a:defRPr/>
            </a:lvl2pPr>
            <a:lvl3pPr marL="782016" indent="0">
              <a:buFontTx/>
              <a:buNone/>
              <a:defRPr/>
            </a:lvl3pPr>
            <a:lvl4pPr marL="1173022" indent="0">
              <a:buFontTx/>
              <a:buNone/>
              <a:defRPr/>
            </a:lvl4pPr>
            <a:lvl5pPr marL="1564030" indent="0">
              <a:buFontTx/>
              <a:buNone/>
              <a:defRPr/>
            </a:lvl5pPr>
          </a:lstStyle>
          <a:p>
            <a:pPr marL="0" marR="0" lvl="0" indent="0" algn="l" defTabSz="782016"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6460309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リー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947646" y="273944"/>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60" y="354185"/>
            <a:ext cx="8713007" cy="461267"/>
          </a:xfrm>
          <a:prstGeom prst="rect">
            <a:avLst/>
          </a:prstGeom>
        </p:spPr>
      </p:pic>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037267"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dirty="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5"/>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hasCustomPrompt="1"/>
          </p:nvPr>
        </p:nvSpPr>
        <p:spPr>
          <a:xfrm>
            <a:off x="550091" y="823889"/>
            <a:ext cx="8041877" cy="589919"/>
          </a:xfrm>
          <a:prstGeom prst="rect">
            <a:avLst/>
          </a:prstGeom>
        </p:spPr>
        <p:txBody>
          <a:bodyPr lIns="0" tIns="108000" rIns="0" bIns="0" anchor="t"/>
          <a:lstStyle>
            <a:lvl1pPr marL="0" marR="0" indent="0" algn="l" defTabSz="782020" rtl="0" eaLnBrk="1" fontAlgn="auto" latinLnBrk="0" hangingPunct="1">
              <a:lnSpc>
                <a:spcPct val="100000"/>
              </a:lnSpc>
              <a:spcBef>
                <a:spcPts val="0"/>
              </a:spcBef>
              <a:spcAft>
                <a:spcPts val="0"/>
              </a:spcAft>
              <a:buClrTx/>
              <a:buSzTx/>
              <a:buFontTx/>
              <a:buNone/>
              <a:tabLst/>
              <a:defRPr sz="1026" b="1">
                <a:solidFill>
                  <a:srgbClr val="009C89"/>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marL="0" marR="0" lvl="0" indent="0" algn="l" defTabSz="782020"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8" y="532086"/>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8"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87665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947646" y="273944"/>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60" y="354185"/>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8" y="532086"/>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8"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037267" y="636859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41" b="0" dirty="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5"/>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11348435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目次用スライド">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08499E0-6698-7242-8365-20FF5A758AA5}"/>
              </a:ext>
            </a:extLst>
          </p:cNvPr>
          <p:cNvSpPr txBox="1"/>
          <p:nvPr userDrawn="1"/>
        </p:nvSpPr>
        <p:spPr>
          <a:xfrm>
            <a:off x="1" y="6609925"/>
            <a:ext cx="9906000" cy="230512"/>
          </a:xfrm>
          <a:prstGeom prst="rect">
            <a:avLst/>
          </a:prstGeom>
          <a:noFill/>
        </p:spPr>
        <p:txBody>
          <a:bodyPr wrap="square" rtlCol="0">
            <a:spAutoFit/>
          </a:bodyPr>
          <a:lstStyle/>
          <a:p>
            <a:pPr algn="r"/>
            <a:fld id="{38434F60-59C2-5746-B363-8E311F3EE048}" type="slidenum">
              <a:rPr kumimoji="1" lang="en-US" altLang="ja-JP" sz="900" b="0" kern="1200" smtClean="0">
                <a:solidFill>
                  <a:schemeClr val="tx1"/>
                </a:solidFill>
                <a:latin typeface="Arial" panose="020B0604020202020204" pitchFamily="34" charset="0"/>
                <a:ea typeface="メイリオ" panose="020B0604030504040204" pitchFamily="50" charset="-128"/>
                <a:cs typeface="Arial" panose="020B0604020202020204" pitchFamily="34" charset="0"/>
              </a:rPr>
              <a:t>‹#›</a:t>
            </a:fld>
            <a:endParaRPr kumimoji="1" lang="ja-JP" altLang="en-US" sz="900" b="0" kern="1200" dirty="0">
              <a:solidFill>
                <a:schemeClr val="tx1"/>
              </a:solidFill>
              <a:latin typeface="Arial" panose="020B0604020202020204" pitchFamily="34" charset="0"/>
              <a:ea typeface="メイリオ" panose="020B0604030504040204" pitchFamily="50" charset="-128"/>
              <a:cs typeface="Arial" panose="020B0604020202020204" pitchFamily="34" charset="0"/>
            </a:endParaRPr>
          </a:p>
        </p:txBody>
      </p:sp>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2" y="133064"/>
            <a:ext cx="596513" cy="598234"/>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872196"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50001" y="532086"/>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636744" y="262413"/>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4615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内容説明用スライド-1">
    <p:spTree>
      <p:nvGrpSpPr>
        <p:cNvPr id="1" name=""/>
        <p:cNvGrpSpPr/>
        <p:nvPr/>
      </p:nvGrpSpPr>
      <p:grpSpPr>
        <a:xfrm>
          <a:off x="0" y="0"/>
          <a:ext cx="0" cy="0"/>
          <a:chOff x="0" y="0"/>
          <a:chExt cx="0" cy="0"/>
        </a:xfrm>
      </p:grpSpPr>
      <p:pic>
        <p:nvPicPr>
          <p:cNvPr id="10" name="Picture 11" descr="ç°å¢ç">
            <a:extLst>
              <a:ext uri="{FF2B5EF4-FFF2-40B4-BE49-F238E27FC236}">
                <a16:creationId xmlns:a16="http://schemas.microsoft.com/office/drawing/2014/main" id="{60E486B8-662B-314A-9026-A2BE09EFE3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3" y="133064"/>
            <a:ext cx="596513"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8933A530-EA13-4E40-8853-24895B93ACAC}"/>
              </a:ext>
            </a:extLst>
          </p:cNvPr>
          <p:cNvGrpSpPr/>
          <p:nvPr userDrawn="1"/>
        </p:nvGrpSpPr>
        <p:grpSpPr>
          <a:xfrm>
            <a:off x="249997" y="285663"/>
            <a:ext cx="9414416" cy="899980"/>
            <a:chOff x="269828" y="1704549"/>
            <a:chExt cx="10161233" cy="1425716"/>
          </a:xfrm>
        </p:grpSpPr>
        <p:pic>
          <p:nvPicPr>
            <p:cNvPr id="7" name="グラフィックス 6">
              <a:extLst>
                <a:ext uri="{FF2B5EF4-FFF2-40B4-BE49-F238E27FC236}">
                  <a16:creationId xmlns:a16="http://schemas.microsoft.com/office/drawing/2014/main" id="{1965654B-C214-044C-9754-691F56B1A74E}"/>
                </a:ext>
              </a:extLst>
            </p:cNvPr>
            <p:cNvPicPr>
              <a:picLocks noChangeAspect="1"/>
            </p:cNvPicPr>
            <p:nvPr/>
          </p:nvPicPr>
          <p:blipFill>
            <a:blip/>
            <a:stretch>
              <a:fillRect/>
            </a:stretch>
          </p:blipFill>
          <p:spPr>
            <a:xfrm>
              <a:off x="341713" y="1816883"/>
              <a:ext cx="9997200" cy="1224147"/>
            </a:xfrm>
            <a:prstGeom prst="rect">
              <a:avLst/>
            </a:prstGeom>
          </p:spPr>
        </p:pic>
        <p:cxnSp>
          <p:nvCxnSpPr>
            <p:cNvPr id="8" name="直線コネクタ 7">
              <a:extLst>
                <a:ext uri="{FF2B5EF4-FFF2-40B4-BE49-F238E27FC236}">
                  <a16:creationId xmlns:a16="http://schemas.microsoft.com/office/drawing/2014/main" id="{803ACE90-2131-A448-9D2B-E09F626D0747}"/>
                </a:ext>
              </a:extLst>
            </p:cNvPr>
            <p:cNvCxnSpPr/>
            <p:nvPr/>
          </p:nvCxnSpPr>
          <p:spPr>
            <a:xfrm>
              <a:off x="269828" y="2691065"/>
              <a:ext cx="438100" cy="439200"/>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492973B8-A1E0-8249-B6B2-09ED50D99913}"/>
                </a:ext>
              </a:extLst>
            </p:cNvPr>
            <p:cNvCxnSpPr>
              <a:cxnSpLocks/>
            </p:cNvCxnSpPr>
            <p:nvPr/>
          </p:nvCxnSpPr>
          <p:spPr>
            <a:xfrm>
              <a:off x="9321870" y="1704549"/>
              <a:ext cx="1109191" cy="1111976"/>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12" name="テキスト ボックス 11">
            <a:extLst>
              <a:ext uri="{FF2B5EF4-FFF2-40B4-BE49-F238E27FC236}">
                <a16:creationId xmlns:a16="http://schemas.microsoft.com/office/drawing/2014/main" id="{008499E0-6698-7242-8365-20FF5A758AA5}"/>
              </a:ext>
            </a:extLst>
          </p:cNvPr>
          <p:cNvSpPr txBox="1"/>
          <p:nvPr userDrawn="1"/>
        </p:nvSpPr>
        <p:spPr>
          <a:xfrm>
            <a:off x="1" y="6609925"/>
            <a:ext cx="9906000" cy="230832"/>
          </a:xfrm>
          <a:prstGeom prst="rect">
            <a:avLst/>
          </a:prstGeom>
          <a:noFill/>
        </p:spPr>
        <p:txBody>
          <a:bodyPr wrap="square" rtlCol="0">
            <a:spAutoFit/>
          </a:bodyPr>
          <a:lstStyle/>
          <a:p>
            <a:pPr algn="r"/>
            <a:fld id="{38434F60-59C2-5746-B363-8E311F3EE048}" type="slidenum">
              <a:rPr lang="en-US" altLang="ja-JP" sz="900"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47"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33405436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lang="ja-JP" altLang="en-US" sz="900" b="0" kern="120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cs typeface="+mn-cs"/>
              </a:rPr>
              <a:pPr algn="ctr"/>
              <a:t>‹#›</a:t>
            </a:fld>
            <a:endParaRPr lang="ja-JP" altLang="en-US" sz="900" b="0" kern="1200" dirty="0">
              <a:ln w="2540">
                <a:solidFill>
                  <a:schemeClr val="bg2">
                    <a:lumMod val="75000"/>
                  </a:schemeClr>
                </a:solidFill>
              </a:ln>
              <a:solidFill>
                <a:schemeClr val="tx1"/>
              </a:solidFill>
              <a:latin typeface="Meiryo" panose="020B0604030504040204" pitchFamily="34" charset="-128"/>
              <a:ea typeface="Meiryo" panose="020B0604030504040204" pitchFamily="34" charset="-128"/>
              <a:cs typeface="+mn-cs"/>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8" y="339774"/>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7" y="424232"/>
            <a:ext cx="8271821"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41" y="1012092"/>
            <a:ext cx="8705425" cy="783805"/>
          </a:xfrm>
          <a:prstGeom prst="rect">
            <a:avLst/>
          </a:prstGeom>
        </p:spPr>
        <p:txBody>
          <a:bodyPr lIns="0" tIns="144000" rIns="0" bIns="0" anchor="t"/>
          <a:lstStyle>
            <a:lvl1pPr marL="0" marR="0" indent="0" algn="l" defTabSz="737199" rtl="0" eaLnBrk="1" fontAlgn="auto" latinLnBrk="0" hangingPunct="1">
              <a:lnSpc>
                <a:spcPct val="100000"/>
              </a:lnSpc>
              <a:spcBef>
                <a:spcPts val="0"/>
              </a:spcBef>
              <a:spcAft>
                <a:spcPts val="483"/>
              </a:spcAft>
              <a:buClrTx/>
              <a:buSzTx/>
              <a:buFontTx/>
              <a:buNone/>
              <a:tabLst/>
              <a:defRPr sz="1290" b="1">
                <a:solidFill>
                  <a:srgbClr val="009C89"/>
                </a:solidFill>
                <a:latin typeface="Meiryo UI" panose="020B0604030504040204" pitchFamily="50" charset="-128"/>
                <a:ea typeface="Meiryo UI" panose="020B0604030504040204" pitchFamily="50" charset="-128"/>
              </a:defRPr>
            </a:lvl1pPr>
            <a:lvl2pPr marL="368600" indent="0">
              <a:buFontTx/>
              <a:buNone/>
              <a:defRPr/>
            </a:lvl2pPr>
            <a:lvl3pPr marL="737199" indent="0">
              <a:buFontTx/>
              <a:buNone/>
              <a:defRPr/>
            </a:lvl3pPr>
            <a:lvl4pPr marL="1105800" indent="0">
              <a:buFontTx/>
              <a:buNone/>
              <a:defRPr/>
            </a:lvl4pPr>
            <a:lvl5pPr marL="1474399" indent="0">
              <a:buFontTx/>
              <a:buNone/>
              <a:defRPr/>
            </a:lvl5pPr>
          </a:lstStyle>
          <a:p>
            <a:pPr marL="0" marR="0" lvl="0" indent="0" algn="l" defTabSz="737199" rtl="0" eaLnBrk="1" fontAlgn="auto" latinLnBrk="0" hangingPunct="1">
              <a:lnSpc>
                <a:spcPct val="90000"/>
              </a:lnSpc>
              <a:spcBef>
                <a:spcPts val="806"/>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851212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5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4"/>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6" y="419806"/>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lang="ja-JP" altLang="en-US" sz="900" b="0" kern="120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cs typeface="+mn-cs"/>
              </a:rPr>
              <a:pPr algn="ctr"/>
              <a:t>‹#›</a:t>
            </a:fld>
            <a:endParaRPr lang="ja-JP" altLang="en-US" sz="900" b="0" kern="1200" dirty="0">
              <a:ln w="2540">
                <a:solidFill>
                  <a:schemeClr val="bg2">
                    <a:lumMod val="75000"/>
                  </a:schemeClr>
                </a:solidFill>
              </a:ln>
              <a:solidFill>
                <a:schemeClr val="tx1"/>
              </a:solidFill>
              <a:latin typeface="Meiryo" panose="020B0604030504040204" pitchFamily="34" charset="-128"/>
              <a:ea typeface="Meiryo" panose="020B0604030504040204" pitchFamily="34" charset="-128"/>
              <a:cs typeface="+mn-cs"/>
            </a:endParaRPr>
          </a:p>
        </p:txBody>
      </p:sp>
    </p:spTree>
    <p:extLst>
      <p:ext uri="{BB962C8B-B14F-4D97-AF65-F5344CB8AC3E}">
        <p14:creationId xmlns:p14="http://schemas.microsoft.com/office/powerpoint/2010/main" val="34207806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090124"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81"/>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7" y="732553"/>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4"/>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5" y="419807"/>
            <a:ext cx="8271821" cy="228610"/>
          </a:xfrm>
          <a:prstGeom prst="rect">
            <a:avLst/>
          </a:prstGeom>
        </p:spPr>
        <p:txBody>
          <a:bodyPr lIns="180000" tIns="36000" rIns="0" bIns="0" anchor="ctr"/>
          <a:lstStyle>
            <a:lvl1pPr marL="0" indent="0" algn="l">
              <a:buFontTx/>
              <a:buNone/>
              <a:defRPr sz="1026" b="1">
                <a:solidFill>
                  <a:schemeClr val="bg1"/>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lvl="0"/>
            <a:r>
              <a:rPr kumimoji="1" lang="ja-JP" altLang="en-US"/>
              <a:t>第</a:t>
            </a:r>
            <a:r>
              <a:rPr kumimoji="1" lang="en-US" altLang="ja-JP"/>
              <a:t>1</a:t>
            </a:r>
            <a:r>
              <a:rPr kumimoji="1" lang="ja-JP" altLang="en-US"/>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5" y="191741"/>
            <a:ext cx="8271821" cy="228610"/>
          </a:xfrm>
          <a:prstGeom prst="rect">
            <a:avLst/>
          </a:prstGeom>
        </p:spPr>
        <p:txBody>
          <a:bodyPr lIns="72000" tIns="36000" rIns="0" bIns="0" anchor="ctr"/>
          <a:lstStyle>
            <a:lvl1pPr marL="0" indent="0" algn="l">
              <a:buFontTx/>
              <a:buNone/>
              <a:defRPr sz="1026" b="1">
                <a:solidFill>
                  <a:schemeClr val="accent1"/>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lvl="0"/>
            <a:r>
              <a:rPr kumimoji="1" lang="ja-JP" altLang="en-US"/>
              <a:t>第</a:t>
            </a:r>
            <a:r>
              <a:rPr kumimoji="1" lang="en-US" altLang="ja-JP"/>
              <a:t>2</a:t>
            </a:r>
            <a:r>
              <a:rPr kumimoji="1" lang="ja-JP" altLang="en-US"/>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40" y="1012091"/>
            <a:ext cx="8705425" cy="783805"/>
          </a:xfrm>
          <a:prstGeom prst="rect">
            <a:avLst/>
          </a:prstGeom>
        </p:spPr>
        <p:txBody>
          <a:bodyPr lIns="0" tIns="144000" rIns="0" bIns="0" anchor="t"/>
          <a:lstStyle>
            <a:lvl1pPr marL="0" marR="0" indent="0" algn="l" defTabSz="78202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marL="0" marR="0" lvl="0" indent="0" algn="l" defTabSz="782020"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5" y="648417"/>
            <a:ext cx="8276234" cy="359244"/>
          </a:xfrm>
          <a:prstGeom prst="rect">
            <a:avLst/>
          </a:prstGeom>
        </p:spPr>
        <p:txBody>
          <a:bodyPr lIns="252000" tIns="36000" rIns="0" bIns="0" anchor="ctr" anchorCtr="0"/>
          <a:lstStyle>
            <a:lvl1pPr>
              <a:defRPr sz="188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0537965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4"/>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5" y="419807"/>
            <a:ext cx="8271821" cy="228610"/>
          </a:xfrm>
          <a:prstGeom prst="rect">
            <a:avLst/>
          </a:prstGeom>
        </p:spPr>
        <p:txBody>
          <a:bodyPr lIns="180000" tIns="36000" rIns="0" bIns="0" anchor="ctr"/>
          <a:lstStyle>
            <a:lvl1pPr marL="0" marR="0" indent="0" algn="l" defTabSz="829565" rtl="0" eaLnBrk="1" fontAlgn="auto" latinLnBrk="0" hangingPunct="1">
              <a:lnSpc>
                <a:spcPct val="90000"/>
              </a:lnSpc>
              <a:spcBef>
                <a:spcPts val="907"/>
              </a:spcBef>
              <a:spcAft>
                <a:spcPts val="0"/>
              </a:spcAft>
              <a:buClrTx/>
              <a:buSzTx/>
              <a:buFontTx/>
              <a:buNone/>
              <a:tabLst/>
              <a:defRPr sz="1089" b="1">
                <a:solidFill>
                  <a:schemeClr val="bg1"/>
                </a:solidFill>
                <a:latin typeface="Meiryo UI" panose="020B0604030504040204" pitchFamily="50" charset="-128"/>
                <a:ea typeface="Meiryo UI" panose="020B0604030504040204" pitchFamily="50" charset="-128"/>
              </a:defRPr>
            </a:lvl1pPr>
            <a:lvl2pPr marL="414782" indent="0">
              <a:buFontTx/>
              <a:buNone/>
              <a:defRPr/>
            </a:lvl2pPr>
            <a:lvl3pPr marL="829565" indent="0">
              <a:buFontTx/>
              <a:buNone/>
              <a:defRPr/>
            </a:lvl3pPr>
            <a:lvl4pPr marL="1244347" indent="0">
              <a:buFontTx/>
              <a:buNone/>
              <a:defRPr/>
            </a:lvl4pPr>
            <a:lvl5pPr marL="1659128" indent="0">
              <a:buFontTx/>
              <a:buNone/>
              <a:defRPr/>
            </a:lvl5pPr>
          </a:lstStyle>
          <a:p>
            <a:pPr marL="0" marR="0" lvl="0" indent="0" algn="l" defTabSz="829565" rtl="0" eaLnBrk="1" fontAlgn="auto" latinLnBrk="0" hangingPunct="1">
              <a:lnSpc>
                <a:spcPct val="90000"/>
              </a:lnSpc>
              <a:spcBef>
                <a:spcPts val="907"/>
              </a:spcBef>
              <a:spcAft>
                <a:spcPts val="0"/>
              </a:spcAft>
              <a:buClrTx/>
              <a:buSzTx/>
              <a:buFontTx/>
              <a:buNone/>
              <a:tabLst/>
              <a:defRPr/>
            </a:pPr>
            <a:r>
              <a:rPr kumimoji="1" lang="ja-JP" altLang="en-US"/>
              <a:t>第</a:t>
            </a:r>
            <a:r>
              <a:rPr kumimoji="1" lang="en-US" altLang="ja-JP"/>
              <a:t>1</a:t>
            </a:r>
            <a:r>
              <a:rPr kumimoji="1" lang="ja-JP" altLang="en-US"/>
              <a:t>階層（例：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5"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82" indent="0">
              <a:buFontTx/>
              <a:buNone/>
              <a:defRPr/>
            </a:lvl2pPr>
            <a:lvl3pPr marL="829565" indent="0">
              <a:buFontTx/>
              <a:buNone/>
              <a:defRPr/>
            </a:lvl3pPr>
            <a:lvl4pPr marL="1244347" indent="0">
              <a:buFontTx/>
              <a:buNone/>
              <a:defRPr/>
            </a:lvl4pPr>
            <a:lvl5pPr marL="1659128" indent="0">
              <a:buFontTx/>
              <a:buNone/>
              <a:defRPr/>
            </a:lvl5pPr>
          </a:lstStyle>
          <a:p>
            <a:pPr lvl="0"/>
            <a:r>
              <a:rPr kumimoji="1" lang="ja-JP" altLang="en-US"/>
              <a:t>第</a:t>
            </a:r>
            <a:r>
              <a:rPr kumimoji="1" lang="en-US" altLang="ja-JP"/>
              <a:t>2</a:t>
            </a:r>
            <a:r>
              <a:rPr kumimoji="1" lang="ja-JP" altLang="en-US"/>
              <a:t>階層（例：表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8965696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0FE74B7-E215-A227-42D8-8BAC666A9E1C}"/>
              </a:ext>
            </a:extLst>
          </p:cNvPr>
          <p:cNvSpPr>
            <a:spLocks noGrp="1"/>
          </p:cNvSpPr>
          <p:nvPr>
            <p:ph type="ctrTitle"/>
          </p:nvPr>
        </p:nvSpPr>
        <p:spPr>
          <a:xfrm>
            <a:off x="1238250" y="1122363"/>
            <a:ext cx="74295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71B686C0-9A9D-CB86-1A45-765A5B29F17F}"/>
              </a:ext>
            </a:extLst>
          </p:cNvPr>
          <p:cNvSpPr>
            <a:spLocks noGrp="1"/>
          </p:cNvSpPr>
          <p:nvPr>
            <p:ph type="subTitle" idx="1"/>
          </p:nvPr>
        </p:nvSpPr>
        <p:spPr>
          <a:xfrm>
            <a:off x="1238250" y="3602038"/>
            <a:ext cx="74295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93AA9A0B-4A16-B33E-8657-793C178BF725}"/>
              </a:ext>
            </a:extLst>
          </p:cNvPr>
          <p:cNvSpPr>
            <a:spLocks noGrp="1"/>
          </p:cNvSpPr>
          <p:nvPr>
            <p:ph type="dt" sz="half" idx="10"/>
          </p:nvPr>
        </p:nvSpPr>
        <p:spPr/>
        <p:txBody>
          <a:bodyPr/>
          <a:lstStyle/>
          <a:p>
            <a:fld id="{77E8CFE2-2E5E-487C-A5B4-FC26BA8D4E93}" type="datetimeFigureOut">
              <a:rPr kumimoji="1" lang="ja-JP" altLang="en-US" smtClean="0"/>
              <a:t>2024/2/7</a:t>
            </a:fld>
            <a:endParaRPr kumimoji="1" lang="ja-JP" altLang="en-US"/>
          </a:p>
        </p:txBody>
      </p:sp>
      <p:sp>
        <p:nvSpPr>
          <p:cNvPr id="5" name="フッター プレースホルダー 4">
            <a:extLst>
              <a:ext uri="{FF2B5EF4-FFF2-40B4-BE49-F238E27FC236}">
                <a16:creationId xmlns:a16="http://schemas.microsoft.com/office/drawing/2014/main" id="{02206611-0A18-5136-CFE4-73FB8C565B35}"/>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11E57DCF-D3D2-E6FE-9B3C-1DE1759FAE4F}"/>
              </a:ext>
            </a:extLst>
          </p:cNvPr>
          <p:cNvSpPr>
            <a:spLocks noGrp="1"/>
          </p:cNvSpPr>
          <p:nvPr>
            <p:ph type="sldNum" sz="quarter" idx="12"/>
          </p:nvPr>
        </p:nvSpPr>
        <p:spPr/>
        <p:txBody>
          <a:bodyPr/>
          <a:lstStyle/>
          <a:p>
            <a:fld id="{A2C8A6FA-4C54-4292-B614-FC01A223A367}" type="slidenum">
              <a:rPr kumimoji="1" lang="ja-JP" altLang="en-US" smtClean="0"/>
              <a:t>‹#›</a:t>
            </a:fld>
            <a:endParaRPr kumimoji="1" lang="ja-JP" altLang="en-US"/>
          </a:p>
        </p:txBody>
      </p:sp>
    </p:spTree>
    <p:extLst>
      <p:ext uri="{BB962C8B-B14F-4D97-AF65-F5344CB8AC3E}">
        <p14:creationId xmlns:p14="http://schemas.microsoft.com/office/powerpoint/2010/main" val="26828805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内容説明用スライド-1">
    <p:spTree>
      <p:nvGrpSpPr>
        <p:cNvPr id="1" name=""/>
        <p:cNvGrpSpPr/>
        <p:nvPr/>
      </p:nvGrpSpPr>
      <p:grpSpPr>
        <a:xfrm>
          <a:off x="0" y="0"/>
          <a:ext cx="0" cy="0"/>
          <a:chOff x="0" y="0"/>
          <a:chExt cx="0" cy="0"/>
        </a:xfrm>
      </p:grpSpPr>
      <p:pic>
        <p:nvPicPr>
          <p:cNvPr id="10" name="Picture 11" descr="ç°å¢ç">
            <a:extLst>
              <a:ext uri="{FF2B5EF4-FFF2-40B4-BE49-F238E27FC236}">
                <a16:creationId xmlns:a16="http://schemas.microsoft.com/office/drawing/2014/main" id="{60E486B8-662B-314A-9026-A2BE09EFE3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1" y="133064"/>
            <a:ext cx="596514"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8933A530-EA13-4E40-8853-24895B93ACAC}"/>
              </a:ext>
            </a:extLst>
          </p:cNvPr>
          <p:cNvGrpSpPr/>
          <p:nvPr userDrawn="1"/>
        </p:nvGrpSpPr>
        <p:grpSpPr>
          <a:xfrm>
            <a:off x="249997" y="285661"/>
            <a:ext cx="9414416" cy="899980"/>
            <a:chOff x="269828" y="1704549"/>
            <a:chExt cx="10161233" cy="1425716"/>
          </a:xfrm>
        </p:grpSpPr>
        <p:pic>
          <p:nvPicPr>
            <p:cNvPr id="7" name="グラフィックス 6">
              <a:extLst>
                <a:ext uri="{FF2B5EF4-FFF2-40B4-BE49-F238E27FC236}">
                  <a16:creationId xmlns:a16="http://schemas.microsoft.com/office/drawing/2014/main" id="{1965654B-C214-044C-9754-691F56B1A7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1713" y="1816883"/>
              <a:ext cx="9997200" cy="1224147"/>
            </a:xfrm>
            <a:prstGeom prst="rect">
              <a:avLst/>
            </a:prstGeom>
          </p:spPr>
        </p:pic>
        <p:cxnSp>
          <p:nvCxnSpPr>
            <p:cNvPr id="8" name="直線コネクタ 7">
              <a:extLst>
                <a:ext uri="{FF2B5EF4-FFF2-40B4-BE49-F238E27FC236}">
                  <a16:creationId xmlns:a16="http://schemas.microsoft.com/office/drawing/2014/main" id="{803ACE90-2131-A448-9D2B-E09F626D0747}"/>
                </a:ext>
              </a:extLst>
            </p:cNvPr>
            <p:cNvCxnSpPr/>
            <p:nvPr/>
          </p:nvCxnSpPr>
          <p:spPr>
            <a:xfrm>
              <a:off x="269828" y="2691065"/>
              <a:ext cx="438100" cy="439200"/>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492973B8-A1E0-8249-B6B2-09ED50D99913}"/>
                </a:ext>
              </a:extLst>
            </p:cNvPr>
            <p:cNvCxnSpPr>
              <a:cxnSpLocks/>
            </p:cNvCxnSpPr>
            <p:nvPr/>
          </p:nvCxnSpPr>
          <p:spPr>
            <a:xfrm>
              <a:off x="9321870" y="1704549"/>
              <a:ext cx="1109191" cy="1111976"/>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12" name="テキスト ボックス 11">
            <a:extLst>
              <a:ext uri="{FF2B5EF4-FFF2-40B4-BE49-F238E27FC236}">
                <a16:creationId xmlns:a16="http://schemas.microsoft.com/office/drawing/2014/main" id="{008499E0-6698-7242-8365-20FF5A758AA5}"/>
              </a:ext>
            </a:extLst>
          </p:cNvPr>
          <p:cNvSpPr txBox="1"/>
          <p:nvPr userDrawn="1"/>
        </p:nvSpPr>
        <p:spPr>
          <a:xfrm>
            <a:off x="1" y="6609925"/>
            <a:ext cx="9906000" cy="230512"/>
          </a:xfrm>
          <a:prstGeom prst="rect">
            <a:avLst/>
          </a:prstGeom>
          <a:noFill/>
        </p:spPr>
        <p:txBody>
          <a:bodyPr wrap="square" rtlCol="0">
            <a:spAutoFit/>
          </a:bodyPr>
          <a:lstStyle/>
          <a:p>
            <a:pPr algn="r"/>
            <a:fld id="{38434F60-59C2-5746-B363-8E311F3EE048}" type="slidenum">
              <a:rPr lang="en-US" altLang="ja-JP" sz="898"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98"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319751818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9C52816-23A2-D99C-A0BD-4295FE02B263}"/>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629B08B-2B8C-EF09-8E31-DE2E22E16D0D}"/>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25FC55A-A908-6107-5D43-0B803F223E3A}"/>
              </a:ext>
            </a:extLst>
          </p:cNvPr>
          <p:cNvSpPr>
            <a:spLocks noGrp="1"/>
          </p:cNvSpPr>
          <p:nvPr>
            <p:ph type="dt" sz="half" idx="10"/>
          </p:nvPr>
        </p:nvSpPr>
        <p:spPr/>
        <p:txBody>
          <a:bodyPr/>
          <a:lstStyle/>
          <a:p>
            <a:fld id="{77E8CFE2-2E5E-487C-A5B4-FC26BA8D4E93}" type="datetimeFigureOut">
              <a:rPr kumimoji="1" lang="ja-JP" altLang="en-US" smtClean="0"/>
              <a:t>2024/2/7</a:t>
            </a:fld>
            <a:endParaRPr kumimoji="1" lang="ja-JP" altLang="en-US"/>
          </a:p>
        </p:txBody>
      </p:sp>
      <p:sp>
        <p:nvSpPr>
          <p:cNvPr id="5" name="フッター プレースホルダー 4">
            <a:extLst>
              <a:ext uri="{FF2B5EF4-FFF2-40B4-BE49-F238E27FC236}">
                <a16:creationId xmlns:a16="http://schemas.microsoft.com/office/drawing/2014/main" id="{158839EC-5FC6-F741-EBC5-6C7E32C70E3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E33CD17A-55E5-D275-3346-E2E351FDD966}"/>
              </a:ext>
            </a:extLst>
          </p:cNvPr>
          <p:cNvSpPr>
            <a:spLocks noGrp="1"/>
          </p:cNvSpPr>
          <p:nvPr>
            <p:ph type="sldNum" sz="quarter" idx="12"/>
          </p:nvPr>
        </p:nvSpPr>
        <p:spPr/>
        <p:txBody>
          <a:bodyPr/>
          <a:lstStyle/>
          <a:p>
            <a:fld id="{A2C8A6FA-4C54-4292-B614-FC01A223A367}" type="slidenum">
              <a:rPr kumimoji="1" lang="ja-JP" altLang="en-US" smtClean="0"/>
              <a:t>‹#›</a:t>
            </a:fld>
            <a:endParaRPr kumimoji="1" lang="ja-JP" altLang="en-US"/>
          </a:p>
        </p:txBody>
      </p:sp>
    </p:spTree>
    <p:extLst>
      <p:ext uri="{BB962C8B-B14F-4D97-AF65-F5344CB8AC3E}">
        <p14:creationId xmlns:p14="http://schemas.microsoft.com/office/powerpoint/2010/main" val="30136412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C502F12-1CA3-54B9-7A46-8C05919A7FEF}"/>
              </a:ext>
            </a:extLst>
          </p:cNvPr>
          <p:cNvSpPr>
            <a:spLocks noGrp="1"/>
          </p:cNvSpPr>
          <p:nvPr>
            <p:ph type="title"/>
          </p:nvPr>
        </p:nvSpPr>
        <p:spPr>
          <a:xfrm>
            <a:off x="676275" y="1709738"/>
            <a:ext cx="8543925"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A6E8DB87-1698-5D09-DBDB-F688A4BF709D}"/>
              </a:ext>
            </a:extLst>
          </p:cNvPr>
          <p:cNvSpPr>
            <a:spLocks noGrp="1"/>
          </p:cNvSpPr>
          <p:nvPr>
            <p:ph type="body" idx="1"/>
          </p:nvPr>
        </p:nvSpPr>
        <p:spPr>
          <a:xfrm>
            <a:off x="676275" y="4589463"/>
            <a:ext cx="8543925"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F0847567-5E73-E342-59BD-4D3FCFF4C3CF}"/>
              </a:ext>
            </a:extLst>
          </p:cNvPr>
          <p:cNvSpPr>
            <a:spLocks noGrp="1"/>
          </p:cNvSpPr>
          <p:nvPr>
            <p:ph type="dt" sz="half" idx="10"/>
          </p:nvPr>
        </p:nvSpPr>
        <p:spPr/>
        <p:txBody>
          <a:bodyPr/>
          <a:lstStyle/>
          <a:p>
            <a:fld id="{77E8CFE2-2E5E-487C-A5B4-FC26BA8D4E93}" type="datetimeFigureOut">
              <a:rPr kumimoji="1" lang="ja-JP" altLang="en-US" smtClean="0"/>
              <a:t>2024/2/7</a:t>
            </a:fld>
            <a:endParaRPr kumimoji="1" lang="ja-JP" altLang="en-US"/>
          </a:p>
        </p:txBody>
      </p:sp>
      <p:sp>
        <p:nvSpPr>
          <p:cNvPr id="5" name="フッター プレースホルダー 4">
            <a:extLst>
              <a:ext uri="{FF2B5EF4-FFF2-40B4-BE49-F238E27FC236}">
                <a16:creationId xmlns:a16="http://schemas.microsoft.com/office/drawing/2014/main" id="{98896025-9CF6-7126-B6C7-F703682FBB0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212B69ED-FE84-6715-3AD7-85630838F39F}"/>
              </a:ext>
            </a:extLst>
          </p:cNvPr>
          <p:cNvSpPr>
            <a:spLocks noGrp="1"/>
          </p:cNvSpPr>
          <p:nvPr>
            <p:ph type="sldNum" sz="quarter" idx="12"/>
          </p:nvPr>
        </p:nvSpPr>
        <p:spPr/>
        <p:txBody>
          <a:bodyPr/>
          <a:lstStyle/>
          <a:p>
            <a:fld id="{A2C8A6FA-4C54-4292-B614-FC01A223A367}" type="slidenum">
              <a:rPr kumimoji="1" lang="ja-JP" altLang="en-US" smtClean="0"/>
              <a:t>‹#›</a:t>
            </a:fld>
            <a:endParaRPr kumimoji="1" lang="ja-JP" altLang="en-US"/>
          </a:p>
        </p:txBody>
      </p:sp>
    </p:spTree>
    <p:extLst>
      <p:ext uri="{BB962C8B-B14F-4D97-AF65-F5344CB8AC3E}">
        <p14:creationId xmlns:p14="http://schemas.microsoft.com/office/powerpoint/2010/main" val="273639399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479D77E-357F-18CE-CADA-11CB27E02A47}"/>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A595036-1975-20E1-45B2-F13A3D44B2FC}"/>
              </a:ext>
            </a:extLst>
          </p:cNvPr>
          <p:cNvSpPr>
            <a:spLocks noGrp="1"/>
          </p:cNvSpPr>
          <p:nvPr>
            <p:ph sz="half" idx="1"/>
          </p:nvPr>
        </p:nvSpPr>
        <p:spPr>
          <a:xfrm>
            <a:off x="681038" y="1825625"/>
            <a:ext cx="4195762"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04113A4C-EF0E-807C-8ADF-CC020325DCF5}"/>
              </a:ext>
            </a:extLst>
          </p:cNvPr>
          <p:cNvSpPr>
            <a:spLocks noGrp="1"/>
          </p:cNvSpPr>
          <p:nvPr>
            <p:ph sz="half" idx="2"/>
          </p:nvPr>
        </p:nvSpPr>
        <p:spPr>
          <a:xfrm>
            <a:off x="5029200" y="1825625"/>
            <a:ext cx="4195763"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6CE61911-9C98-0268-59BD-822C03B2ADBC}"/>
              </a:ext>
            </a:extLst>
          </p:cNvPr>
          <p:cNvSpPr>
            <a:spLocks noGrp="1"/>
          </p:cNvSpPr>
          <p:nvPr>
            <p:ph type="dt" sz="half" idx="10"/>
          </p:nvPr>
        </p:nvSpPr>
        <p:spPr/>
        <p:txBody>
          <a:bodyPr/>
          <a:lstStyle/>
          <a:p>
            <a:fld id="{77E8CFE2-2E5E-487C-A5B4-FC26BA8D4E93}" type="datetimeFigureOut">
              <a:rPr kumimoji="1" lang="ja-JP" altLang="en-US" smtClean="0"/>
              <a:t>2024/2/7</a:t>
            </a:fld>
            <a:endParaRPr kumimoji="1" lang="ja-JP" altLang="en-US"/>
          </a:p>
        </p:txBody>
      </p:sp>
      <p:sp>
        <p:nvSpPr>
          <p:cNvPr id="6" name="フッター プレースホルダー 5">
            <a:extLst>
              <a:ext uri="{FF2B5EF4-FFF2-40B4-BE49-F238E27FC236}">
                <a16:creationId xmlns:a16="http://schemas.microsoft.com/office/drawing/2014/main" id="{9B713B8D-FB98-703F-0856-6C301B90EED9}"/>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83D4A4D1-3869-F848-C752-18BEE36B9417}"/>
              </a:ext>
            </a:extLst>
          </p:cNvPr>
          <p:cNvSpPr>
            <a:spLocks noGrp="1"/>
          </p:cNvSpPr>
          <p:nvPr>
            <p:ph type="sldNum" sz="quarter" idx="12"/>
          </p:nvPr>
        </p:nvSpPr>
        <p:spPr/>
        <p:txBody>
          <a:bodyPr/>
          <a:lstStyle/>
          <a:p>
            <a:fld id="{A2C8A6FA-4C54-4292-B614-FC01A223A367}" type="slidenum">
              <a:rPr kumimoji="1" lang="ja-JP" altLang="en-US" smtClean="0"/>
              <a:t>‹#›</a:t>
            </a:fld>
            <a:endParaRPr kumimoji="1" lang="ja-JP" altLang="en-US"/>
          </a:p>
        </p:txBody>
      </p:sp>
    </p:spTree>
    <p:extLst>
      <p:ext uri="{BB962C8B-B14F-4D97-AF65-F5344CB8AC3E}">
        <p14:creationId xmlns:p14="http://schemas.microsoft.com/office/powerpoint/2010/main" val="15994488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DB674EDC-18B5-7C30-1796-16D0949DAEA8}"/>
              </a:ext>
            </a:extLst>
          </p:cNvPr>
          <p:cNvSpPr>
            <a:spLocks noGrp="1"/>
          </p:cNvSpPr>
          <p:nvPr>
            <p:ph type="title"/>
          </p:nvPr>
        </p:nvSpPr>
        <p:spPr>
          <a:xfrm>
            <a:off x="682625" y="365125"/>
            <a:ext cx="8543925"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2D4EFE2-7676-0FC8-33B9-6A39515D4033}"/>
              </a:ext>
            </a:extLst>
          </p:cNvPr>
          <p:cNvSpPr>
            <a:spLocks noGrp="1"/>
          </p:cNvSpPr>
          <p:nvPr>
            <p:ph type="body" idx="1"/>
          </p:nvPr>
        </p:nvSpPr>
        <p:spPr>
          <a:xfrm>
            <a:off x="682625" y="1681163"/>
            <a:ext cx="419100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05E899C5-1A51-032D-CE7C-4B2E8B88640F}"/>
              </a:ext>
            </a:extLst>
          </p:cNvPr>
          <p:cNvSpPr>
            <a:spLocks noGrp="1"/>
          </p:cNvSpPr>
          <p:nvPr>
            <p:ph sz="half" idx="2"/>
          </p:nvPr>
        </p:nvSpPr>
        <p:spPr>
          <a:xfrm>
            <a:off x="682625" y="2505075"/>
            <a:ext cx="4191000"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E3C59DB4-C3AB-287E-5B9C-1CBBD0F4E078}"/>
              </a:ext>
            </a:extLst>
          </p:cNvPr>
          <p:cNvSpPr>
            <a:spLocks noGrp="1"/>
          </p:cNvSpPr>
          <p:nvPr>
            <p:ph type="body" sz="quarter" idx="3"/>
          </p:nvPr>
        </p:nvSpPr>
        <p:spPr>
          <a:xfrm>
            <a:off x="5014913" y="1681163"/>
            <a:ext cx="42116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D391798D-7581-B79D-CF18-8621C5FAE96D}"/>
              </a:ext>
            </a:extLst>
          </p:cNvPr>
          <p:cNvSpPr>
            <a:spLocks noGrp="1"/>
          </p:cNvSpPr>
          <p:nvPr>
            <p:ph sz="quarter" idx="4"/>
          </p:nvPr>
        </p:nvSpPr>
        <p:spPr>
          <a:xfrm>
            <a:off x="5014913" y="2505075"/>
            <a:ext cx="42116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EE0234A2-D648-10A6-0120-1E45DA4EDAF1}"/>
              </a:ext>
            </a:extLst>
          </p:cNvPr>
          <p:cNvSpPr>
            <a:spLocks noGrp="1"/>
          </p:cNvSpPr>
          <p:nvPr>
            <p:ph type="dt" sz="half" idx="10"/>
          </p:nvPr>
        </p:nvSpPr>
        <p:spPr/>
        <p:txBody>
          <a:bodyPr/>
          <a:lstStyle/>
          <a:p>
            <a:fld id="{77E8CFE2-2E5E-487C-A5B4-FC26BA8D4E93}" type="datetimeFigureOut">
              <a:rPr kumimoji="1" lang="ja-JP" altLang="en-US" smtClean="0"/>
              <a:t>2024/2/7</a:t>
            </a:fld>
            <a:endParaRPr kumimoji="1" lang="ja-JP" altLang="en-US"/>
          </a:p>
        </p:txBody>
      </p:sp>
      <p:sp>
        <p:nvSpPr>
          <p:cNvPr id="8" name="フッター プレースホルダー 7">
            <a:extLst>
              <a:ext uri="{FF2B5EF4-FFF2-40B4-BE49-F238E27FC236}">
                <a16:creationId xmlns:a16="http://schemas.microsoft.com/office/drawing/2014/main" id="{879AAE71-4B06-EAA2-9B55-8DCA2EBD96F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9ACAEDB5-7109-40CF-0330-74B4B34DB148}"/>
              </a:ext>
            </a:extLst>
          </p:cNvPr>
          <p:cNvSpPr>
            <a:spLocks noGrp="1"/>
          </p:cNvSpPr>
          <p:nvPr>
            <p:ph type="sldNum" sz="quarter" idx="12"/>
          </p:nvPr>
        </p:nvSpPr>
        <p:spPr/>
        <p:txBody>
          <a:bodyPr/>
          <a:lstStyle/>
          <a:p>
            <a:fld id="{A2C8A6FA-4C54-4292-B614-FC01A223A367}" type="slidenum">
              <a:rPr kumimoji="1" lang="ja-JP" altLang="en-US" smtClean="0"/>
              <a:t>‹#›</a:t>
            </a:fld>
            <a:endParaRPr kumimoji="1" lang="ja-JP" altLang="en-US"/>
          </a:p>
        </p:txBody>
      </p:sp>
    </p:spTree>
    <p:extLst>
      <p:ext uri="{BB962C8B-B14F-4D97-AF65-F5344CB8AC3E}">
        <p14:creationId xmlns:p14="http://schemas.microsoft.com/office/powerpoint/2010/main" val="29525010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EC0797E-CB1A-FF84-4B30-259E703A61BD}"/>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340CFE16-1B5C-7160-E224-F1FC516C9AD1}"/>
              </a:ext>
            </a:extLst>
          </p:cNvPr>
          <p:cNvSpPr>
            <a:spLocks noGrp="1"/>
          </p:cNvSpPr>
          <p:nvPr>
            <p:ph type="dt" sz="half" idx="10"/>
          </p:nvPr>
        </p:nvSpPr>
        <p:spPr/>
        <p:txBody>
          <a:bodyPr/>
          <a:lstStyle/>
          <a:p>
            <a:fld id="{77E8CFE2-2E5E-487C-A5B4-FC26BA8D4E93}" type="datetimeFigureOut">
              <a:rPr kumimoji="1" lang="ja-JP" altLang="en-US" smtClean="0"/>
              <a:t>2024/2/7</a:t>
            </a:fld>
            <a:endParaRPr kumimoji="1" lang="ja-JP" altLang="en-US"/>
          </a:p>
        </p:txBody>
      </p:sp>
      <p:sp>
        <p:nvSpPr>
          <p:cNvPr id="4" name="フッター プレースホルダー 3">
            <a:extLst>
              <a:ext uri="{FF2B5EF4-FFF2-40B4-BE49-F238E27FC236}">
                <a16:creationId xmlns:a16="http://schemas.microsoft.com/office/drawing/2014/main" id="{1471FF77-BE24-3B59-7373-5A7B79E22DA7}"/>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7A846BF7-216F-B7EB-8EE2-72A91DDE0AF4}"/>
              </a:ext>
            </a:extLst>
          </p:cNvPr>
          <p:cNvSpPr>
            <a:spLocks noGrp="1"/>
          </p:cNvSpPr>
          <p:nvPr>
            <p:ph type="sldNum" sz="quarter" idx="12"/>
          </p:nvPr>
        </p:nvSpPr>
        <p:spPr/>
        <p:txBody>
          <a:bodyPr/>
          <a:lstStyle/>
          <a:p>
            <a:fld id="{A2C8A6FA-4C54-4292-B614-FC01A223A367}" type="slidenum">
              <a:rPr kumimoji="1" lang="ja-JP" altLang="en-US" smtClean="0"/>
              <a:t>‹#›</a:t>
            </a:fld>
            <a:endParaRPr kumimoji="1" lang="ja-JP" altLang="en-US"/>
          </a:p>
        </p:txBody>
      </p:sp>
    </p:spTree>
    <p:extLst>
      <p:ext uri="{BB962C8B-B14F-4D97-AF65-F5344CB8AC3E}">
        <p14:creationId xmlns:p14="http://schemas.microsoft.com/office/powerpoint/2010/main" val="1186777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9D2761FF-C8E4-5D71-68E5-0B2C97479DA2}"/>
              </a:ext>
            </a:extLst>
          </p:cNvPr>
          <p:cNvSpPr>
            <a:spLocks noGrp="1"/>
          </p:cNvSpPr>
          <p:nvPr>
            <p:ph type="dt" sz="half" idx="10"/>
          </p:nvPr>
        </p:nvSpPr>
        <p:spPr/>
        <p:txBody>
          <a:bodyPr/>
          <a:lstStyle/>
          <a:p>
            <a:fld id="{77E8CFE2-2E5E-487C-A5B4-FC26BA8D4E93}" type="datetimeFigureOut">
              <a:rPr kumimoji="1" lang="ja-JP" altLang="en-US" smtClean="0"/>
              <a:t>2024/2/7</a:t>
            </a:fld>
            <a:endParaRPr kumimoji="1" lang="ja-JP" altLang="en-US"/>
          </a:p>
        </p:txBody>
      </p:sp>
      <p:sp>
        <p:nvSpPr>
          <p:cNvPr id="3" name="フッター プレースホルダー 2">
            <a:extLst>
              <a:ext uri="{FF2B5EF4-FFF2-40B4-BE49-F238E27FC236}">
                <a16:creationId xmlns:a16="http://schemas.microsoft.com/office/drawing/2014/main" id="{D9E85433-350C-02D7-51D7-71A9AE63E171}"/>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F410538C-6A3F-585F-4EE2-85149A398921}"/>
              </a:ext>
            </a:extLst>
          </p:cNvPr>
          <p:cNvSpPr>
            <a:spLocks noGrp="1"/>
          </p:cNvSpPr>
          <p:nvPr>
            <p:ph type="sldNum" sz="quarter" idx="12"/>
          </p:nvPr>
        </p:nvSpPr>
        <p:spPr/>
        <p:txBody>
          <a:bodyPr/>
          <a:lstStyle/>
          <a:p>
            <a:fld id="{A2C8A6FA-4C54-4292-B614-FC01A223A367}" type="slidenum">
              <a:rPr kumimoji="1" lang="ja-JP" altLang="en-US" smtClean="0"/>
              <a:t>‹#›</a:t>
            </a:fld>
            <a:endParaRPr kumimoji="1" lang="ja-JP" altLang="en-US"/>
          </a:p>
        </p:txBody>
      </p:sp>
    </p:spTree>
    <p:extLst>
      <p:ext uri="{BB962C8B-B14F-4D97-AF65-F5344CB8AC3E}">
        <p14:creationId xmlns:p14="http://schemas.microsoft.com/office/powerpoint/2010/main" val="10187906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B705195-CA5E-58F3-F942-7E556A822540}"/>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51ADBC7-EAC8-6392-3F94-45B7DE0B8242}"/>
              </a:ext>
            </a:extLst>
          </p:cNvPr>
          <p:cNvSpPr>
            <a:spLocks noGrp="1"/>
          </p:cNvSpPr>
          <p:nvPr>
            <p:ph idx="1"/>
          </p:nvPr>
        </p:nvSpPr>
        <p:spPr>
          <a:xfrm>
            <a:off x="4211638" y="987425"/>
            <a:ext cx="5014912"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11C33CA9-5E86-8759-D08E-207FB4313D0B}"/>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2CDBC002-C5FD-FB19-BFE4-E96A7FC0D574}"/>
              </a:ext>
            </a:extLst>
          </p:cNvPr>
          <p:cNvSpPr>
            <a:spLocks noGrp="1"/>
          </p:cNvSpPr>
          <p:nvPr>
            <p:ph type="dt" sz="half" idx="10"/>
          </p:nvPr>
        </p:nvSpPr>
        <p:spPr/>
        <p:txBody>
          <a:bodyPr/>
          <a:lstStyle/>
          <a:p>
            <a:fld id="{77E8CFE2-2E5E-487C-A5B4-FC26BA8D4E93}" type="datetimeFigureOut">
              <a:rPr kumimoji="1" lang="ja-JP" altLang="en-US" smtClean="0"/>
              <a:t>2024/2/7</a:t>
            </a:fld>
            <a:endParaRPr kumimoji="1" lang="ja-JP" altLang="en-US"/>
          </a:p>
        </p:txBody>
      </p:sp>
      <p:sp>
        <p:nvSpPr>
          <p:cNvPr id="6" name="フッター プレースホルダー 5">
            <a:extLst>
              <a:ext uri="{FF2B5EF4-FFF2-40B4-BE49-F238E27FC236}">
                <a16:creationId xmlns:a16="http://schemas.microsoft.com/office/drawing/2014/main" id="{DA105439-B55E-1AE6-735A-04A268D64F9C}"/>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ED3D3657-BFB8-550D-522C-A59510A9ED65}"/>
              </a:ext>
            </a:extLst>
          </p:cNvPr>
          <p:cNvSpPr>
            <a:spLocks noGrp="1"/>
          </p:cNvSpPr>
          <p:nvPr>
            <p:ph type="sldNum" sz="quarter" idx="12"/>
          </p:nvPr>
        </p:nvSpPr>
        <p:spPr/>
        <p:txBody>
          <a:bodyPr/>
          <a:lstStyle/>
          <a:p>
            <a:fld id="{A2C8A6FA-4C54-4292-B614-FC01A223A367}" type="slidenum">
              <a:rPr kumimoji="1" lang="ja-JP" altLang="en-US" smtClean="0"/>
              <a:t>‹#›</a:t>
            </a:fld>
            <a:endParaRPr kumimoji="1" lang="ja-JP" altLang="en-US"/>
          </a:p>
        </p:txBody>
      </p:sp>
    </p:spTree>
    <p:extLst>
      <p:ext uri="{BB962C8B-B14F-4D97-AF65-F5344CB8AC3E}">
        <p14:creationId xmlns:p14="http://schemas.microsoft.com/office/powerpoint/2010/main" val="4785833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4496064-3752-94CB-23EE-E1DA3972F396}"/>
              </a:ext>
            </a:extLst>
          </p:cNvPr>
          <p:cNvSpPr>
            <a:spLocks noGrp="1"/>
          </p:cNvSpPr>
          <p:nvPr>
            <p:ph type="title"/>
          </p:nvPr>
        </p:nvSpPr>
        <p:spPr>
          <a:xfrm>
            <a:off x="682625" y="457200"/>
            <a:ext cx="3194050"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160E23D6-13F5-8FA0-CE3F-07D6004A4AEB}"/>
              </a:ext>
            </a:extLst>
          </p:cNvPr>
          <p:cNvSpPr>
            <a:spLocks noGrp="1"/>
          </p:cNvSpPr>
          <p:nvPr>
            <p:ph type="pic" idx="1"/>
          </p:nvPr>
        </p:nvSpPr>
        <p:spPr>
          <a:xfrm>
            <a:off x="4211638" y="987425"/>
            <a:ext cx="501491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2C058C62-223F-216E-4F0D-64A14F8865DB}"/>
              </a:ext>
            </a:extLst>
          </p:cNvPr>
          <p:cNvSpPr>
            <a:spLocks noGrp="1"/>
          </p:cNvSpPr>
          <p:nvPr>
            <p:ph type="body" sz="half" idx="2"/>
          </p:nvPr>
        </p:nvSpPr>
        <p:spPr>
          <a:xfrm>
            <a:off x="682625" y="2057400"/>
            <a:ext cx="319405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11635947-9FC7-02D0-695E-54AB4E80A6FA}"/>
              </a:ext>
            </a:extLst>
          </p:cNvPr>
          <p:cNvSpPr>
            <a:spLocks noGrp="1"/>
          </p:cNvSpPr>
          <p:nvPr>
            <p:ph type="dt" sz="half" idx="10"/>
          </p:nvPr>
        </p:nvSpPr>
        <p:spPr/>
        <p:txBody>
          <a:bodyPr/>
          <a:lstStyle/>
          <a:p>
            <a:fld id="{77E8CFE2-2E5E-487C-A5B4-FC26BA8D4E93}" type="datetimeFigureOut">
              <a:rPr kumimoji="1" lang="ja-JP" altLang="en-US" smtClean="0"/>
              <a:t>2024/2/7</a:t>
            </a:fld>
            <a:endParaRPr kumimoji="1" lang="ja-JP" altLang="en-US"/>
          </a:p>
        </p:txBody>
      </p:sp>
      <p:sp>
        <p:nvSpPr>
          <p:cNvPr id="6" name="フッター プレースホルダー 5">
            <a:extLst>
              <a:ext uri="{FF2B5EF4-FFF2-40B4-BE49-F238E27FC236}">
                <a16:creationId xmlns:a16="http://schemas.microsoft.com/office/drawing/2014/main" id="{DE29E0E7-94CC-95CE-1033-56F94F073986}"/>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B9D9558F-9ACE-0EED-1D05-F2899B2B7F51}"/>
              </a:ext>
            </a:extLst>
          </p:cNvPr>
          <p:cNvSpPr>
            <a:spLocks noGrp="1"/>
          </p:cNvSpPr>
          <p:nvPr>
            <p:ph type="sldNum" sz="quarter" idx="12"/>
          </p:nvPr>
        </p:nvSpPr>
        <p:spPr/>
        <p:txBody>
          <a:bodyPr/>
          <a:lstStyle/>
          <a:p>
            <a:fld id="{A2C8A6FA-4C54-4292-B614-FC01A223A367}" type="slidenum">
              <a:rPr kumimoji="1" lang="ja-JP" altLang="en-US" smtClean="0"/>
              <a:t>‹#›</a:t>
            </a:fld>
            <a:endParaRPr kumimoji="1" lang="ja-JP" altLang="en-US"/>
          </a:p>
        </p:txBody>
      </p:sp>
    </p:spTree>
    <p:extLst>
      <p:ext uri="{BB962C8B-B14F-4D97-AF65-F5344CB8AC3E}">
        <p14:creationId xmlns:p14="http://schemas.microsoft.com/office/powerpoint/2010/main" val="25334943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1EBB5AA-5990-BFD9-FABC-FEDD6828A20C}"/>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790E2C1B-1ACD-DBFA-4006-590DFE67945E}"/>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3CD4C977-ADA3-A80F-595F-CF92510CBD28}"/>
              </a:ext>
            </a:extLst>
          </p:cNvPr>
          <p:cNvSpPr>
            <a:spLocks noGrp="1"/>
          </p:cNvSpPr>
          <p:nvPr>
            <p:ph type="dt" sz="half" idx="10"/>
          </p:nvPr>
        </p:nvSpPr>
        <p:spPr/>
        <p:txBody>
          <a:bodyPr/>
          <a:lstStyle/>
          <a:p>
            <a:fld id="{77E8CFE2-2E5E-487C-A5B4-FC26BA8D4E93}" type="datetimeFigureOut">
              <a:rPr kumimoji="1" lang="ja-JP" altLang="en-US" smtClean="0"/>
              <a:t>2024/2/7</a:t>
            </a:fld>
            <a:endParaRPr kumimoji="1" lang="ja-JP" altLang="en-US"/>
          </a:p>
        </p:txBody>
      </p:sp>
      <p:sp>
        <p:nvSpPr>
          <p:cNvPr id="5" name="フッター プレースホルダー 4">
            <a:extLst>
              <a:ext uri="{FF2B5EF4-FFF2-40B4-BE49-F238E27FC236}">
                <a16:creationId xmlns:a16="http://schemas.microsoft.com/office/drawing/2014/main" id="{691779EA-1591-43C4-2E88-A3435D369CFC}"/>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BA214D8E-6751-A990-06D1-FF2B689D64E0}"/>
              </a:ext>
            </a:extLst>
          </p:cNvPr>
          <p:cNvSpPr>
            <a:spLocks noGrp="1"/>
          </p:cNvSpPr>
          <p:nvPr>
            <p:ph type="sldNum" sz="quarter" idx="12"/>
          </p:nvPr>
        </p:nvSpPr>
        <p:spPr/>
        <p:txBody>
          <a:bodyPr/>
          <a:lstStyle/>
          <a:p>
            <a:fld id="{A2C8A6FA-4C54-4292-B614-FC01A223A367}" type="slidenum">
              <a:rPr kumimoji="1" lang="ja-JP" altLang="en-US" smtClean="0"/>
              <a:t>‹#›</a:t>
            </a:fld>
            <a:endParaRPr kumimoji="1" lang="ja-JP" altLang="en-US"/>
          </a:p>
        </p:txBody>
      </p:sp>
    </p:spTree>
    <p:extLst>
      <p:ext uri="{BB962C8B-B14F-4D97-AF65-F5344CB8AC3E}">
        <p14:creationId xmlns:p14="http://schemas.microsoft.com/office/powerpoint/2010/main" val="17390566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3B5D93A7-0277-5003-C72D-D92C9170FB5F}"/>
              </a:ext>
            </a:extLst>
          </p:cNvPr>
          <p:cNvSpPr>
            <a:spLocks noGrp="1"/>
          </p:cNvSpPr>
          <p:nvPr>
            <p:ph type="title" orient="vert"/>
          </p:nvPr>
        </p:nvSpPr>
        <p:spPr>
          <a:xfrm>
            <a:off x="7089775" y="365125"/>
            <a:ext cx="2135188"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1E7B78FA-A855-18A8-FE5B-4548078F6A79}"/>
              </a:ext>
            </a:extLst>
          </p:cNvPr>
          <p:cNvSpPr>
            <a:spLocks noGrp="1"/>
          </p:cNvSpPr>
          <p:nvPr>
            <p:ph type="body" orient="vert" idx="1"/>
          </p:nvPr>
        </p:nvSpPr>
        <p:spPr>
          <a:xfrm>
            <a:off x="681038" y="365125"/>
            <a:ext cx="6256337"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61E61D8-9236-E40B-ED32-C3C463BAAD85}"/>
              </a:ext>
            </a:extLst>
          </p:cNvPr>
          <p:cNvSpPr>
            <a:spLocks noGrp="1"/>
          </p:cNvSpPr>
          <p:nvPr>
            <p:ph type="dt" sz="half" idx="10"/>
          </p:nvPr>
        </p:nvSpPr>
        <p:spPr/>
        <p:txBody>
          <a:bodyPr/>
          <a:lstStyle/>
          <a:p>
            <a:fld id="{77E8CFE2-2E5E-487C-A5B4-FC26BA8D4E93}" type="datetimeFigureOut">
              <a:rPr kumimoji="1" lang="ja-JP" altLang="en-US" smtClean="0"/>
              <a:t>2024/2/7</a:t>
            </a:fld>
            <a:endParaRPr kumimoji="1" lang="ja-JP" altLang="en-US"/>
          </a:p>
        </p:txBody>
      </p:sp>
      <p:sp>
        <p:nvSpPr>
          <p:cNvPr id="5" name="フッター プレースホルダー 4">
            <a:extLst>
              <a:ext uri="{FF2B5EF4-FFF2-40B4-BE49-F238E27FC236}">
                <a16:creationId xmlns:a16="http://schemas.microsoft.com/office/drawing/2014/main" id="{1A3AC3F9-A6B4-F595-7D51-77276C8CA0B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C04147CC-1A50-CA93-703A-C1C8E5BA1718}"/>
              </a:ext>
            </a:extLst>
          </p:cNvPr>
          <p:cNvSpPr>
            <a:spLocks noGrp="1"/>
          </p:cNvSpPr>
          <p:nvPr>
            <p:ph type="sldNum" sz="quarter" idx="12"/>
          </p:nvPr>
        </p:nvSpPr>
        <p:spPr/>
        <p:txBody>
          <a:bodyPr/>
          <a:lstStyle/>
          <a:p>
            <a:fld id="{A2C8A6FA-4C54-4292-B614-FC01A223A367}" type="slidenum">
              <a:rPr kumimoji="1" lang="ja-JP" altLang="en-US" smtClean="0"/>
              <a:t>‹#›</a:t>
            </a:fld>
            <a:endParaRPr kumimoji="1" lang="ja-JP" altLang="en-US"/>
          </a:p>
        </p:txBody>
      </p:sp>
    </p:spTree>
    <p:extLst>
      <p:ext uri="{BB962C8B-B14F-4D97-AF65-F5344CB8AC3E}">
        <p14:creationId xmlns:p14="http://schemas.microsoft.com/office/powerpoint/2010/main" val="1214147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cSld name="タイトル、テキスト、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28230" y="115895"/>
            <a:ext cx="9049544" cy="477837"/>
          </a:xfrm>
        </p:spPr>
        <p:txBody>
          <a:bodyPr/>
          <a:lstStyle/>
          <a:p>
            <a:r>
              <a:rPr lang="ja-JP" altLang="en-US"/>
              <a:t>マスター タイトルの書式設定</a:t>
            </a:r>
          </a:p>
        </p:txBody>
      </p:sp>
      <p:sp>
        <p:nvSpPr>
          <p:cNvPr id="3" name="テキスト プレースホルダー 2"/>
          <p:cNvSpPr>
            <a:spLocks noGrp="1"/>
          </p:cNvSpPr>
          <p:nvPr>
            <p:ph type="body" sz="half" idx="1"/>
          </p:nvPr>
        </p:nvSpPr>
        <p:spPr>
          <a:xfrm>
            <a:off x="412754" y="850900"/>
            <a:ext cx="4449101" cy="52451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ー 3"/>
          <p:cNvSpPr>
            <a:spLocks noGrp="1"/>
          </p:cNvSpPr>
          <p:nvPr>
            <p:ph sz="half" idx="2"/>
          </p:nvPr>
        </p:nvSpPr>
        <p:spPr>
          <a:xfrm>
            <a:off x="5026951" y="850900"/>
            <a:ext cx="4450821" cy="5245100"/>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pic>
        <p:nvPicPr>
          <p:cNvPr id="6"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5115" y="301448"/>
            <a:ext cx="8872196" cy="461266"/>
          </a:xfrm>
          <a:prstGeom prst="rect">
            <a:avLst/>
          </a:prstGeom>
        </p:spPr>
      </p:pic>
      <p:cxnSp>
        <p:nvCxnSpPr>
          <p:cNvPr id="7" name="直線コネクタ 6">
            <a:extLst>
              <a:ext uri="{FF2B5EF4-FFF2-40B4-BE49-F238E27FC236}">
                <a16:creationId xmlns:a16="http://schemas.microsoft.com/office/drawing/2014/main" id="{EBCF4434-9025-3445-AC58-7DECDD0D5A3D}"/>
              </a:ext>
            </a:extLst>
          </p:cNvPr>
          <p:cNvCxnSpPr>
            <a:cxnSpLocks/>
          </p:cNvCxnSpPr>
          <p:nvPr userDrawn="1"/>
        </p:nvCxnSpPr>
        <p:spPr>
          <a:xfrm>
            <a:off x="229488" y="494222"/>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616237" y="224550"/>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ー 6"/>
          <p:cNvSpPr>
            <a:spLocks noGrp="1"/>
          </p:cNvSpPr>
          <p:nvPr>
            <p:ph type="sldNum" sz="quarter" idx="13"/>
          </p:nvPr>
        </p:nvSpPr>
        <p:spPr>
          <a:xfrm>
            <a:off x="7594601" y="6597352"/>
            <a:ext cx="2311400" cy="260648"/>
          </a:xfrm>
        </p:spPr>
        <p:txBody>
          <a:bodyPr tIns="36000" rIns="72000" bIns="0"/>
          <a:lstStyle>
            <a:lvl1pPr>
              <a:defRPr lang="ja-JP" altLang="en-US" sz="898" b="0" kern="120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cs typeface="+mn-cs"/>
              </a:defRPr>
            </a:lvl1pPr>
          </a:lstStyle>
          <a:p>
            <a:pPr>
              <a:defRPr/>
            </a:pPr>
            <a:fld id="{C0E165EF-8CF6-4151-AFE5-5BCB0FC607F3}" type="slidenum">
              <a:rPr lang="en-US" altLang="ja-JP" smtClean="0"/>
              <a:pPr>
                <a:defRPr/>
              </a:pPr>
              <a:t>‹#›</a:t>
            </a:fld>
            <a:endParaRPr lang="en-US" dirty="0"/>
          </a:p>
        </p:txBody>
      </p:sp>
    </p:spTree>
    <p:extLst>
      <p:ext uri="{BB962C8B-B14F-4D97-AF65-F5344CB8AC3E}">
        <p14:creationId xmlns:p14="http://schemas.microsoft.com/office/powerpoint/2010/main" val="157747169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7" y="160310"/>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6" y="253315"/>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39" y="1012091"/>
            <a:ext cx="8705425" cy="783805"/>
          </a:xfrm>
          <a:prstGeom prst="rect">
            <a:avLst/>
          </a:prstGeom>
        </p:spPr>
        <p:txBody>
          <a:bodyPr lIns="0" tIns="144000" rIns="0" bIns="0" anchor="t"/>
          <a:lstStyle>
            <a:lvl1pPr marL="0" marR="0" indent="0" algn="l" defTabSz="782014"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07" indent="0">
              <a:buFontTx/>
              <a:buNone/>
              <a:defRPr/>
            </a:lvl2pPr>
            <a:lvl3pPr marL="782014" indent="0">
              <a:buFontTx/>
              <a:buNone/>
              <a:defRPr/>
            </a:lvl3pPr>
            <a:lvl4pPr marL="1173022" indent="0">
              <a:buFontTx/>
              <a:buNone/>
              <a:defRPr/>
            </a:lvl4pPr>
            <a:lvl5pPr marL="1564029" indent="0">
              <a:buFontTx/>
              <a:buNone/>
              <a:defRPr/>
            </a:lvl5pPr>
          </a:lstStyle>
          <a:p>
            <a:pPr marL="0" marR="0" lvl="0" indent="0" algn="l" defTabSz="782014"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1617513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中扉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CD5E3C-85B4-6A4F-AFFF-3B7429A123A9}"/>
              </a:ext>
            </a:extLst>
          </p:cNvPr>
          <p:cNvSpPr>
            <a:spLocks noGrp="1"/>
          </p:cNvSpPr>
          <p:nvPr>
            <p:ph type="title" hasCustomPrompt="1"/>
          </p:nvPr>
        </p:nvSpPr>
        <p:spPr>
          <a:xfrm>
            <a:off x="951153" y="2714139"/>
            <a:ext cx="8003695" cy="1559335"/>
          </a:xfrm>
          <a:prstGeom prst="rect">
            <a:avLst/>
          </a:prstGeom>
        </p:spPr>
        <p:txBody>
          <a:bodyPr lIns="0" tIns="72000" rIns="0" bIns="0" anchor="ctr">
            <a:normAutofit/>
          </a:bodyPr>
          <a:lstStyle>
            <a:lvl1pPr algn="ctr">
              <a:defRPr sz="2993" b="1" i="0">
                <a:solidFill>
                  <a:schemeClr val="accent3"/>
                </a:solidFill>
                <a:latin typeface="Meiryo UI" panose="020B0604030504040204" pitchFamily="50" charset="-128"/>
                <a:ea typeface="Meiryo UI" panose="020B0604030504040204" pitchFamily="50" charset="-128"/>
              </a:defRPr>
            </a:lvl1pPr>
          </a:lstStyle>
          <a:p>
            <a:r>
              <a:rPr kumimoji="1" lang="ja-JP" altLang="en-US"/>
              <a:t>中扉タイトル</a:t>
            </a:r>
          </a:p>
        </p:txBody>
      </p:sp>
      <p:grpSp>
        <p:nvGrpSpPr>
          <p:cNvPr id="4" name="グループ化 3">
            <a:extLst>
              <a:ext uri="{FF2B5EF4-FFF2-40B4-BE49-F238E27FC236}">
                <a16:creationId xmlns:a16="http://schemas.microsoft.com/office/drawing/2014/main" id="{5B3F8DFA-CDA8-40BD-ACED-6F9E81700004}"/>
              </a:ext>
            </a:extLst>
          </p:cNvPr>
          <p:cNvGrpSpPr/>
          <p:nvPr userDrawn="1"/>
        </p:nvGrpSpPr>
        <p:grpSpPr>
          <a:xfrm>
            <a:off x="958480" y="2714140"/>
            <a:ext cx="7989045" cy="1559333"/>
            <a:chOff x="1042416" y="2697480"/>
            <a:chExt cx="8622792" cy="1007999"/>
          </a:xfrm>
        </p:grpSpPr>
        <p:cxnSp>
          <p:nvCxnSpPr>
            <p:cNvPr id="8" name="直線コネクタ 7">
              <a:extLst>
                <a:ext uri="{FF2B5EF4-FFF2-40B4-BE49-F238E27FC236}">
                  <a16:creationId xmlns:a16="http://schemas.microsoft.com/office/drawing/2014/main" id="{22FE3A98-7A51-254B-8BF3-98D8E4E8D0D6}"/>
                </a:ext>
              </a:extLst>
            </p:cNvPr>
            <p:cNvCxnSpPr/>
            <p:nvPr userDrawn="1"/>
          </p:nvCxnSpPr>
          <p:spPr>
            <a:xfrm>
              <a:off x="1042416" y="2697480"/>
              <a:ext cx="8622792"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683E4E2F-4AE0-434C-AD84-E77E2754AB85}"/>
                </a:ext>
              </a:extLst>
            </p:cNvPr>
            <p:cNvCxnSpPr/>
            <p:nvPr userDrawn="1"/>
          </p:nvCxnSpPr>
          <p:spPr>
            <a:xfrm>
              <a:off x="1042416" y="3705479"/>
              <a:ext cx="8622792" cy="0"/>
            </a:xfrm>
            <a:prstGeom prst="line">
              <a:avLst/>
            </a:prstGeom>
            <a:ln w="285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1" name="四角形: 角を丸くする 10">
            <a:extLst>
              <a:ext uri="{FF2B5EF4-FFF2-40B4-BE49-F238E27FC236}">
                <a16:creationId xmlns:a16="http://schemas.microsoft.com/office/drawing/2014/main" id="{67BE81CF-5D70-4778-BB4F-32B6CC1900FF}"/>
              </a:ext>
            </a:extLst>
          </p:cNvPr>
          <p:cNvSpPr/>
          <p:nvPr userDrawn="1"/>
        </p:nvSpPr>
        <p:spPr>
          <a:xfrm>
            <a:off x="278563" y="359096"/>
            <a:ext cx="9348875" cy="6144506"/>
          </a:xfrm>
          <a:prstGeom prst="roundRect">
            <a:avLst>
              <a:gd name="adj" fmla="val 1226"/>
            </a:avLst>
          </a:prstGeom>
          <a:noFill/>
          <a:ln w="127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Tree>
    <p:extLst>
      <p:ext uri="{BB962C8B-B14F-4D97-AF65-F5344CB8AC3E}">
        <p14:creationId xmlns:p14="http://schemas.microsoft.com/office/powerpoint/2010/main" val="7840651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裏表紙_出力用">
    <p:spTree>
      <p:nvGrpSpPr>
        <p:cNvPr id="1" name=""/>
        <p:cNvGrpSpPr/>
        <p:nvPr/>
      </p:nvGrpSpPr>
      <p:grpSpPr>
        <a:xfrm>
          <a:off x="0" y="0"/>
          <a:ext cx="0" cy="0"/>
          <a:chOff x="0" y="0"/>
          <a:chExt cx="0" cy="0"/>
        </a:xfrm>
      </p:grpSpPr>
      <p:pic>
        <p:nvPicPr>
          <p:cNvPr id="3" name="Picture 11" descr="ç°å¢ç">
            <a:extLst>
              <a:ext uri="{FF2B5EF4-FFF2-40B4-BE49-F238E27FC236}">
                <a16:creationId xmlns:a16="http://schemas.microsoft.com/office/drawing/2014/main" id="{CD100471-1EDD-4161-8484-6C512DF6789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304173" y="2875373"/>
            <a:ext cx="1297655" cy="1301398"/>
          </a:xfrm>
          <a:prstGeom prst="rect">
            <a:avLst/>
          </a:prstGeom>
          <a:noFill/>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5BE8F-C7AE-468D-9A57-04F6F22E0272}"/>
              </a:ext>
            </a:extLst>
          </p:cNvPr>
          <p:cNvSpPr/>
          <p:nvPr userDrawn="1"/>
        </p:nvSpPr>
        <p:spPr>
          <a:xfrm>
            <a:off x="316778" y="359100"/>
            <a:ext cx="9272445" cy="6139807"/>
          </a:xfrm>
          <a:prstGeom prst="roundRect">
            <a:avLst>
              <a:gd name="adj" fmla="val 1226"/>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Tree>
    <p:extLst>
      <p:ext uri="{BB962C8B-B14F-4D97-AF65-F5344CB8AC3E}">
        <p14:creationId xmlns:p14="http://schemas.microsoft.com/office/powerpoint/2010/main" val="16913246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リー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947646" y="273944"/>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60" y="354185"/>
            <a:ext cx="8713007" cy="461267"/>
          </a:xfrm>
          <a:prstGeom prst="rect">
            <a:avLst/>
          </a:prstGeom>
        </p:spPr>
      </p:pic>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60" y="354185"/>
            <a:ext cx="7145927"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hasCustomPrompt="1"/>
          </p:nvPr>
        </p:nvSpPr>
        <p:spPr>
          <a:xfrm>
            <a:off x="550090" y="823890"/>
            <a:ext cx="8041877" cy="589919"/>
          </a:xfrm>
          <a:prstGeom prst="rect">
            <a:avLst/>
          </a:prstGeom>
        </p:spPr>
        <p:txBody>
          <a:bodyPr lIns="0" tIns="108000" rIns="0" bIns="0" anchor="t"/>
          <a:lstStyle>
            <a:lvl1pPr marL="0" marR="0" indent="0" algn="l" defTabSz="782014" rtl="0" eaLnBrk="1" fontAlgn="auto" latinLnBrk="0" hangingPunct="1">
              <a:lnSpc>
                <a:spcPct val="100000"/>
              </a:lnSpc>
              <a:spcBef>
                <a:spcPts val="0"/>
              </a:spcBef>
              <a:spcAft>
                <a:spcPts val="0"/>
              </a:spcAft>
              <a:buClrTx/>
              <a:buSzTx/>
              <a:buFontTx/>
              <a:buNone/>
              <a:tabLst/>
              <a:defRPr sz="1026" b="1">
                <a:solidFill>
                  <a:srgbClr val="009C89"/>
                </a:solidFill>
                <a:latin typeface="Meiryo UI" panose="020B0604030504040204" pitchFamily="50" charset="-128"/>
                <a:ea typeface="Meiryo UI" panose="020B0604030504040204" pitchFamily="50" charset="-128"/>
              </a:defRPr>
            </a:lvl1pPr>
            <a:lvl2pPr marL="391007" indent="0">
              <a:buFontTx/>
              <a:buNone/>
              <a:defRPr/>
            </a:lvl2pPr>
            <a:lvl3pPr marL="782014" indent="0">
              <a:buFontTx/>
              <a:buNone/>
              <a:defRPr/>
            </a:lvl3pPr>
            <a:lvl4pPr marL="1173022" indent="0">
              <a:buFontTx/>
              <a:buNone/>
              <a:defRPr/>
            </a:lvl4pPr>
            <a:lvl5pPr marL="1564029" indent="0">
              <a:buFontTx/>
              <a:buNone/>
              <a:defRPr/>
            </a:lvl5pPr>
          </a:lstStyle>
          <a:p>
            <a:pPr marL="0" marR="0" lvl="0" indent="0" algn="l" defTabSz="782014"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7" y="532086"/>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8"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テキスト ボックス 11">
            <a:extLst>
              <a:ext uri="{FF2B5EF4-FFF2-40B4-BE49-F238E27FC236}">
                <a16:creationId xmlns:a16="http://schemas.microsoft.com/office/drawing/2014/main" id="{C3C77094-EBBC-48DE-9242-E77BA6AC9747}"/>
              </a:ext>
            </a:extLst>
          </p:cNvPr>
          <p:cNvSpPr txBox="1"/>
          <p:nvPr userDrawn="1"/>
        </p:nvSpPr>
        <p:spPr>
          <a:xfrm>
            <a:off x="9483864" y="6499140"/>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1730668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0"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5" y="5715298"/>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045878" y="1359900"/>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9"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4"/>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389643164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10"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9"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80071521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9"/>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9"/>
            <a:ext cx="8004988" cy="4572197"/>
          </a:xfrm>
          <a:prstGeom prst="rect">
            <a:avLst/>
          </a:prstGeom>
        </p:spPr>
        <p:txBody>
          <a:bodyPr lIns="360000" tIns="0" rIns="0" bIns="0"/>
          <a:lstStyle>
            <a:lvl1pPr marL="674021" indent="-674021"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7"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1691190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6"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10"/>
            <a:ext cx="9605952" cy="606343"/>
          </a:xfrm>
          <a:prstGeom prst="rect">
            <a:avLst/>
          </a:prstGeom>
          <a:ln w="19050">
            <a:solidFill>
              <a:schemeClr val="tx2"/>
            </a:solidFill>
          </a:ln>
        </p:spPr>
        <p:txBody>
          <a:bodyPr wrap="square" lIns="180000" tIns="180000" rIns="180000" bIns="144000" anchor="t" anchorCtr="0">
            <a:spAutoFit/>
          </a:bodyPr>
          <a:lstStyle>
            <a:lvl1pPr marL="259239" indent="-259239"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254832471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6"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6"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6"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4" y="1007810"/>
            <a:ext cx="9605952" cy="606343"/>
          </a:xfrm>
          <a:prstGeom prst="rect">
            <a:avLst/>
          </a:prstGeom>
          <a:ln w="19050">
            <a:solidFill>
              <a:schemeClr val="tx2"/>
            </a:solidFill>
          </a:ln>
        </p:spPr>
        <p:txBody>
          <a:bodyPr wrap="square" lIns="180000" tIns="180000" rIns="180000" bIns="144000" anchor="t" anchorCtr="0">
            <a:spAutoFit/>
          </a:bodyPr>
          <a:lstStyle>
            <a:lvl1pPr marL="259239" indent="-259239"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0082166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7"/>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91"/>
            <a:ext cx="9605986" cy="449899"/>
          </a:xfrm>
          <a:prstGeom prst="rect">
            <a:avLst/>
          </a:prstGeom>
          <a:ln w="19050">
            <a:solidFill>
              <a:schemeClr val="tx2"/>
            </a:solidFill>
          </a:ln>
        </p:spPr>
        <p:txBody>
          <a:bodyPr lIns="144000" tIns="144000" rIns="144000" bIns="108000" anchor="t" anchorCtr="0">
            <a:spAutoFit/>
          </a:bodyPr>
          <a:lstStyle>
            <a:lvl1pPr marL="172826" indent="-172826" algn="l">
              <a:lnSpc>
                <a:spcPct val="100000"/>
              </a:lnSpc>
              <a:spcBef>
                <a:spcPts val="544"/>
              </a:spcBef>
              <a:buFont typeface="Wingdings" panose="05000000000000000000" pitchFamily="2" charset="2"/>
              <a:buChar char="n"/>
              <a:defRPr sz="127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5"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a:ext>
            </a:extLst>
          </a:blip>
          <a:srcRect/>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551272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日付プレースホルダー 3"/>
          <p:cNvSpPr>
            <a:spLocks noGrp="1"/>
          </p:cNvSpPr>
          <p:nvPr>
            <p:ph type="dt" sz="half" idx="10"/>
          </p:nvPr>
        </p:nvSpPr>
        <p:spPr/>
        <p:txBody>
          <a:bodyPr/>
          <a:lstStyle>
            <a:lvl1pPr>
              <a:defRPr/>
            </a:lvl1pPr>
          </a:lstStyle>
          <a:p>
            <a:pPr>
              <a:defRPr/>
            </a:pPr>
            <a:endParaRPr lang="ja-JP" altLang="en-US"/>
          </a:p>
        </p:txBody>
      </p:sp>
      <p:sp>
        <p:nvSpPr>
          <p:cNvPr id="3" name="フッター プレースホルダー 4"/>
          <p:cNvSpPr>
            <a:spLocks noGrp="1"/>
          </p:cNvSpPr>
          <p:nvPr>
            <p:ph type="ftr" sz="quarter" idx="11"/>
          </p:nvPr>
        </p:nvSpPr>
        <p:spPr/>
        <p:txBody>
          <a:bodyPr/>
          <a:lstStyle>
            <a:lvl1pPr>
              <a:defRPr/>
            </a:lvl1pPr>
          </a:lstStyle>
          <a:p>
            <a:pPr>
              <a:defRPr/>
            </a:pPr>
            <a:endParaRPr lang="ja-JP" altLang="en-US"/>
          </a:p>
        </p:txBody>
      </p:sp>
      <p:pic>
        <p:nvPicPr>
          <p:cNvPr id="5"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5115" y="301448"/>
            <a:ext cx="8872196" cy="461266"/>
          </a:xfrm>
          <a:prstGeom prst="rect">
            <a:avLst/>
          </a:prstGeom>
        </p:spPr>
      </p:pic>
      <p:cxnSp>
        <p:nvCxnSpPr>
          <p:cNvPr id="6" name="直線コネクタ 5">
            <a:extLst>
              <a:ext uri="{FF2B5EF4-FFF2-40B4-BE49-F238E27FC236}">
                <a16:creationId xmlns:a16="http://schemas.microsoft.com/office/drawing/2014/main" id="{EBCF4434-9025-3445-AC58-7DECDD0D5A3D}"/>
              </a:ext>
            </a:extLst>
          </p:cNvPr>
          <p:cNvCxnSpPr>
            <a:cxnSpLocks/>
          </p:cNvCxnSpPr>
          <p:nvPr userDrawn="1"/>
        </p:nvCxnSpPr>
        <p:spPr>
          <a:xfrm>
            <a:off x="219235" y="484756"/>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7" name="直線コネクタ 6">
            <a:extLst>
              <a:ext uri="{FF2B5EF4-FFF2-40B4-BE49-F238E27FC236}">
                <a16:creationId xmlns:a16="http://schemas.microsoft.com/office/drawing/2014/main" id="{9F081F0C-555C-6443-8F74-0430630E7B15}"/>
              </a:ext>
            </a:extLst>
          </p:cNvPr>
          <p:cNvCxnSpPr>
            <a:cxnSpLocks/>
          </p:cNvCxnSpPr>
          <p:nvPr userDrawn="1"/>
        </p:nvCxnSpPr>
        <p:spPr>
          <a:xfrm>
            <a:off x="8605981" y="215084"/>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
        <p:nvSpPr>
          <p:cNvPr id="8" name="スライド番号プレースホルダー 6"/>
          <p:cNvSpPr>
            <a:spLocks noGrp="1"/>
          </p:cNvSpPr>
          <p:nvPr>
            <p:ph type="sldNum" sz="quarter" idx="13"/>
          </p:nvPr>
        </p:nvSpPr>
        <p:spPr>
          <a:xfrm>
            <a:off x="7594601" y="6597352"/>
            <a:ext cx="2311400" cy="260648"/>
          </a:xfrm>
        </p:spPr>
        <p:txBody>
          <a:bodyPr tIns="36000" rIns="72000" bIns="0"/>
          <a:lstStyle>
            <a:lvl1pPr>
              <a:defRPr sz="9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fld id="{C0E165EF-8CF6-4151-AFE5-5BCB0FC607F3}" type="slidenum">
              <a:rPr lang="ja-JP" altLang="en-US" smtClean="0"/>
              <a:pPr>
                <a:defRPr/>
              </a:pPr>
              <a:t>‹#›</a:t>
            </a:fld>
            <a:endParaRPr lang="ja-JP" altLang="en-US" dirty="0"/>
          </a:p>
        </p:txBody>
      </p:sp>
    </p:spTree>
    <p:extLst>
      <p:ext uri="{BB962C8B-B14F-4D97-AF65-F5344CB8AC3E}">
        <p14:creationId xmlns:p14="http://schemas.microsoft.com/office/powerpoint/2010/main" val="40021330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7"/>
            <a:ext cx="9185684"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50024" y="6368682"/>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5" y="6368682"/>
            <a:ext cx="1078684" cy="326585"/>
          </a:xfrm>
          <a:prstGeom prst="rect">
            <a:avLst/>
          </a:prstGeom>
          <a:noFill/>
        </p:spPr>
        <p:txBody>
          <a:bodyPr wrap="square" lIns="97976" tIns="0" rIns="0" bIns="0" rtlCol="0" anchor="ctr">
            <a:noAutofit/>
          </a:bodyPr>
          <a:lstStyle/>
          <a:p>
            <a:r>
              <a:rPr lang="ja-JP" altLang="en-US" sz="1089"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7" y="2173436"/>
            <a:ext cx="5021847"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2. </a:t>
            </a:r>
            <a:r>
              <a:rPr lang="ja-JP" altLang="en-US" sz="137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6"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63"/>
            <a:ext cx="8819803" cy="653171"/>
          </a:xfrm>
        </p:spPr>
        <p:txBody>
          <a:bodyPr lIns="108000" tIns="36000" rIns="0" bIns="0" anchor="t" anchorCtr="0">
            <a:noAutofit/>
          </a:bodyPr>
          <a:lstStyle>
            <a:lvl1pPr marL="223837" indent="-223837"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63"/>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7" y="1399556"/>
            <a:ext cx="1055075" cy="326585"/>
          </a:xfrm>
          <a:prstGeom prst="rect">
            <a:avLst/>
          </a:prstGeom>
          <a:noFill/>
        </p:spPr>
        <p:txBody>
          <a:bodyPr wrap="square" lIns="0" tIns="0" rIns="0" bIns="0" rtlCol="0" anchor="ctr">
            <a:noAutofit/>
          </a:bodyPr>
          <a:lstStyle/>
          <a:p>
            <a:r>
              <a:rPr lang="en-US" altLang="ja-JP" sz="1371" b="1">
                <a:solidFill>
                  <a:schemeClr val="bg2"/>
                </a:solidFill>
                <a:latin typeface="Meiryo UI" panose="020B0604030504040204" pitchFamily="50" charset="-128"/>
                <a:ea typeface="Meiryo UI" panose="020B0604030504040204" pitchFamily="50" charset="-128"/>
              </a:rPr>
              <a:t>1. </a:t>
            </a:r>
            <a:r>
              <a:rPr lang="ja-JP" altLang="en-US" sz="137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82"/>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6" y="5458321"/>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6" y="5976775"/>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63"/>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5" y="447263"/>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6"/>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9"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5" y="5717548"/>
            <a:ext cx="900561" cy="228610"/>
          </a:xfrm>
          <a:prstGeom prst="rect">
            <a:avLst/>
          </a:prstGeom>
          <a:noFill/>
        </p:spPr>
        <p:txBody>
          <a:bodyPr wrap="none" lIns="0" tIns="0" rIns="0" bIns="0" rtlCol="0" anchor="ctr">
            <a:noAutofit/>
          </a:bodyPr>
          <a:lstStyle/>
          <a:p>
            <a:pPr algn="dist" defTabSz="162745">
              <a:tabLst/>
            </a:pPr>
            <a:r>
              <a:rPr lang="ja-JP" altLang="en-US" sz="1175">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6" y="5113933"/>
            <a:ext cx="5188618"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3. </a:t>
            </a:r>
            <a:r>
              <a:rPr lang="ja-JP" altLang="en-US" sz="137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5"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4"/>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086156"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6" y="2173436"/>
            <a:ext cx="4169265" cy="261268"/>
          </a:xfrm>
          <a:prstGeom prst="rect">
            <a:avLst/>
          </a:prstGeom>
          <a:noFill/>
        </p:spPr>
        <p:txBody>
          <a:bodyPr wrap="square" lIns="0" tIns="0" bIns="65317" rtlCol="0" anchor="b" anchorCtr="0">
            <a:noAutofit/>
          </a:bodyPr>
          <a:lstStyle/>
          <a:p>
            <a:pPr algn="l"/>
            <a:r>
              <a:rPr lang="en-US" altLang="ja-JP" sz="1371" b="1">
                <a:solidFill>
                  <a:schemeClr val="bg2"/>
                </a:solidFill>
                <a:latin typeface="Meiryo UI" panose="020B0604030504040204" pitchFamily="50" charset="-128"/>
                <a:ea typeface="Meiryo UI" panose="020B0604030504040204" pitchFamily="50" charset="-128"/>
              </a:rPr>
              <a:t>4. </a:t>
            </a:r>
          </a:p>
        </p:txBody>
      </p:sp>
    </p:spTree>
    <p:extLst>
      <p:ext uri="{BB962C8B-B14F-4D97-AF65-F5344CB8AC3E}">
        <p14:creationId xmlns:p14="http://schemas.microsoft.com/office/powerpoint/2010/main" val="221599164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0"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rot="10800000">
            <a:off x="4054894" y="3120327"/>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096330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7" y="339774"/>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6" y="424232"/>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40" y="1012091"/>
            <a:ext cx="8705425" cy="783805"/>
          </a:xfrm>
          <a:prstGeom prst="rect">
            <a:avLst/>
          </a:prstGeom>
        </p:spPr>
        <p:txBody>
          <a:bodyPr lIns="0" tIns="144000" rIns="0" bIns="0" anchor="t"/>
          <a:lstStyle>
            <a:lvl1pPr marL="0" marR="0" indent="0" algn="l" defTabSz="78202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marL="0" marR="0" lvl="0" indent="0" algn="l" defTabSz="782020"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2593024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8" y="332656"/>
            <a:ext cx="9278294" cy="587854"/>
          </a:xfrm>
          <a:prstGeom prst="rect">
            <a:avLst/>
          </a:prstGeom>
          <a:solidFill>
            <a:schemeClr val="accent1">
              <a:lumMod val="75000"/>
              <a:lumOff val="25000"/>
            </a:schemeClr>
          </a:solidFill>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userDrawn="1">
            <p:ph sz="quarter" idx="16" hasCustomPrompt="1"/>
          </p:nvPr>
        </p:nvSpPr>
        <p:spPr>
          <a:xfrm>
            <a:off x="531441" y="1012092"/>
            <a:ext cx="8705425" cy="783805"/>
          </a:xfrm>
          <a:prstGeom prst="rect">
            <a:avLst/>
          </a:prstGeom>
        </p:spPr>
        <p:txBody>
          <a:bodyPr lIns="0" tIns="144000" rIns="0" bIns="0" anchor="t"/>
          <a:lstStyle>
            <a:lvl1pPr marL="0" marR="0" indent="0" algn="l" defTabSz="782016" rtl="0" eaLnBrk="1" fontAlgn="auto" latinLnBrk="0" hangingPunct="1">
              <a:lnSpc>
                <a:spcPct val="100000"/>
              </a:lnSpc>
              <a:spcBef>
                <a:spcPts val="0"/>
              </a:spcBef>
              <a:spcAft>
                <a:spcPts val="513"/>
              </a:spcAft>
              <a:buClrTx/>
              <a:buSzTx/>
              <a:buFontTx/>
              <a:buNone/>
              <a:tabLst/>
              <a:defRPr sz="1368" b="1">
                <a:solidFill>
                  <a:schemeClr val="tx1"/>
                </a:solidFill>
                <a:latin typeface="Meiryo UI" panose="020B0604030504040204" pitchFamily="50" charset="-128"/>
                <a:ea typeface="Meiryo UI" panose="020B0604030504040204" pitchFamily="50" charset="-128"/>
              </a:defRPr>
            </a:lvl1pPr>
            <a:lvl2pPr marL="391008" indent="0">
              <a:buFontTx/>
              <a:buNone/>
              <a:defRPr/>
            </a:lvl2pPr>
            <a:lvl3pPr marL="782016" indent="0">
              <a:buFontTx/>
              <a:buNone/>
              <a:defRPr/>
            </a:lvl3pPr>
            <a:lvl4pPr marL="1173022" indent="0">
              <a:buFontTx/>
              <a:buNone/>
              <a:defRPr/>
            </a:lvl4pPr>
            <a:lvl5pPr marL="1564030" indent="0">
              <a:buFontTx/>
              <a:buNone/>
              <a:defRPr/>
            </a:lvl5pPr>
          </a:lstStyle>
          <a:p>
            <a:pPr marL="0" marR="0" lvl="0" indent="0" algn="l" defTabSz="782016"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403047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リー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947646" y="273944"/>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60" y="354185"/>
            <a:ext cx="8713007" cy="461267"/>
          </a:xfrm>
          <a:prstGeom prst="rect">
            <a:avLst/>
          </a:prstGeom>
        </p:spPr>
      </p:pic>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483867" y="6568417"/>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5"/>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hasCustomPrompt="1"/>
          </p:nvPr>
        </p:nvSpPr>
        <p:spPr>
          <a:xfrm>
            <a:off x="550091" y="823889"/>
            <a:ext cx="8041877" cy="589919"/>
          </a:xfrm>
          <a:prstGeom prst="rect">
            <a:avLst/>
          </a:prstGeom>
        </p:spPr>
        <p:txBody>
          <a:bodyPr lIns="0" tIns="108000" rIns="0" bIns="0" anchor="t"/>
          <a:lstStyle>
            <a:lvl1pPr marL="0" marR="0" indent="0" algn="l" defTabSz="782020" rtl="0" eaLnBrk="1" fontAlgn="auto" latinLnBrk="0" hangingPunct="1">
              <a:lnSpc>
                <a:spcPct val="100000"/>
              </a:lnSpc>
              <a:spcBef>
                <a:spcPts val="0"/>
              </a:spcBef>
              <a:spcAft>
                <a:spcPts val="0"/>
              </a:spcAft>
              <a:buClrTx/>
              <a:buSzTx/>
              <a:buFontTx/>
              <a:buNone/>
              <a:tabLst/>
              <a:defRPr sz="1026" b="1">
                <a:solidFill>
                  <a:srgbClr val="009C89"/>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marL="0" marR="0" lvl="0" indent="0" algn="l" defTabSz="782020"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8" y="532086"/>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8"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647602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947646" y="273944"/>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60" y="354185"/>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49998" y="532086"/>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8"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483867" y="6576828"/>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00"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5"/>
            <a:ext cx="7145926" cy="457525"/>
          </a:xfrm>
          <a:prstGeom prst="rect">
            <a:avLst/>
          </a:prstGeom>
        </p:spPr>
        <p:txBody>
          <a:bodyPr lIns="252000" tIns="36000" rIns="0" bIns="0" anchor="ctr">
            <a:normAutofit/>
          </a:bodyPr>
          <a:lstStyle>
            <a:lvl1pPr marL="0" indent="0">
              <a:buNone/>
              <a:defRPr sz="1881"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319333228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_目次用スライド">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08499E0-6698-7242-8365-20FF5A758AA5}"/>
              </a:ext>
            </a:extLst>
          </p:cNvPr>
          <p:cNvSpPr txBox="1"/>
          <p:nvPr userDrawn="1"/>
        </p:nvSpPr>
        <p:spPr>
          <a:xfrm>
            <a:off x="1" y="6609925"/>
            <a:ext cx="9906000" cy="230512"/>
          </a:xfrm>
          <a:prstGeom prst="rect">
            <a:avLst/>
          </a:prstGeom>
          <a:noFill/>
        </p:spPr>
        <p:txBody>
          <a:bodyPr wrap="square" rtlCol="0">
            <a:spAutoFit/>
          </a:bodyPr>
          <a:lstStyle/>
          <a:p>
            <a:pPr algn="r"/>
            <a:fld id="{38434F60-59C2-5746-B363-8E311F3EE048}" type="slidenum">
              <a:rPr lang="en-US" altLang="ja-JP" sz="898"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98"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2" y="133064"/>
            <a:ext cx="596513" cy="598234"/>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872196"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50001" y="532086"/>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636744" y="262413"/>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4077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内容説明用スライド-1">
    <p:spTree>
      <p:nvGrpSpPr>
        <p:cNvPr id="1" name=""/>
        <p:cNvGrpSpPr/>
        <p:nvPr/>
      </p:nvGrpSpPr>
      <p:grpSpPr>
        <a:xfrm>
          <a:off x="0" y="0"/>
          <a:ext cx="0" cy="0"/>
          <a:chOff x="0" y="0"/>
          <a:chExt cx="0" cy="0"/>
        </a:xfrm>
      </p:grpSpPr>
      <p:pic>
        <p:nvPicPr>
          <p:cNvPr id="10" name="Picture 11" descr="ç°å¢ç">
            <a:extLst>
              <a:ext uri="{FF2B5EF4-FFF2-40B4-BE49-F238E27FC236}">
                <a16:creationId xmlns:a16="http://schemas.microsoft.com/office/drawing/2014/main" id="{60E486B8-662B-314A-9026-A2BE09EFE3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3" y="133064"/>
            <a:ext cx="596513"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8933A530-EA13-4E40-8853-24895B93ACAC}"/>
              </a:ext>
            </a:extLst>
          </p:cNvPr>
          <p:cNvGrpSpPr/>
          <p:nvPr userDrawn="1"/>
        </p:nvGrpSpPr>
        <p:grpSpPr>
          <a:xfrm>
            <a:off x="249997" y="285663"/>
            <a:ext cx="9414416" cy="899980"/>
            <a:chOff x="269828" y="1704549"/>
            <a:chExt cx="10161233" cy="1425716"/>
          </a:xfrm>
        </p:grpSpPr>
        <p:pic>
          <p:nvPicPr>
            <p:cNvPr id="7" name="グラフィックス 6">
              <a:extLst>
                <a:ext uri="{FF2B5EF4-FFF2-40B4-BE49-F238E27FC236}">
                  <a16:creationId xmlns:a16="http://schemas.microsoft.com/office/drawing/2014/main" id="{1965654B-C214-044C-9754-691F56B1A74E}"/>
                </a:ext>
              </a:extLst>
            </p:cNvPr>
            <p:cNvPicPr>
              <a:picLocks noChangeAspect="1"/>
            </p:cNvPicPr>
            <p:nvPr/>
          </p:nvPicPr>
          <p:blipFill>
            <a:blip/>
            <a:stretch>
              <a:fillRect/>
            </a:stretch>
          </p:blipFill>
          <p:spPr>
            <a:xfrm>
              <a:off x="341713" y="1816883"/>
              <a:ext cx="9997200" cy="1224147"/>
            </a:xfrm>
            <a:prstGeom prst="rect">
              <a:avLst/>
            </a:prstGeom>
          </p:spPr>
        </p:pic>
        <p:cxnSp>
          <p:nvCxnSpPr>
            <p:cNvPr id="8" name="直線コネクタ 7">
              <a:extLst>
                <a:ext uri="{FF2B5EF4-FFF2-40B4-BE49-F238E27FC236}">
                  <a16:creationId xmlns:a16="http://schemas.microsoft.com/office/drawing/2014/main" id="{803ACE90-2131-A448-9D2B-E09F626D0747}"/>
                </a:ext>
              </a:extLst>
            </p:cNvPr>
            <p:cNvCxnSpPr/>
            <p:nvPr/>
          </p:nvCxnSpPr>
          <p:spPr>
            <a:xfrm>
              <a:off x="269828" y="2691065"/>
              <a:ext cx="438100" cy="439200"/>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492973B8-A1E0-8249-B6B2-09ED50D99913}"/>
                </a:ext>
              </a:extLst>
            </p:cNvPr>
            <p:cNvCxnSpPr>
              <a:cxnSpLocks/>
            </p:cNvCxnSpPr>
            <p:nvPr/>
          </p:nvCxnSpPr>
          <p:spPr>
            <a:xfrm>
              <a:off x="9321870" y="1704549"/>
              <a:ext cx="1109191" cy="1111976"/>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12" name="テキスト ボックス 11">
            <a:extLst>
              <a:ext uri="{FF2B5EF4-FFF2-40B4-BE49-F238E27FC236}">
                <a16:creationId xmlns:a16="http://schemas.microsoft.com/office/drawing/2014/main" id="{008499E0-6698-7242-8365-20FF5A758AA5}"/>
              </a:ext>
            </a:extLst>
          </p:cNvPr>
          <p:cNvSpPr txBox="1"/>
          <p:nvPr userDrawn="1"/>
        </p:nvSpPr>
        <p:spPr>
          <a:xfrm>
            <a:off x="1" y="6609925"/>
            <a:ext cx="9906000" cy="230832"/>
          </a:xfrm>
          <a:prstGeom prst="rect">
            <a:avLst/>
          </a:prstGeom>
          <a:noFill/>
        </p:spPr>
        <p:txBody>
          <a:bodyPr wrap="square" rtlCol="0">
            <a:spAutoFit/>
          </a:bodyPr>
          <a:lstStyle/>
          <a:p>
            <a:pPr algn="r"/>
            <a:fld id="{38434F60-59C2-5746-B363-8E311F3EE048}" type="slidenum">
              <a:rPr lang="en-US" altLang="ja-JP" sz="900"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900"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13122157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8" y="339774"/>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50"/>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7" y="424232"/>
            <a:ext cx="8271821" cy="587854"/>
          </a:xfrm>
          <a:prstGeom prst="rect">
            <a:avLst/>
          </a:prstGeom>
        </p:spPr>
        <p:txBody>
          <a:bodyPr lIns="252000" tIns="36000" rIns="0" bIns="0" anchor="ctr" anchorCtr="0"/>
          <a:lstStyle>
            <a:lvl1pPr>
              <a:defRPr sz="2258"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41" y="1012092"/>
            <a:ext cx="8705425" cy="783805"/>
          </a:xfrm>
          <a:prstGeom prst="rect">
            <a:avLst/>
          </a:prstGeom>
        </p:spPr>
        <p:txBody>
          <a:bodyPr lIns="0" tIns="144000" rIns="0" bIns="0" anchor="t"/>
          <a:lstStyle>
            <a:lvl1pPr marL="0" marR="0" indent="0" algn="l" defTabSz="737199" rtl="0" eaLnBrk="1" fontAlgn="auto" latinLnBrk="0" hangingPunct="1">
              <a:lnSpc>
                <a:spcPct val="100000"/>
              </a:lnSpc>
              <a:spcBef>
                <a:spcPts val="0"/>
              </a:spcBef>
              <a:spcAft>
                <a:spcPts val="483"/>
              </a:spcAft>
              <a:buClrTx/>
              <a:buSzTx/>
              <a:buFontTx/>
              <a:buNone/>
              <a:tabLst/>
              <a:defRPr sz="1290" b="1">
                <a:solidFill>
                  <a:srgbClr val="009C89"/>
                </a:solidFill>
                <a:latin typeface="Meiryo UI" panose="020B0604030504040204" pitchFamily="50" charset="-128"/>
                <a:ea typeface="Meiryo UI" panose="020B0604030504040204" pitchFamily="50" charset="-128"/>
              </a:defRPr>
            </a:lvl1pPr>
            <a:lvl2pPr marL="368600" indent="0">
              <a:buFontTx/>
              <a:buNone/>
              <a:defRPr/>
            </a:lvl2pPr>
            <a:lvl3pPr marL="737199" indent="0">
              <a:buFontTx/>
              <a:buNone/>
              <a:defRPr/>
            </a:lvl3pPr>
            <a:lvl4pPr marL="1105800" indent="0">
              <a:buFontTx/>
              <a:buNone/>
              <a:defRPr/>
            </a:lvl4pPr>
            <a:lvl5pPr marL="1474399" indent="0">
              <a:buFontTx/>
              <a:buNone/>
              <a:defRPr/>
            </a:lvl5pPr>
          </a:lstStyle>
          <a:p>
            <a:pPr marL="0" marR="0" lvl="0" indent="0" algn="l" defTabSz="737199" rtl="0" eaLnBrk="1" fontAlgn="auto" latinLnBrk="0" hangingPunct="1">
              <a:lnSpc>
                <a:spcPct val="90000"/>
              </a:lnSpc>
              <a:spcBef>
                <a:spcPts val="806"/>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53778694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5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7" y="339774"/>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6" y="419806"/>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4276925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1" y="133064"/>
            <a:ext cx="596514" cy="598234"/>
          </a:xfrm>
          <a:prstGeom prst="rect">
            <a:avLst/>
          </a:prstGeom>
          <a:noFill/>
          <a:extLst>
            <a:ext uri="{909E8E84-426E-40DD-AFC4-6F175D3DCCD1}">
              <a14:hiddenFill xmlns:a14="http://schemas.microsoft.com/office/drawing/2010/main">
                <a:solidFill>
                  <a:srgbClr val="FFFFFF"/>
                </a:solidFill>
              </a14:hiddenFill>
            </a:ext>
          </a:extLst>
        </p:spPr>
      </p:pic>
      <p:pic>
        <p:nvPicPr>
          <p:cNvPr id="8"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24257" y="354181"/>
            <a:ext cx="8872196" cy="461266"/>
          </a:xfrm>
          <a:prstGeom prst="rect">
            <a:avLst/>
          </a:prstGeom>
        </p:spPr>
      </p:pic>
      <p:cxnSp>
        <p:nvCxnSpPr>
          <p:cNvPr id="9" name="直線コネクタ 8">
            <a:extLst>
              <a:ext uri="{FF2B5EF4-FFF2-40B4-BE49-F238E27FC236}">
                <a16:creationId xmlns:a16="http://schemas.microsoft.com/office/drawing/2014/main" id="{EBCF4434-9025-3445-AC58-7DECDD0D5A3D}"/>
              </a:ext>
            </a:extLst>
          </p:cNvPr>
          <p:cNvCxnSpPr>
            <a:cxnSpLocks/>
          </p:cNvCxnSpPr>
          <p:nvPr userDrawn="1"/>
        </p:nvCxnSpPr>
        <p:spPr>
          <a:xfrm>
            <a:off x="249997" y="532085"/>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F081F0C-555C-6443-8F74-0430630E7B15}"/>
              </a:ext>
            </a:extLst>
          </p:cNvPr>
          <p:cNvCxnSpPr>
            <a:cxnSpLocks/>
          </p:cNvCxnSpPr>
          <p:nvPr userDrawn="1"/>
        </p:nvCxnSpPr>
        <p:spPr>
          <a:xfrm>
            <a:off x="8636744" y="262412"/>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
        <p:nvSpPr>
          <p:cNvPr id="11" name="スライド番号プレースホルダー 6"/>
          <p:cNvSpPr>
            <a:spLocks noGrp="1"/>
          </p:cNvSpPr>
          <p:nvPr>
            <p:ph type="sldNum" sz="quarter" idx="13"/>
          </p:nvPr>
        </p:nvSpPr>
        <p:spPr>
          <a:xfrm>
            <a:off x="7594601" y="6597352"/>
            <a:ext cx="2311400" cy="260648"/>
          </a:xfrm>
        </p:spPr>
        <p:txBody>
          <a:bodyPr tIns="36000" rIns="72000" bIns="0"/>
          <a:lstStyle>
            <a:lvl1pPr>
              <a:defRPr sz="9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fld id="{C0E165EF-8CF6-4151-AFE5-5BCB0FC607F3}" type="slidenum">
              <a:rPr lang="ja-JP" altLang="en-US" smtClean="0"/>
              <a:pPr>
                <a:defRPr/>
              </a:pPr>
              <a:t>‹#›</a:t>
            </a:fld>
            <a:endParaRPr lang="ja-JP" altLang="en-US" dirty="0"/>
          </a:p>
        </p:txBody>
      </p:sp>
    </p:spTree>
    <p:extLst>
      <p:ext uri="{BB962C8B-B14F-4D97-AF65-F5344CB8AC3E}">
        <p14:creationId xmlns:p14="http://schemas.microsoft.com/office/powerpoint/2010/main" val="208609378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090124"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0"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0"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81"/>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7" y="732553"/>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4"/>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5" y="419807"/>
            <a:ext cx="8271821" cy="228610"/>
          </a:xfrm>
          <a:prstGeom prst="rect">
            <a:avLst/>
          </a:prstGeom>
        </p:spPr>
        <p:txBody>
          <a:bodyPr lIns="180000" tIns="36000" rIns="0" bIns="0" anchor="ctr"/>
          <a:lstStyle>
            <a:lvl1pPr marL="0" indent="0" algn="l">
              <a:buFontTx/>
              <a:buNone/>
              <a:defRPr sz="1026" b="1">
                <a:solidFill>
                  <a:schemeClr val="bg1"/>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lvl="0"/>
            <a:r>
              <a:rPr kumimoji="1" lang="ja-JP" altLang="en-US"/>
              <a:t>第</a:t>
            </a:r>
            <a:r>
              <a:rPr kumimoji="1" lang="en-US" altLang="ja-JP"/>
              <a:t>1</a:t>
            </a:r>
            <a:r>
              <a:rPr kumimoji="1" lang="ja-JP" altLang="en-US"/>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5" y="191741"/>
            <a:ext cx="8271821" cy="228610"/>
          </a:xfrm>
          <a:prstGeom prst="rect">
            <a:avLst/>
          </a:prstGeom>
        </p:spPr>
        <p:txBody>
          <a:bodyPr lIns="72000" tIns="36000" rIns="0" bIns="0" anchor="ctr"/>
          <a:lstStyle>
            <a:lvl1pPr marL="0" indent="0" algn="l">
              <a:buFontTx/>
              <a:buNone/>
              <a:defRPr sz="1026" b="1">
                <a:solidFill>
                  <a:schemeClr val="accent1"/>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lvl="0"/>
            <a:r>
              <a:rPr kumimoji="1" lang="ja-JP" altLang="en-US"/>
              <a:t>第</a:t>
            </a:r>
            <a:r>
              <a:rPr kumimoji="1" lang="en-US" altLang="ja-JP"/>
              <a:t>2</a:t>
            </a:r>
            <a:r>
              <a:rPr kumimoji="1" lang="ja-JP" altLang="en-US"/>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40" y="1012091"/>
            <a:ext cx="8705425" cy="783805"/>
          </a:xfrm>
          <a:prstGeom prst="rect">
            <a:avLst/>
          </a:prstGeom>
        </p:spPr>
        <p:txBody>
          <a:bodyPr lIns="0" tIns="144000" rIns="0" bIns="0" anchor="t"/>
          <a:lstStyle>
            <a:lvl1pPr marL="0" marR="0" indent="0" algn="l" defTabSz="78202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marL="0" marR="0" lvl="0" indent="0" algn="l" defTabSz="782020"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5" y="648417"/>
            <a:ext cx="8276234" cy="359244"/>
          </a:xfrm>
          <a:prstGeom prst="rect">
            <a:avLst/>
          </a:prstGeom>
        </p:spPr>
        <p:txBody>
          <a:bodyPr lIns="252000" tIns="36000" rIns="0" bIns="0" anchor="ctr" anchorCtr="0"/>
          <a:lstStyle>
            <a:lvl1pPr>
              <a:defRPr sz="188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96570370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6" y="339774"/>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96"/>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5" y="419807"/>
            <a:ext cx="8271821" cy="228610"/>
          </a:xfrm>
          <a:prstGeom prst="rect">
            <a:avLst/>
          </a:prstGeom>
        </p:spPr>
        <p:txBody>
          <a:bodyPr lIns="180000" tIns="36000" rIns="0" bIns="0" anchor="ctr"/>
          <a:lstStyle>
            <a:lvl1pPr marL="0" marR="0" indent="0" algn="l" defTabSz="829565" rtl="0" eaLnBrk="1" fontAlgn="auto" latinLnBrk="0" hangingPunct="1">
              <a:lnSpc>
                <a:spcPct val="90000"/>
              </a:lnSpc>
              <a:spcBef>
                <a:spcPts val="907"/>
              </a:spcBef>
              <a:spcAft>
                <a:spcPts val="0"/>
              </a:spcAft>
              <a:buClrTx/>
              <a:buSzTx/>
              <a:buFontTx/>
              <a:buNone/>
              <a:tabLst/>
              <a:defRPr sz="1089" b="1">
                <a:solidFill>
                  <a:schemeClr val="bg1"/>
                </a:solidFill>
                <a:latin typeface="Meiryo UI" panose="020B0604030504040204" pitchFamily="50" charset="-128"/>
                <a:ea typeface="Meiryo UI" panose="020B0604030504040204" pitchFamily="50" charset="-128"/>
              </a:defRPr>
            </a:lvl1pPr>
            <a:lvl2pPr marL="414782" indent="0">
              <a:buFontTx/>
              <a:buNone/>
              <a:defRPr/>
            </a:lvl2pPr>
            <a:lvl3pPr marL="829565" indent="0">
              <a:buFontTx/>
              <a:buNone/>
              <a:defRPr/>
            </a:lvl3pPr>
            <a:lvl4pPr marL="1244347" indent="0">
              <a:buFontTx/>
              <a:buNone/>
              <a:defRPr/>
            </a:lvl4pPr>
            <a:lvl5pPr marL="1659128" indent="0">
              <a:buFontTx/>
              <a:buNone/>
              <a:defRPr/>
            </a:lvl5pPr>
          </a:lstStyle>
          <a:p>
            <a:pPr marL="0" marR="0" lvl="0" indent="0" algn="l" defTabSz="829565" rtl="0" eaLnBrk="1" fontAlgn="auto" latinLnBrk="0" hangingPunct="1">
              <a:lnSpc>
                <a:spcPct val="90000"/>
              </a:lnSpc>
              <a:spcBef>
                <a:spcPts val="907"/>
              </a:spcBef>
              <a:spcAft>
                <a:spcPts val="0"/>
              </a:spcAft>
              <a:buClrTx/>
              <a:buSzTx/>
              <a:buFontTx/>
              <a:buNone/>
              <a:tabLst/>
              <a:defRPr/>
            </a:pPr>
            <a:r>
              <a:rPr kumimoji="1" lang="ja-JP" altLang="en-US"/>
              <a:t>第</a:t>
            </a:r>
            <a:r>
              <a:rPr kumimoji="1" lang="en-US" altLang="ja-JP"/>
              <a:t>1</a:t>
            </a:r>
            <a:r>
              <a:rPr kumimoji="1" lang="ja-JP" altLang="en-US"/>
              <a:t>階層（例：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5" y="191741"/>
            <a:ext cx="8271821" cy="228610"/>
          </a:xfrm>
          <a:prstGeom prst="rect">
            <a:avLst/>
          </a:prstGeom>
        </p:spPr>
        <p:txBody>
          <a:bodyPr lIns="72000" tIns="36000" rIns="0" bIns="0" anchor="ctr"/>
          <a:lstStyle>
            <a:lvl1pPr marL="0" indent="0" algn="l">
              <a:buFontTx/>
              <a:buNone/>
              <a:defRPr sz="1089" b="1">
                <a:solidFill>
                  <a:schemeClr val="accent1"/>
                </a:solidFill>
                <a:latin typeface="Meiryo UI" panose="020B0604030504040204" pitchFamily="50" charset="-128"/>
                <a:ea typeface="Meiryo UI" panose="020B0604030504040204" pitchFamily="50" charset="-128"/>
              </a:defRPr>
            </a:lvl1pPr>
            <a:lvl2pPr marL="414782" indent="0">
              <a:buFontTx/>
              <a:buNone/>
              <a:defRPr/>
            </a:lvl2pPr>
            <a:lvl3pPr marL="829565" indent="0">
              <a:buFontTx/>
              <a:buNone/>
              <a:defRPr/>
            </a:lvl3pPr>
            <a:lvl4pPr marL="1244347" indent="0">
              <a:buFontTx/>
              <a:buNone/>
              <a:defRPr/>
            </a:lvl4pPr>
            <a:lvl5pPr marL="1659128" indent="0">
              <a:buFontTx/>
              <a:buNone/>
              <a:defRPr/>
            </a:lvl5pPr>
          </a:lstStyle>
          <a:p>
            <a:pPr lvl="0"/>
            <a:r>
              <a:rPr kumimoji="1" lang="ja-JP" altLang="en-US"/>
              <a:t>第</a:t>
            </a:r>
            <a:r>
              <a:rPr kumimoji="1" lang="en-US" altLang="ja-JP"/>
              <a:t>2</a:t>
            </a:r>
            <a:r>
              <a:rPr kumimoji="1" lang="ja-JP" altLang="en-US"/>
              <a:t>階層（例：表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99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1054158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2"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572" tIns="38286" rIns="76572" bIns="38286" numCol="1" spcCol="0" rtlCol="0" fromWordArt="0" anchor="ctr" anchorCtr="0" forceAA="0" compatLnSpc="1">
            <a:prstTxWarp prst="textNoShape">
              <a:avLst/>
            </a:prstTxWarp>
            <a:noAutofit/>
          </a:bodyPr>
          <a:lstStyle/>
          <a:p>
            <a:pPr algn="ctr"/>
            <a:endParaRPr kumimoji="1" lang="ja-JP" altLang="en-US" sz="134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5" y="5715300"/>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045879" y="1359902"/>
            <a:ext cx="1796217"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81"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6"/>
            <a:ext cx="8004988" cy="914439"/>
          </a:xfrm>
          <a:prstGeom prst="rect">
            <a:avLst/>
          </a:prstGeom>
        </p:spPr>
        <p:txBody>
          <a:bodyPr lIns="0" tIns="72000" rIns="0" bIns="0" anchor="ctr" anchorCtr="0">
            <a:normAutofit/>
          </a:bodyPr>
          <a:lstStyle>
            <a:lvl1pPr>
              <a:defRPr lang="ja-JP" altLang="en-US" sz="3015"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23"/>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675"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507"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507"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394550402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12"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572" tIns="38286" rIns="76572" bIns="38286" numCol="1" spcCol="0" rtlCol="0" fromWordArt="0" anchor="ctr" anchorCtr="0" forceAA="0" compatLnSpc="1">
            <a:prstTxWarp prst="textNoShape">
              <a:avLst/>
            </a:prstTxWarp>
            <a:noAutofit/>
          </a:bodyPr>
          <a:lstStyle/>
          <a:p>
            <a:pPr algn="ctr"/>
            <a:endParaRPr kumimoji="1" lang="ja-JP" altLang="en-US" sz="134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81"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015"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23"/>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7"/>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71899293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6"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7"/>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9"/>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7"/>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9"/>
            <a:ext cx="8004988" cy="4572197"/>
          </a:xfrm>
          <a:prstGeom prst="rect">
            <a:avLst/>
          </a:prstGeom>
        </p:spPr>
        <p:txBody>
          <a:bodyPr lIns="360000" tIns="0" rIns="0" bIns="0"/>
          <a:lstStyle>
            <a:lvl1pPr marL="622189" indent="-622189" algn="l">
              <a:lnSpc>
                <a:spcPct val="100000"/>
              </a:lnSpc>
              <a:spcBef>
                <a:spcPts val="837"/>
              </a:spcBef>
              <a:spcAft>
                <a:spcPts val="0"/>
              </a:spcAft>
              <a:buClr>
                <a:schemeClr val="bg2"/>
              </a:buClr>
              <a:buFont typeface="+mj-lt"/>
              <a:buAutoNum type="arabicPeriod"/>
              <a:defRPr sz="3350"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7"/>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7" y="257881"/>
            <a:ext cx="8605363" cy="587854"/>
          </a:xfrm>
          <a:prstGeom prst="rect">
            <a:avLst/>
          </a:prstGeom>
        </p:spPr>
        <p:txBody>
          <a:bodyPr lIns="252000" tIns="36000" rIns="0" bIns="0" anchor="ctr" anchorCtr="0"/>
          <a:lstStyle>
            <a:lvl1pPr algn="l">
              <a:defRPr sz="234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4081566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6"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7"/>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6" y="257881"/>
            <a:ext cx="8605363" cy="587854"/>
          </a:xfrm>
          <a:prstGeom prst="rect">
            <a:avLst/>
          </a:prstGeom>
        </p:spPr>
        <p:txBody>
          <a:bodyPr lIns="252000" tIns="36000" rIns="0" bIns="0" anchor="ctr" anchorCtr="0"/>
          <a:lstStyle>
            <a:lvl1pPr algn="l">
              <a:defRPr sz="234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5" y="1007813"/>
            <a:ext cx="9605952" cy="584927"/>
          </a:xfrm>
          <a:prstGeom prst="rect">
            <a:avLst/>
          </a:prstGeom>
          <a:ln w="19050">
            <a:solidFill>
              <a:schemeClr val="tx2"/>
            </a:solidFill>
          </a:ln>
        </p:spPr>
        <p:txBody>
          <a:bodyPr wrap="square" lIns="180000" tIns="180000" rIns="180000" bIns="144000" anchor="t" anchorCtr="0">
            <a:spAutoFit/>
          </a:bodyPr>
          <a:lstStyle>
            <a:lvl1pPr marL="239303" indent="-239303" algn="l">
              <a:lnSpc>
                <a:spcPct val="100000"/>
              </a:lnSpc>
              <a:spcBef>
                <a:spcPts val="502"/>
              </a:spcBef>
              <a:spcAft>
                <a:spcPts val="0"/>
              </a:spcAft>
              <a:buFont typeface="Wingdings" panose="05000000000000000000" pitchFamily="2" charset="2"/>
              <a:buChar char="n"/>
              <a:defRPr sz="1675"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88338" y="653142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2977231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7"/>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6" y="29271"/>
            <a:ext cx="8605363" cy="228610"/>
          </a:xfrm>
          <a:prstGeom prst="rect">
            <a:avLst/>
          </a:prstGeom>
        </p:spPr>
        <p:txBody>
          <a:bodyPr lIns="0" tIns="0" rIns="0" bIns="0" anchor="ctr" anchorCtr="0"/>
          <a:lstStyle>
            <a:lvl1pPr algn="l">
              <a:defRPr sz="1172"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6"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07"/>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7"/>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6" y="486491"/>
            <a:ext cx="8605363" cy="359244"/>
          </a:xfrm>
          <a:prstGeom prst="rect">
            <a:avLst/>
          </a:prstGeom>
        </p:spPr>
        <p:txBody>
          <a:bodyPr lIns="252000" tIns="0" rIns="0" bIns="0" anchor="ctr" anchorCtr="0"/>
          <a:lstStyle>
            <a:lvl1pPr algn="l">
              <a:defRPr sz="201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6" y="257881"/>
            <a:ext cx="8605363" cy="228610"/>
          </a:xfrm>
          <a:prstGeom prst="rect">
            <a:avLst/>
          </a:prstGeom>
        </p:spPr>
        <p:txBody>
          <a:bodyPr lIns="252000" tIns="0" rIns="0" bIns="0" anchor="ctr" anchorCtr="0"/>
          <a:lstStyle>
            <a:lvl1pPr algn="l">
              <a:defRPr sz="1172"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5" y="1007813"/>
            <a:ext cx="9605952" cy="584927"/>
          </a:xfrm>
          <a:prstGeom prst="rect">
            <a:avLst/>
          </a:prstGeom>
          <a:ln w="19050">
            <a:solidFill>
              <a:schemeClr val="tx2"/>
            </a:solidFill>
          </a:ln>
        </p:spPr>
        <p:txBody>
          <a:bodyPr wrap="square" lIns="180000" tIns="180000" rIns="180000" bIns="144000" anchor="t" anchorCtr="0">
            <a:spAutoFit/>
          </a:bodyPr>
          <a:lstStyle>
            <a:lvl1pPr marL="239303" indent="-239303" algn="l">
              <a:lnSpc>
                <a:spcPct val="100000"/>
              </a:lnSpc>
              <a:spcBef>
                <a:spcPts val="502"/>
              </a:spcBef>
              <a:spcAft>
                <a:spcPts val="0"/>
              </a:spcAft>
              <a:buFont typeface="Wingdings" panose="05000000000000000000" pitchFamily="2" charset="2"/>
              <a:buChar char="n"/>
              <a:defRPr sz="1675"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7127875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5" y="172149"/>
            <a:ext cx="9005612" cy="293927"/>
          </a:xfrm>
          <a:prstGeom prst="rect">
            <a:avLst/>
          </a:prstGeom>
        </p:spPr>
        <p:txBody>
          <a:bodyPr lIns="72000" tIns="36000" rIns="0" bIns="0" anchor="ctr" anchorCtr="0"/>
          <a:lstStyle>
            <a:lvl1pPr algn="l">
              <a:defRPr sz="1507"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94"/>
            <a:ext cx="9605986" cy="434831"/>
          </a:xfrm>
          <a:prstGeom prst="rect">
            <a:avLst/>
          </a:prstGeom>
          <a:ln w="19050">
            <a:solidFill>
              <a:schemeClr val="tx2"/>
            </a:solidFill>
          </a:ln>
        </p:spPr>
        <p:txBody>
          <a:bodyPr lIns="144000" tIns="144000" rIns="144000" bIns="108000" anchor="t" anchorCtr="0">
            <a:spAutoFit/>
          </a:bodyPr>
          <a:lstStyle>
            <a:lvl1pPr marL="159536" indent="-159536" algn="l">
              <a:lnSpc>
                <a:spcPct val="100000"/>
              </a:lnSpc>
              <a:spcBef>
                <a:spcPts val="502"/>
              </a:spcBef>
              <a:buFont typeface="Wingdings" panose="05000000000000000000" pitchFamily="2" charset="2"/>
              <a:buChar char="n"/>
              <a:defRPr sz="1172"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5"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a:ext>
            </a:extLst>
          </a:blip>
          <a:srcRect/>
          <a:stretch/>
        </p:blipFill>
        <p:spPr bwMode="auto">
          <a:xfrm>
            <a:off x="9394403"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7"/>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0330458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5" y="172149"/>
            <a:ext cx="9185684" cy="293927"/>
          </a:xfrm>
          <a:prstGeom prst="rect">
            <a:avLst/>
          </a:prstGeom>
        </p:spPr>
        <p:txBody>
          <a:bodyPr lIns="72000" tIns="36000" rIns="0" bIns="0" anchor="ctr" anchorCtr="0"/>
          <a:lstStyle>
            <a:lvl1pPr algn="l">
              <a:defRPr sz="1507"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a:stretch>
            <a:fillRect/>
          </a:stretch>
        </p:blipFill>
        <p:spPr>
          <a:xfrm>
            <a:off x="150025" y="6368684"/>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5" y="6368684"/>
            <a:ext cx="1078684" cy="326585"/>
          </a:xfrm>
          <a:prstGeom prst="rect">
            <a:avLst/>
          </a:prstGeom>
          <a:noFill/>
        </p:spPr>
        <p:txBody>
          <a:bodyPr wrap="square" lIns="90439" tIns="0" rIns="0" bIns="0" rtlCol="0" anchor="ctr">
            <a:noAutofit/>
          </a:bodyPr>
          <a:lstStyle/>
          <a:p>
            <a:r>
              <a:rPr lang="ja-JP" altLang="en-US" sz="1005"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8" y="2173436"/>
            <a:ext cx="5021847" cy="261268"/>
          </a:xfrm>
          <a:prstGeom prst="rect">
            <a:avLst/>
          </a:prstGeom>
          <a:noFill/>
        </p:spPr>
        <p:txBody>
          <a:bodyPr wrap="square" lIns="0" tIns="0" bIns="60293" rtlCol="0" anchor="b" anchorCtr="0">
            <a:noAutofit/>
          </a:bodyPr>
          <a:lstStyle/>
          <a:p>
            <a:r>
              <a:rPr lang="en-US" altLang="ja-JP" sz="1266" b="1">
                <a:solidFill>
                  <a:schemeClr val="bg2"/>
                </a:solidFill>
                <a:latin typeface="Meiryo UI" panose="020B0604030504040204" pitchFamily="50" charset="-128"/>
                <a:ea typeface="Meiryo UI" panose="020B0604030504040204" pitchFamily="50" charset="-128"/>
              </a:rPr>
              <a:t>2. </a:t>
            </a:r>
            <a:r>
              <a:rPr lang="ja-JP" altLang="en-US" sz="1266"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08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6"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05">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102" y="1236265"/>
            <a:ext cx="8819803" cy="653171"/>
          </a:xfrm>
        </p:spPr>
        <p:txBody>
          <a:bodyPr lIns="108000" tIns="36000" rIns="0" bIns="0" anchor="t" anchorCtr="0">
            <a:noAutofit/>
          </a:bodyPr>
          <a:lstStyle>
            <a:lvl1pPr marL="206624" indent="-206624" algn="l">
              <a:lnSpc>
                <a:spcPct val="120000"/>
              </a:lnSpc>
              <a:spcBef>
                <a:spcPts val="0"/>
              </a:spcBef>
              <a:buFont typeface="+mj-ea"/>
              <a:buAutoNum type="circleNumDbPlain"/>
              <a:defRPr sz="1005">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65"/>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7" y="1399558"/>
            <a:ext cx="1055075" cy="326585"/>
          </a:xfrm>
          <a:prstGeom prst="rect">
            <a:avLst/>
          </a:prstGeom>
          <a:noFill/>
        </p:spPr>
        <p:txBody>
          <a:bodyPr wrap="square" lIns="0" tIns="0" rIns="0" bIns="0" rtlCol="0" anchor="ctr">
            <a:noAutofit/>
          </a:bodyPr>
          <a:lstStyle/>
          <a:p>
            <a:r>
              <a:rPr lang="en-US" altLang="ja-JP" sz="1266" b="1">
                <a:solidFill>
                  <a:schemeClr val="bg2"/>
                </a:solidFill>
                <a:latin typeface="Meiryo UI" panose="020B0604030504040204" pitchFamily="50" charset="-128"/>
                <a:ea typeface="Meiryo UI" panose="020B0604030504040204" pitchFamily="50" charset="-128"/>
              </a:rPr>
              <a:t>1. </a:t>
            </a:r>
            <a:r>
              <a:rPr lang="ja-JP" altLang="en-US" sz="1266"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7" y="6368684"/>
            <a:ext cx="8605363" cy="326585"/>
          </a:xfrm>
        </p:spPr>
        <p:txBody>
          <a:bodyPr lIns="0" tIns="18000" rIns="108000" bIns="0" anchor="ctr">
            <a:noAutofit/>
          </a:bodyPr>
          <a:lstStyle>
            <a:lvl1pPr marL="0" indent="0" algn="l">
              <a:buNone/>
              <a:defRPr sz="1005"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7" y="5458321"/>
            <a:ext cx="900561" cy="228610"/>
          </a:xfrm>
          <a:prstGeom prst="rect">
            <a:avLst/>
          </a:prstGeom>
          <a:noFill/>
        </p:spPr>
        <p:txBody>
          <a:bodyPr wrap="none" lIns="0" tIns="0" rIns="0" bIns="0" rtlCol="0" anchor="ctr">
            <a:noAutofit/>
          </a:bodyPr>
          <a:lstStyle/>
          <a:p>
            <a:pPr algn="dist"/>
            <a:r>
              <a:rPr lang="ja-JP" altLang="en-US" sz="108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08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08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7" y="5976775"/>
            <a:ext cx="900561" cy="228610"/>
          </a:xfrm>
          <a:prstGeom prst="rect">
            <a:avLst/>
          </a:prstGeom>
          <a:noFill/>
        </p:spPr>
        <p:txBody>
          <a:bodyPr wrap="none" lIns="0" tIns="0" rIns="0" bIns="0" rtlCol="0" anchor="ctr">
            <a:noAutofit/>
          </a:bodyPr>
          <a:lstStyle/>
          <a:p>
            <a:pPr algn="dist"/>
            <a:r>
              <a:rPr lang="ja-JP" altLang="en-US" sz="108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63"/>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5" y="447265"/>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08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5"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8"/>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05">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9"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6" y="5717548"/>
            <a:ext cx="900561" cy="228610"/>
          </a:xfrm>
          <a:prstGeom prst="rect">
            <a:avLst/>
          </a:prstGeom>
          <a:noFill/>
        </p:spPr>
        <p:txBody>
          <a:bodyPr wrap="none" lIns="0" tIns="0" rIns="0" bIns="0" rtlCol="0" anchor="ctr">
            <a:noAutofit/>
          </a:bodyPr>
          <a:lstStyle/>
          <a:p>
            <a:pPr algn="dist" defTabSz="150230">
              <a:tabLst/>
            </a:pPr>
            <a:r>
              <a:rPr lang="ja-JP" altLang="en-US" sz="1085">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7" y="5113933"/>
            <a:ext cx="5188619" cy="261268"/>
          </a:xfrm>
          <a:prstGeom prst="rect">
            <a:avLst/>
          </a:prstGeom>
          <a:noFill/>
        </p:spPr>
        <p:txBody>
          <a:bodyPr wrap="square" lIns="0" tIns="0" bIns="60293" rtlCol="0" anchor="b" anchorCtr="0">
            <a:noAutofit/>
          </a:bodyPr>
          <a:lstStyle/>
          <a:p>
            <a:r>
              <a:rPr lang="en-US" altLang="ja-JP" sz="1266" b="1">
                <a:solidFill>
                  <a:schemeClr val="bg2"/>
                </a:solidFill>
                <a:latin typeface="Meiryo UI" panose="020B0604030504040204" pitchFamily="50" charset="-128"/>
                <a:ea typeface="Meiryo UI" panose="020B0604030504040204" pitchFamily="50" charset="-128"/>
              </a:rPr>
              <a:t>3. </a:t>
            </a:r>
            <a:r>
              <a:rPr lang="ja-JP" altLang="en-US" sz="1266"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5"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a:stretch>
            <a:fillRect/>
          </a:stretch>
        </p:blipFill>
        <p:spPr>
          <a:xfrm>
            <a:off x="150025"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5" y="808024"/>
            <a:ext cx="9588810" cy="326585"/>
          </a:xfrm>
        </p:spPr>
        <p:txBody>
          <a:bodyPr lIns="108000" tIns="36000" rIns="108000" bIns="0" anchor="ctr">
            <a:noAutofit/>
          </a:bodyPr>
          <a:lstStyle>
            <a:lvl1pPr marL="0" indent="0" algn="l">
              <a:buNone/>
              <a:defRPr sz="1172"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086156"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4" y="2173436"/>
            <a:ext cx="3935786" cy="261268"/>
          </a:xfrm>
        </p:spPr>
        <p:txBody>
          <a:bodyPr lIns="0" tIns="0" rIns="0" bIns="72000" anchor="b" anchorCtr="0">
            <a:normAutofit/>
          </a:bodyPr>
          <a:lstStyle>
            <a:lvl1pPr marL="0" indent="0" algn="l">
              <a:buNone/>
              <a:defRPr sz="1266"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6" y="2173436"/>
            <a:ext cx="4169265" cy="261268"/>
          </a:xfrm>
          <a:prstGeom prst="rect">
            <a:avLst/>
          </a:prstGeom>
          <a:noFill/>
        </p:spPr>
        <p:txBody>
          <a:bodyPr wrap="square" lIns="0" tIns="0" bIns="60293" rtlCol="0" anchor="b" anchorCtr="0">
            <a:noAutofit/>
          </a:bodyPr>
          <a:lstStyle/>
          <a:p>
            <a:pPr algn="l"/>
            <a:r>
              <a:rPr lang="en-US" altLang="ja-JP" sz="1266" b="1">
                <a:solidFill>
                  <a:schemeClr val="bg2"/>
                </a:solidFill>
                <a:latin typeface="Meiryo UI" panose="020B0604030504040204" pitchFamily="50" charset="-128"/>
                <a:ea typeface="Meiryo UI" panose="020B0604030504040204" pitchFamily="50" charset="-128"/>
              </a:rPr>
              <a:t>4. </a:t>
            </a:r>
          </a:p>
        </p:txBody>
      </p:sp>
    </p:spTree>
    <p:extLst>
      <p:ext uri="{BB962C8B-B14F-4D97-AF65-F5344CB8AC3E}">
        <p14:creationId xmlns:p14="http://schemas.microsoft.com/office/powerpoint/2010/main" val="219948433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2"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6572" tIns="38286" rIns="76572" bIns="38286" numCol="1" spcCol="0" rtlCol="0" fromWordArt="0" anchor="ctr" anchorCtr="0" forceAA="0" compatLnSpc="1">
            <a:prstTxWarp prst="textNoShape">
              <a:avLst/>
            </a:prstTxWarp>
            <a:noAutofit/>
          </a:bodyPr>
          <a:lstStyle/>
          <a:p>
            <a:pPr algn="ctr"/>
            <a:endParaRPr kumimoji="1" lang="ja-JP" altLang="en-US" sz="134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rot="10800000">
            <a:off x="4054894" y="3120327"/>
            <a:ext cx="1796217"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491564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0_タイトルとコンテンツ">
    <p:spTree>
      <p:nvGrpSpPr>
        <p:cNvPr id="1" name=""/>
        <p:cNvGrpSpPr/>
        <p:nvPr/>
      </p:nvGrpSpPr>
      <p:grpSpPr>
        <a:xfrm>
          <a:off x="0" y="0"/>
          <a:ext cx="0" cy="0"/>
          <a:chOff x="0" y="0"/>
          <a:chExt cx="0" cy="0"/>
        </a:xfrm>
      </p:grpSpPr>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5115" y="301448"/>
            <a:ext cx="8872196"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29488" y="494222"/>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616237" y="224550"/>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
        <p:nvSpPr>
          <p:cNvPr id="9" name="スライド番号プレースホルダー 6"/>
          <p:cNvSpPr>
            <a:spLocks noGrp="1"/>
          </p:cNvSpPr>
          <p:nvPr>
            <p:ph type="sldNum" sz="quarter" idx="13"/>
          </p:nvPr>
        </p:nvSpPr>
        <p:spPr>
          <a:xfrm>
            <a:off x="7594601" y="6597352"/>
            <a:ext cx="2311400" cy="260648"/>
          </a:xfrm>
        </p:spPr>
        <p:txBody>
          <a:bodyPr tIns="36000" rIns="72000" bIns="0"/>
          <a:lstStyle>
            <a:lvl1pPr>
              <a:defRPr sz="9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fld id="{C0E165EF-8CF6-4151-AFE5-5BCB0FC607F3}" type="slidenum">
              <a:rPr lang="ja-JP" altLang="en-US" smtClean="0"/>
              <a:pPr>
                <a:defRPr/>
              </a:pPr>
              <a:t>‹#›</a:t>
            </a:fld>
            <a:endParaRPr lang="ja-JP" altLang="en-US" dirty="0"/>
          </a:p>
        </p:txBody>
      </p:sp>
    </p:spTree>
    <p:extLst>
      <p:ext uri="{BB962C8B-B14F-4D97-AF65-F5344CB8AC3E}">
        <p14:creationId xmlns:p14="http://schemas.microsoft.com/office/powerpoint/2010/main" val="180397017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263"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8" y="339776"/>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21"/>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7" y="424232"/>
            <a:ext cx="8271821" cy="587854"/>
          </a:xfrm>
          <a:prstGeom prst="rect">
            <a:avLst/>
          </a:prstGeom>
        </p:spPr>
        <p:txBody>
          <a:bodyPr lIns="252000" tIns="36000" rIns="0" bIns="0" anchor="ctr" anchorCtr="0"/>
          <a:lstStyle>
            <a:lvl1pPr>
              <a:defRPr sz="221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42" y="1012093"/>
            <a:ext cx="8705425" cy="783805"/>
          </a:xfrm>
          <a:prstGeom prst="rect">
            <a:avLst/>
          </a:prstGeom>
        </p:spPr>
        <p:txBody>
          <a:bodyPr lIns="0" tIns="144000" rIns="0" bIns="0" anchor="t"/>
          <a:lstStyle>
            <a:lvl1pPr marL="0" marR="0" indent="0" algn="l" defTabSz="721882" rtl="0" eaLnBrk="1" fontAlgn="auto" latinLnBrk="0" hangingPunct="1">
              <a:lnSpc>
                <a:spcPct val="100000"/>
              </a:lnSpc>
              <a:spcBef>
                <a:spcPts val="0"/>
              </a:spcBef>
              <a:spcAft>
                <a:spcPts val="474"/>
              </a:spcAft>
              <a:buClrTx/>
              <a:buSzTx/>
              <a:buFontTx/>
              <a:buNone/>
              <a:tabLst/>
              <a:defRPr sz="1263" b="1">
                <a:solidFill>
                  <a:srgbClr val="009C89"/>
                </a:solidFill>
                <a:latin typeface="Meiryo UI" panose="020B0604030504040204" pitchFamily="50" charset="-128"/>
                <a:ea typeface="Meiryo UI" panose="020B0604030504040204" pitchFamily="50" charset="-128"/>
              </a:defRPr>
            </a:lvl1pPr>
            <a:lvl2pPr marL="360941" indent="0">
              <a:buFontTx/>
              <a:buNone/>
              <a:defRPr/>
            </a:lvl2pPr>
            <a:lvl3pPr marL="721882" indent="0">
              <a:buFontTx/>
              <a:buNone/>
              <a:defRPr/>
            </a:lvl3pPr>
            <a:lvl4pPr marL="1082823" indent="0">
              <a:buFontTx/>
              <a:buNone/>
              <a:defRPr/>
            </a:lvl4pPr>
            <a:lvl5pPr marL="1443764" indent="0">
              <a:buFontTx/>
              <a:buNone/>
              <a:defRPr/>
            </a:lvl5pPr>
          </a:lstStyle>
          <a:p>
            <a:pPr marL="0" marR="0" lvl="0" indent="0" algn="l" defTabSz="721882" rtl="0" eaLnBrk="1" fontAlgn="auto" latinLnBrk="0" hangingPunct="1">
              <a:lnSpc>
                <a:spcPct val="90000"/>
              </a:lnSpc>
              <a:spcBef>
                <a:spcPts val="789"/>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8463330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a:latin typeface="Arial" panose="020B0604020202020204" pitchFamily="34" charset="0"/>
              <a:ea typeface="メイリオ" panose="020B0604030504040204" pitchFamily="50" charset="-128"/>
              <a:cs typeface="Arial" panose="020B0604020202020204" pitchFamily="34" charset="0"/>
            </a:endParaRPr>
          </a:p>
        </p:txBody>
      </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8" y="332656"/>
            <a:ext cx="9278294" cy="587854"/>
          </a:xfrm>
          <a:prstGeom prst="rect">
            <a:avLst/>
          </a:prstGeom>
          <a:solidFill>
            <a:schemeClr val="accent1">
              <a:lumMod val="75000"/>
              <a:lumOff val="25000"/>
            </a:schemeClr>
          </a:solidFill>
        </p:spPr>
        <p:txBody>
          <a:bodyPr lIns="252000" tIns="36000" rIns="0" bIns="0" anchor="ctr" anchorCtr="0"/>
          <a:lstStyle>
            <a:lvl1pPr>
              <a:defRPr sz="221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userDrawn="1">
            <p:ph sz="quarter" idx="16" hasCustomPrompt="1"/>
          </p:nvPr>
        </p:nvSpPr>
        <p:spPr>
          <a:xfrm>
            <a:off x="531443" y="1012094"/>
            <a:ext cx="8705425" cy="783805"/>
          </a:xfrm>
          <a:prstGeom prst="rect">
            <a:avLst/>
          </a:prstGeom>
        </p:spPr>
        <p:txBody>
          <a:bodyPr lIns="0" tIns="144000" rIns="0" bIns="0" anchor="t"/>
          <a:lstStyle>
            <a:lvl1pPr marL="0" marR="0" indent="0" algn="l" defTabSz="721879" rtl="0" eaLnBrk="1" fontAlgn="auto" latinLnBrk="0" hangingPunct="1">
              <a:lnSpc>
                <a:spcPct val="100000"/>
              </a:lnSpc>
              <a:spcBef>
                <a:spcPts val="0"/>
              </a:spcBef>
              <a:spcAft>
                <a:spcPts val="474"/>
              </a:spcAft>
              <a:buClrTx/>
              <a:buSzTx/>
              <a:buFontTx/>
              <a:buNone/>
              <a:tabLst/>
              <a:defRPr sz="1263" b="1">
                <a:solidFill>
                  <a:schemeClr val="tx1"/>
                </a:solidFill>
                <a:latin typeface="Meiryo UI" panose="020B0604030504040204" pitchFamily="50" charset="-128"/>
                <a:ea typeface="Meiryo UI" panose="020B0604030504040204" pitchFamily="50" charset="-128"/>
              </a:defRPr>
            </a:lvl1pPr>
            <a:lvl2pPr marL="360939" indent="0">
              <a:buFontTx/>
              <a:buNone/>
              <a:defRPr/>
            </a:lvl2pPr>
            <a:lvl3pPr marL="721879" indent="0">
              <a:buFontTx/>
              <a:buNone/>
              <a:defRPr/>
            </a:lvl3pPr>
            <a:lvl4pPr marL="1082816" indent="0">
              <a:buFontTx/>
              <a:buNone/>
              <a:defRPr/>
            </a:lvl4pPr>
            <a:lvl5pPr marL="1443756" indent="0">
              <a:buFontTx/>
              <a:buNone/>
              <a:defRPr/>
            </a:lvl5pPr>
          </a:lstStyle>
          <a:p>
            <a:pPr marL="0" marR="0" lvl="0" indent="0" algn="l" defTabSz="721879" rtl="0" eaLnBrk="1" fontAlgn="auto" latinLnBrk="0" hangingPunct="1">
              <a:lnSpc>
                <a:spcPct val="90000"/>
              </a:lnSpc>
              <a:spcBef>
                <a:spcPts val="789"/>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2877728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リード">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947646" y="273946"/>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60" y="354187"/>
            <a:ext cx="8713007" cy="461267"/>
          </a:xfrm>
          <a:prstGeom prst="rect">
            <a:avLst/>
          </a:prstGeom>
        </p:spPr>
      </p:pic>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483867" y="6584054"/>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00"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7"/>
            <a:ext cx="7145926" cy="457525"/>
          </a:xfrm>
          <a:prstGeom prst="rect">
            <a:avLst/>
          </a:prstGeom>
        </p:spPr>
        <p:txBody>
          <a:bodyPr lIns="252000" tIns="36000" rIns="0" bIns="0" anchor="ctr">
            <a:normAutofit/>
          </a:bodyPr>
          <a:lstStyle>
            <a:lvl1pPr marL="0" indent="0">
              <a:buNone/>
              <a:defRPr sz="1736"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
        <p:nvSpPr>
          <p:cNvPr id="11" name="コンテンツ プレースホルダー 18">
            <a:extLst>
              <a:ext uri="{FF2B5EF4-FFF2-40B4-BE49-F238E27FC236}">
                <a16:creationId xmlns:a16="http://schemas.microsoft.com/office/drawing/2014/main" id="{D6CEC8E5-ABD9-4156-8E4A-955E63649379}"/>
              </a:ext>
            </a:extLst>
          </p:cNvPr>
          <p:cNvSpPr>
            <a:spLocks noGrp="1"/>
          </p:cNvSpPr>
          <p:nvPr>
            <p:ph sz="quarter" idx="16" hasCustomPrompt="1"/>
          </p:nvPr>
        </p:nvSpPr>
        <p:spPr>
          <a:xfrm>
            <a:off x="550092" y="823891"/>
            <a:ext cx="8041877" cy="589919"/>
          </a:xfrm>
          <a:prstGeom prst="rect">
            <a:avLst/>
          </a:prstGeom>
        </p:spPr>
        <p:txBody>
          <a:bodyPr lIns="0" tIns="108000" rIns="0" bIns="0" anchor="t"/>
          <a:lstStyle>
            <a:lvl1pPr marL="0" marR="0" indent="0" algn="l" defTabSz="721882" rtl="0" eaLnBrk="1" fontAlgn="auto" latinLnBrk="0" hangingPunct="1">
              <a:lnSpc>
                <a:spcPct val="100000"/>
              </a:lnSpc>
              <a:spcBef>
                <a:spcPts val="0"/>
              </a:spcBef>
              <a:spcAft>
                <a:spcPts val="0"/>
              </a:spcAft>
              <a:buClrTx/>
              <a:buSzTx/>
              <a:buFontTx/>
              <a:buNone/>
              <a:tabLst/>
              <a:defRPr sz="947" b="1">
                <a:solidFill>
                  <a:srgbClr val="009C89"/>
                </a:solidFill>
                <a:latin typeface="Meiryo UI" panose="020B0604030504040204" pitchFamily="50" charset="-128"/>
                <a:ea typeface="Meiryo UI" panose="020B0604030504040204" pitchFamily="50" charset="-128"/>
              </a:defRPr>
            </a:lvl1pPr>
            <a:lvl2pPr marL="360941" indent="0">
              <a:buFontTx/>
              <a:buNone/>
              <a:defRPr/>
            </a:lvl2pPr>
            <a:lvl3pPr marL="721882" indent="0">
              <a:buFontTx/>
              <a:buNone/>
              <a:defRPr/>
            </a:lvl3pPr>
            <a:lvl4pPr marL="1082823" indent="0">
              <a:buFontTx/>
              <a:buNone/>
              <a:defRPr/>
            </a:lvl4pPr>
            <a:lvl5pPr marL="1443764" indent="0">
              <a:buFontTx/>
              <a:buNone/>
              <a:defRPr/>
            </a:lvl5pPr>
          </a:lstStyle>
          <a:p>
            <a:pPr marL="0" marR="0" lvl="0" indent="0" algn="l" defTabSz="721882" rtl="0" eaLnBrk="1" fontAlgn="auto" latinLnBrk="0" hangingPunct="1">
              <a:lnSpc>
                <a:spcPct val="90000"/>
              </a:lnSpc>
              <a:spcBef>
                <a:spcPts val="789"/>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50001" y="532088"/>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8"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731802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内容説明用スライド_タイトルのみ">
    <p:spTree>
      <p:nvGrpSpPr>
        <p:cNvPr id="1" name=""/>
        <p:cNvGrpSpPr/>
        <p:nvPr/>
      </p:nvGrpSpPr>
      <p:grpSpPr>
        <a:xfrm>
          <a:off x="0" y="0"/>
          <a:ext cx="0" cy="0"/>
          <a:chOff x="0" y="0"/>
          <a:chExt cx="0" cy="0"/>
        </a:xfrm>
      </p:grpSpPr>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8947646" y="273946"/>
            <a:ext cx="536221" cy="537767"/>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60" y="354187"/>
            <a:ext cx="8713007" cy="461267"/>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50001" y="532088"/>
            <a:ext cx="359245" cy="352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477558" y="262409"/>
            <a:ext cx="633971" cy="62377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C3C77094-EBBC-48DE-9242-E77BA6AC9747}"/>
              </a:ext>
            </a:extLst>
          </p:cNvPr>
          <p:cNvSpPr txBox="1"/>
          <p:nvPr userDrawn="1"/>
        </p:nvSpPr>
        <p:spPr>
          <a:xfrm>
            <a:off x="9483867" y="6596910"/>
            <a:ext cx="318478" cy="261090"/>
          </a:xfrm>
          <a:prstGeom prst="rect">
            <a:avLst/>
          </a:prstGeom>
          <a:noFill/>
        </p:spPr>
        <p:txBody>
          <a:bodyPr wrap="none" lIns="0" tIns="0" rIns="0" bIns="0" rtlCol="0" anchor="ctr" anchorCtr="0">
            <a:noAutofit/>
          </a:bodyPr>
          <a:lstStyle/>
          <a:p>
            <a:pPr algn="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r"/>
              <a:t>‹#›</a:t>
            </a:fld>
            <a:endParaRPr kumimoji="1" lang="ja-JP" altLang="en-US" sz="900" b="0">
              <a:latin typeface="Arial" panose="020B0604020202020204" pitchFamily="34" charset="0"/>
              <a:ea typeface="メイリオ" panose="020B0604030504040204" pitchFamily="50" charset="-128"/>
              <a:cs typeface="Arial" panose="020B0604020202020204" pitchFamily="34" charset="0"/>
            </a:endParaRPr>
          </a:p>
        </p:txBody>
      </p:sp>
      <p:sp>
        <p:nvSpPr>
          <p:cNvPr id="10" name="コンテンツ プレースホルダー 13">
            <a:extLst>
              <a:ext uri="{FF2B5EF4-FFF2-40B4-BE49-F238E27FC236}">
                <a16:creationId xmlns:a16="http://schemas.microsoft.com/office/drawing/2014/main" id="{89977F20-F4BF-4D81-9971-71C821CD53EF}"/>
              </a:ext>
            </a:extLst>
          </p:cNvPr>
          <p:cNvSpPr>
            <a:spLocks noGrp="1"/>
          </p:cNvSpPr>
          <p:nvPr>
            <p:ph sz="quarter" idx="11" hasCustomPrompt="1"/>
          </p:nvPr>
        </p:nvSpPr>
        <p:spPr bwMode="white">
          <a:xfrm>
            <a:off x="324259" y="354187"/>
            <a:ext cx="7145926" cy="457525"/>
          </a:xfrm>
          <a:prstGeom prst="rect">
            <a:avLst/>
          </a:prstGeom>
        </p:spPr>
        <p:txBody>
          <a:bodyPr lIns="252000" tIns="36000" rIns="0" bIns="0" anchor="ctr">
            <a:normAutofit/>
          </a:bodyPr>
          <a:lstStyle>
            <a:lvl1pPr marL="0" indent="0">
              <a:buNone/>
              <a:defRPr sz="1736" b="1" i="0">
                <a:solidFill>
                  <a:schemeClr val="bg1"/>
                </a:solidFill>
                <a:latin typeface="Meiryo UI" panose="020B0604030504040204" pitchFamily="50" charset="-128"/>
                <a:ea typeface="Meiryo UI" panose="020B0604030504040204" pitchFamily="50" charset="-128"/>
              </a:defRPr>
            </a:lvl1pPr>
          </a:lstStyle>
          <a:p>
            <a:r>
              <a:rPr kumimoji="1" lang="ja-JP" altLang="en-US"/>
              <a:t>タイトルタイトル</a:t>
            </a:r>
          </a:p>
        </p:txBody>
      </p:sp>
    </p:spTree>
    <p:extLst>
      <p:ext uri="{BB962C8B-B14F-4D97-AF65-F5344CB8AC3E}">
        <p14:creationId xmlns:p14="http://schemas.microsoft.com/office/powerpoint/2010/main" val="234378265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3_目次用スライド">
    <p:spTree>
      <p:nvGrpSpPr>
        <p:cNvPr id="1" name=""/>
        <p:cNvGrpSpPr/>
        <p:nvPr/>
      </p:nvGrpSpPr>
      <p:grpSpPr>
        <a:xfrm>
          <a:off x="0" y="0"/>
          <a:ext cx="0" cy="0"/>
          <a:chOff x="0" y="0"/>
          <a:chExt cx="0" cy="0"/>
        </a:xfrm>
      </p:grpSpPr>
      <p:sp>
        <p:nvSpPr>
          <p:cNvPr id="6" name="テキスト ボックス 5">
            <a:extLst>
              <a:ext uri="{FF2B5EF4-FFF2-40B4-BE49-F238E27FC236}">
                <a16:creationId xmlns:a16="http://schemas.microsoft.com/office/drawing/2014/main" id="{008499E0-6698-7242-8365-20FF5A758AA5}"/>
              </a:ext>
            </a:extLst>
          </p:cNvPr>
          <p:cNvSpPr txBox="1"/>
          <p:nvPr userDrawn="1"/>
        </p:nvSpPr>
        <p:spPr>
          <a:xfrm>
            <a:off x="1" y="6609926"/>
            <a:ext cx="9906000" cy="230832"/>
          </a:xfrm>
          <a:prstGeom prst="rect">
            <a:avLst/>
          </a:prstGeom>
          <a:noFill/>
        </p:spPr>
        <p:txBody>
          <a:bodyPr wrap="square" rtlCol="0">
            <a:spAutoFit/>
          </a:bodyPr>
          <a:lstStyle/>
          <a:p>
            <a:pPr algn="r"/>
            <a:fld id="{38434F60-59C2-5746-B363-8E311F3EE048}" type="slidenum">
              <a:rPr lang="en-US" altLang="ja-JP" sz="900"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829"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3" y="133064"/>
            <a:ext cx="596513" cy="598234"/>
          </a:xfrm>
          <a:prstGeom prst="rect">
            <a:avLst/>
          </a:prstGeom>
          <a:noFill/>
          <a:extLst>
            <a:ext uri="{909E8E84-426E-40DD-AFC4-6F175D3DCCD1}">
              <a14:hiddenFill xmlns:a14="http://schemas.microsoft.com/office/drawing/2010/main">
                <a:solidFill>
                  <a:srgbClr val="FFFFFF"/>
                </a:solidFill>
              </a14:hiddenFill>
            </a:ext>
          </a:extLst>
        </p:spPr>
      </p:pic>
      <p:pic>
        <p:nvPicPr>
          <p:cNvPr id="4"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a:stretch>
            <a:fillRect/>
          </a:stretch>
        </p:blipFill>
        <p:spPr>
          <a:xfrm>
            <a:off x="324258" y="354181"/>
            <a:ext cx="8872196" cy="461266"/>
          </a:xfrm>
          <a:prstGeom prst="rect">
            <a:avLst/>
          </a:prstGeom>
        </p:spPr>
      </p:pic>
      <p:cxnSp>
        <p:nvCxnSpPr>
          <p:cNvPr id="5" name="直線コネクタ 4">
            <a:extLst>
              <a:ext uri="{FF2B5EF4-FFF2-40B4-BE49-F238E27FC236}">
                <a16:creationId xmlns:a16="http://schemas.microsoft.com/office/drawing/2014/main" id="{EBCF4434-9025-3445-AC58-7DECDD0D5A3D}"/>
              </a:ext>
            </a:extLst>
          </p:cNvPr>
          <p:cNvCxnSpPr>
            <a:cxnSpLocks/>
          </p:cNvCxnSpPr>
          <p:nvPr userDrawn="1"/>
        </p:nvCxnSpPr>
        <p:spPr>
          <a:xfrm>
            <a:off x="250002" y="532088"/>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8" name="直線コネクタ 7">
            <a:extLst>
              <a:ext uri="{FF2B5EF4-FFF2-40B4-BE49-F238E27FC236}">
                <a16:creationId xmlns:a16="http://schemas.microsoft.com/office/drawing/2014/main" id="{9F081F0C-555C-6443-8F74-0430630E7B15}"/>
              </a:ext>
            </a:extLst>
          </p:cNvPr>
          <p:cNvCxnSpPr>
            <a:cxnSpLocks/>
          </p:cNvCxnSpPr>
          <p:nvPr userDrawn="1"/>
        </p:nvCxnSpPr>
        <p:spPr>
          <a:xfrm>
            <a:off x="8636747" y="262415"/>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81348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内容説明用スライド-1">
    <p:spTree>
      <p:nvGrpSpPr>
        <p:cNvPr id="1" name=""/>
        <p:cNvGrpSpPr/>
        <p:nvPr/>
      </p:nvGrpSpPr>
      <p:grpSpPr>
        <a:xfrm>
          <a:off x="0" y="0"/>
          <a:ext cx="0" cy="0"/>
          <a:chOff x="0" y="0"/>
          <a:chExt cx="0" cy="0"/>
        </a:xfrm>
      </p:grpSpPr>
      <p:pic>
        <p:nvPicPr>
          <p:cNvPr id="10" name="Picture 11" descr="ç°å¢ç">
            <a:extLst>
              <a:ext uri="{FF2B5EF4-FFF2-40B4-BE49-F238E27FC236}">
                <a16:creationId xmlns:a16="http://schemas.microsoft.com/office/drawing/2014/main" id="{60E486B8-662B-314A-9026-A2BE09EFE3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167316" y="133064"/>
            <a:ext cx="596513" cy="59823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グループ化 5">
            <a:extLst>
              <a:ext uri="{FF2B5EF4-FFF2-40B4-BE49-F238E27FC236}">
                <a16:creationId xmlns:a16="http://schemas.microsoft.com/office/drawing/2014/main" id="{8933A530-EA13-4E40-8853-24895B93ACAC}"/>
              </a:ext>
            </a:extLst>
          </p:cNvPr>
          <p:cNvGrpSpPr/>
          <p:nvPr userDrawn="1"/>
        </p:nvGrpSpPr>
        <p:grpSpPr>
          <a:xfrm>
            <a:off x="249998" y="285663"/>
            <a:ext cx="9414416" cy="899980"/>
            <a:chOff x="269828" y="1704549"/>
            <a:chExt cx="10161233" cy="1425716"/>
          </a:xfrm>
        </p:grpSpPr>
        <p:pic>
          <p:nvPicPr>
            <p:cNvPr id="7" name="グラフィックス 6">
              <a:extLst>
                <a:ext uri="{FF2B5EF4-FFF2-40B4-BE49-F238E27FC236}">
                  <a16:creationId xmlns:a16="http://schemas.microsoft.com/office/drawing/2014/main" id="{1965654B-C214-044C-9754-691F56B1A74E}"/>
                </a:ext>
              </a:extLst>
            </p:cNvPr>
            <p:cNvPicPr>
              <a:picLocks noChangeAspect="1"/>
            </p:cNvPicPr>
            <p:nvPr/>
          </p:nvPicPr>
          <p:blipFill>
            <a:blip/>
            <a:stretch>
              <a:fillRect/>
            </a:stretch>
          </p:blipFill>
          <p:spPr>
            <a:xfrm>
              <a:off x="341713" y="1816883"/>
              <a:ext cx="9997200" cy="1224147"/>
            </a:xfrm>
            <a:prstGeom prst="rect">
              <a:avLst/>
            </a:prstGeom>
          </p:spPr>
        </p:pic>
        <p:cxnSp>
          <p:nvCxnSpPr>
            <p:cNvPr id="8" name="直線コネクタ 7">
              <a:extLst>
                <a:ext uri="{FF2B5EF4-FFF2-40B4-BE49-F238E27FC236}">
                  <a16:creationId xmlns:a16="http://schemas.microsoft.com/office/drawing/2014/main" id="{803ACE90-2131-A448-9D2B-E09F626D0747}"/>
                </a:ext>
              </a:extLst>
            </p:cNvPr>
            <p:cNvCxnSpPr/>
            <p:nvPr/>
          </p:nvCxnSpPr>
          <p:spPr>
            <a:xfrm>
              <a:off x="269828" y="2691065"/>
              <a:ext cx="438100" cy="439200"/>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492973B8-A1E0-8249-B6B2-09ED50D99913}"/>
                </a:ext>
              </a:extLst>
            </p:cNvPr>
            <p:cNvCxnSpPr>
              <a:cxnSpLocks/>
            </p:cNvCxnSpPr>
            <p:nvPr/>
          </p:nvCxnSpPr>
          <p:spPr>
            <a:xfrm>
              <a:off x="9321870" y="1704549"/>
              <a:ext cx="1109191" cy="1111976"/>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grpSp>
      <p:sp>
        <p:nvSpPr>
          <p:cNvPr id="12" name="テキスト ボックス 11">
            <a:extLst>
              <a:ext uri="{FF2B5EF4-FFF2-40B4-BE49-F238E27FC236}">
                <a16:creationId xmlns:a16="http://schemas.microsoft.com/office/drawing/2014/main" id="{008499E0-6698-7242-8365-20FF5A758AA5}"/>
              </a:ext>
            </a:extLst>
          </p:cNvPr>
          <p:cNvSpPr txBox="1"/>
          <p:nvPr userDrawn="1"/>
        </p:nvSpPr>
        <p:spPr>
          <a:xfrm>
            <a:off x="1" y="6609931"/>
            <a:ext cx="9906000" cy="230832"/>
          </a:xfrm>
          <a:prstGeom prst="rect">
            <a:avLst/>
          </a:prstGeom>
          <a:noFill/>
        </p:spPr>
        <p:txBody>
          <a:bodyPr wrap="square" rtlCol="0">
            <a:spAutoFit/>
          </a:bodyPr>
          <a:lstStyle/>
          <a:p>
            <a:pPr algn="r"/>
            <a:fld id="{38434F60-59C2-5746-B363-8E311F3EE048}" type="slidenum">
              <a:rPr lang="en-US" altLang="ja-JP" sz="900" b="0" smtClean="0">
                <a:ln w="2540">
                  <a:solidFill>
                    <a:schemeClr val="bg2">
                      <a:lumMod val="75000"/>
                    </a:schemeClr>
                  </a:solidFill>
                </a:ln>
                <a:solidFill>
                  <a:schemeClr val="tx1"/>
                </a:solidFill>
                <a:latin typeface="Meiryo" panose="020B0604030504040204" pitchFamily="34" charset="-128"/>
                <a:ea typeface="Meiryo" panose="020B0604030504040204" pitchFamily="34" charset="-128"/>
              </a:rPr>
              <a:t>‹#›</a:t>
            </a:fld>
            <a:endParaRPr lang="ja-JP" altLang="en-US" sz="900" b="0" dirty="0">
              <a:ln w="2540">
                <a:solidFill>
                  <a:schemeClr val="bg2">
                    <a:lumMod val="75000"/>
                  </a:schemeClr>
                </a:solidFill>
              </a:ln>
              <a:solidFill>
                <a:schemeClr val="tx1"/>
              </a:solidFill>
              <a:latin typeface="Meiryo" panose="020B0604030504040204" pitchFamily="34" charset="-128"/>
              <a:ea typeface="Meiryo" panose="020B0604030504040204" pitchFamily="34" charset="-128"/>
            </a:endParaRPr>
          </a:p>
        </p:txBody>
      </p:sp>
    </p:spTree>
    <p:extLst>
      <p:ext uri="{BB962C8B-B14F-4D97-AF65-F5344CB8AC3E}">
        <p14:creationId xmlns:p14="http://schemas.microsoft.com/office/powerpoint/2010/main" val="22637364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3_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9" y="339776"/>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338"/>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8" y="424232"/>
            <a:ext cx="8271821" cy="587854"/>
          </a:xfrm>
          <a:prstGeom prst="rect">
            <a:avLst/>
          </a:prstGeom>
        </p:spPr>
        <p:txBody>
          <a:bodyPr lIns="252000" tIns="36000" rIns="0" bIns="0" anchor="ctr" anchorCtr="0"/>
          <a:lstStyle>
            <a:lvl1pPr>
              <a:defRPr sz="2084"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43" y="1012094"/>
            <a:ext cx="8705425" cy="783805"/>
          </a:xfrm>
          <a:prstGeom prst="rect">
            <a:avLst/>
          </a:prstGeom>
        </p:spPr>
        <p:txBody>
          <a:bodyPr lIns="0" tIns="144000" rIns="0" bIns="0" anchor="t"/>
          <a:lstStyle>
            <a:lvl1pPr marL="0" marR="0" indent="0" algn="l" defTabSz="680509" rtl="0" eaLnBrk="1" fontAlgn="auto" latinLnBrk="0" hangingPunct="1">
              <a:lnSpc>
                <a:spcPct val="100000"/>
              </a:lnSpc>
              <a:spcBef>
                <a:spcPts val="0"/>
              </a:spcBef>
              <a:spcAft>
                <a:spcPts val="446"/>
              </a:spcAft>
              <a:buClrTx/>
              <a:buSzTx/>
              <a:buFontTx/>
              <a:buNone/>
              <a:tabLst/>
              <a:defRPr sz="1191" b="1">
                <a:solidFill>
                  <a:srgbClr val="009C89"/>
                </a:solidFill>
                <a:latin typeface="Meiryo UI" panose="020B0604030504040204" pitchFamily="50" charset="-128"/>
                <a:ea typeface="Meiryo UI" panose="020B0604030504040204" pitchFamily="50" charset="-128"/>
              </a:defRPr>
            </a:lvl1pPr>
            <a:lvl2pPr marL="340255" indent="0">
              <a:buFontTx/>
              <a:buNone/>
              <a:defRPr/>
            </a:lvl2pPr>
            <a:lvl3pPr marL="680509" indent="0">
              <a:buFontTx/>
              <a:buNone/>
              <a:defRPr/>
            </a:lvl3pPr>
            <a:lvl4pPr marL="1020763" indent="0">
              <a:buFontTx/>
              <a:buNone/>
              <a:defRPr/>
            </a:lvl4pPr>
            <a:lvl5pPr marL="1361018" indent="0">
              <a:buFontTx/>
              <a:buNone/>
              <a:defRPr/>
            </a:lvl5pPr>
          </a:lstStyle>
          <a:p>
            <a:pPr marL="0" marR="0" lvl="0" indent="0" algn="l" defTabSz="680509" rtl="0" eaLnBrk="1" fontAlgn="auto" latinLnBrk="0" hangingPunct="1">
              <a:lnSpc>
                <a:spcPct val="90000"/>
              </a:lnSpc>
              <a:spcBef>
                <a:spcPts val="744"/>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24238139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5_内容説明用スライド_タイトルのみ">
    <p:spTree>
      <p:nvGrpSpPr>
        <p:cNvPr id="1" name=""/>
        <p:cNvGrpSpPr/>
        <p:nvPr/>
      </p:nvGrpSpPr>
      <p:grpSpPr>
        <a:xfrm>
          <a:off x="0" y="0"/>
          <a:ext cx="0" cy="0"/>
          <a:chOff x="0" y="0"/>
          <a:chExt cx="0" cy="0"/>
        </a:xfrm>
      </p:grpSpPr>
      <p:grpSp>
        <p:nvGrpSpPr>
          <p:cNvPr id="31" name="グループ化 30">
            <a:extLst>
              <a:ext uri="{FF2B5EF4-FFF2-40B4-BE49-F238E27FC236}">
                <a16:creationId xmlns:a16="http://schemas.microsoft.com/office/drawing/2014/main" id="{AC2DE318-3373-45C5-B5ED-FC4A4125DD10}"/>
              </a:ext>
            </a:extLst>
          </p:cNvPr>
          <p:cNvGrpSpPr/>
          <p:nvPr userDrawn="1"/>
        </p:nvGrpSpPr>
        <p:grpSpPr>
          <a:xfrm>
            <a:off x="197898" y="339776"/>
            <a:ext cx="9429542" cy="719363"/>
            <a:chOff x="213594" y="302433"/>
            <a:chExt cx="10177559" cy="792964"/>
          </a:xfrm>
        </p:grpSpPr>
        <p:pic>
          <p:nvPicPr>
            <p:cNvPr id="19" name="Picture 11" descr="ç°å¢ç">
              <a:extLst>
                <a:ext uri="{FF2B5EF4-FFF2-40B4-BE49-F238E27FC236}">
                  <a16:creationId xmlns:a16="http://schemas.microsoft.com/office/drawing/2014/main" id="{F587DAEF-4845-4ED1-8C27-052B3B89936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30" name="フリーフォーム: 図形 29">
              <a:extLst>
                <a:ext uri="{FF2B5EF4-FFF2-40B4-BE49-F238E27FC236}">
                  <a16:creationId xmlns:a16="http://schemas.microsoft.com/office/drawing/2014/main" id="{2E2E24A4-3B37-4043-BFA7-B097B261A74B}"/>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21"/>
            </a:p>
          </p:txBody>
        </p:sp>
        <p:cxnSp>
          <p:nvCxnSpPr>
            <p:cNvPr id="24" name="直線コネクタ 23">
              <a:extLst>
                <a:ext uri="{FF2B5EF4-FFF2-40B4-BE49-F238E27FC236}">
                  <a16:creationId xmlns:a16="http://schemas.microsoft.com/office/drawing/2014/main" id="{D3CD85D1-03BA-48DE-917C-C0364BBEB90D}"/>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F0692A14-C278-4BFD-8589-93D84C87BBEF}"/>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 name="タイトル 97">
            <a:extLst>
              <a:ext uri="{FF2B5EF4-FFF2-40B4-BE49-F238E27FC236}">
                <a16:creationId xmlns:a16="http://schemas.microsoft.com/office/drawing/2014/main" id="{72170A6F-3936-4E64-8D54-81889E100275}"/>
              </a:ext>
            </a:extLst>
          </p:cNvPr>
          <p:cNvSpPr>
            <a:spLocks noGrp="1"/>
          </p:cNvSpPr>
          <p:nvPr userDrawn="1">
            <p:ph type="title" hasCustomPrompt="1"/>
          </p:nvPr>
        </p:nvSpPr>
        <p:spPr>
          <a:xfrm>
            <a:off x="287217" y="419806"/>
            <a:ext cx="8271821" cy="587854"/>
          </a:xfrm>
          <a:prstGeom prst="rect">
            <a:avLst/>
          </a:prstGeom>
        </p:spPr>
        <p:txBody>
          <a:bodyPr lIns="252000" tIns="36000" rIns="0" bIns="0" anchor="ctr" anchorCtr="0"/>
          <a:lstStyle>
            <a:lvl1pPr>
              <a:defRPr sz="2211"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32" name="テキスト ボックス 31">
            <a:extLst>
              <a:ext uri="{FF2B5EF4-FFF2-40B4-BE49-F238E27FC236}">
                <a16:creationId xmlns:a16="http://schemas.microsoft.com/office/drawing/2014/main" id="{25669791-F91A-490D-AE90-D7F0E46D1A2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20771773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内容説明用スライド_タイトル+リード">
    <p:spTree>
      <p:nvGrpSpPr>
        <p:cNvPr id="1" name=""/>
        <p:cNvGrpSpPr/>
        <p:nvPr/>
      </p:nvGrpSpPr>
      <p:grpSpPr>
        <a:xfrm>
          <a:off x="0" y="0"/>
          <a:ext cx="0" cy="0"/>
          <a:chOff x="0" y="0"/>
          <a:chExt cx="0" cy="0"/>
        </a:xfrm>
      </p:grpSpPr>
      <p:pic>
        <p:nvPicPr>
          <p:cNvPr id="22" name="Picture 11" descr="ç°å¢ç">
            <a:extLst>
              <a:ext uri="{FF2B5EF4-FFF2-40B4-BE49-F238E27FC236}">
                <a16:creationId xmlns:a16="http://schemas.microsoft.com/office/drawing/2014/main" id="{D72EE375-F29A-474C-80D6-45E6D14C1FC5}"/>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090125" y="368223"/>
            <a:ext cx="537317" cy="507938"/>
          </a:xfrm>
          <a:prstGeom prst="rect">
            <a:avLst/>
          </a:prstGeom>
          <a:noFill/>
          <a:extLst>
            <a:ext uri="{909E8E84-426E-40DD-AFC4-6F175D3DCCD1}">
              <a14:hiddenFill xmlns:a14="http://schemas.microsoft.com/office/drawing/2010/main">
                <a:solidFill>
                  <a:srgbClr val="FFFFFF"/>
                </a:solidFill>
              </a14:hiddenFill>
            </a:ext>
          </a:extLst>
        </p:spPr>
      </p:pic>
      <p:sp>
        <p:nvSpPr>
          <p:cNvPr id="24" name="フリーフォーム: 図形 23">
            <a:extLst>
              <a:ext uri="{FF2B5EF4-FFF2-40B4-BE49-F238E27FC236}">
                <a16:creationId xmlns:a16="http://schemas.microsoft.com/office/drawing/2014/main" id="{D316A16E-8584-4903-990B-BD95BBA90F63}"/>
              </a:ext>
            </a:extLst>
          </p:cNvPr>
          <p:cNvSpPr/>
          <p:nvPr userDrawn="1"/>
        </p:nvSpPr>
        <p:spPr>
          <a:xfrm>
            <a:off x="282801" y="419807"/>
            <a:ext cx="8970005" cy="587854"/>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21"/>
          </a:p>
        </p:txBody>
      </p:sp>
      <p:sp>
        <p:nvSpPr>
          <p:cNvPr id="25" name="フリーフォーム: 図形 24">
            <a:extLst>
              <a:ext uri="{FF2B5EF4-FFF2-40B4-BE49-F238E27FC236}">
                <a16:creationId xmlns:a16="http://schemas.microsoft.com/office/drawing/2014/main" id="{6389BA14-3C27-49E0-95D8-73EE985B7C86}"/>
              </a:ext>
            </a:extLst>
          </p:cNvPr>
          <p:cNvSpPr/>
          <p:nvPr userDrawn="1"/>
        </p:nvSpPr>
        <p:spPr>
          <a:xfrm flipV="1">
            <a:off x="282801" y="648417"/>
            <a:ext cx="8970005" cy="359244"/>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736"/>
          </a:p>
        </p:txBody>
      </p:sp>
      <p:cxnSp>
        <p:nvCxnSpPr>
          <p:cNvPr id="27" name="直線コネクタ 26">
            <a:extLst>
              <a:ext uri="{FF2B5EF4-FFF2-40B4-BE49-F238E27FC236}">
                <a16:creationId xmlns:a16="http://schemas.microsoft.com/office/drawing/2014/main" id="{10FB6288-8694-4998-AA2F-C2FF933481A4}"/>
              </a:ext>
            </a:extLst>
          </p:cNvPr>
          <p:cNvCxnSpPr>
            <a:cxnSpLocks/>
          </p:cNvCxnSpPr>
          <p:nvPr userDrawn="1"/>
        </p:nvCxnSpPr>
        <p:spPr>
          <a:xfrm>
            <a:off x="197897" y="732553"/>
            <a:ext cx="333541" cy="32658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6493546D-0948-4393-9D11-8785B20C3062}"/>
              </a:ext>
            </a:extLst>
          </p:cNvPr>
          <p:cNvCxnSpPr>
            <a:cxnSpLocks/>
          </p:cNvCxnSpPr>
          <p:nvPr userDrawn="1"/>
        </p:nvCxnSpPr>
        <p:spPr>
          <a:xfrm>
            <a:off x="8563447" y="339776"/>
            <a:ext cx="734684" cy="71936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コンテンツ プレースホルダー 18">
            <a:extLst>
              <a:ext uri="{FF2B5EF4-FFF2-40B4-BE49-F238E27FC236}">
                <a16:creationId xmlns:a16="http://schemas.microsoft.com/office/drawing/2014/main" id="{D5428008-C93C-447D-8ECA-E6DC6C99CFF5}"/>
              </a:ext>
            </a:extLst>
          </p:cNvPr>
          <p:cNvSpPr>
            <a:spLocks noGrp="1"/>
          </p:cNvSpPr>
          <p:nvPr userDrawn="1">
            <p:ph sz="quarter" idx="14" hasCustomPrompt="1"/>
          </p:nvPr>
        </p:nvSpPr>
        <p:spPr bwMode="white">
          <a:xfrm>
            <a:off x="287216" y="419807"/>
            <a:ext cx="8271821" cy="228610"/>
          </a:xfrm>
          <a:prstGeom prst="rect">
            <a:avLst/>
          </a:prstGeom>
        </p:spPr>
        <p:txBody>
          <a:bodyPr lIns="180000" tIns="36000" rIns="0" bIns="0" anchor="ctr"/>
          <a:lstStyle>
            <a:lvl1pPr marL="0" indent="0" algn="l">
              <a:buFontTx/>
              <a:buNone/>
              <a:defRPr sz="947" b="1">
                <a:solidFill>
                  <a:schemeClr val="bg1"/>
                </a:solidFill>
                <a:latin typeface="Meiryo UI" panose="020B0604030504040204" pitchFamily="50" charset="-128"/>
                <a:ea typeface="Meiryo UI" panose="020B0604030504040204" pitchFamily="50" charset="-128"/>
              </a:defRPr>
            </a:lvl1pPr>
            <a:lvl2pPr marL="360941" indent="0">
              <a:buFontTx/>
              <a:buNone/>
              <a:defRPr/>
            </a:lvl2pPr>
            <a:lvl3pPr marL="721882" indent="0">
              <a:buFontTx/>
              <a:buNone/>
              <a:defRPr/>
            </a:lvl3pPr>
            <a:lvl4pPr marL="1082823" indent="0">
              <a:buFontTx/>
              <a:buNone/>
              <a:defRPr/>
            </a:lvl4pPr>
            <a:lvl5pPr marL="1443764" indent="0">
              <a:buFontTx/>
              <a:buNone/>
              <a:defRPr/>
            </a:lvl5pPr>
          </a:lstStyle>
          <a:p>
            <a:pPr lvl="0"/>
            <a:r>
              <a:rPr kumimoji="1" lang="ja-JP" altLang="en-US"/>
              <a:t>第</a:t>
            </a:r>
            <a:r>
              <a:rPr kumimoji="1" lang="en-US" altLang="ja-JP"/>
              <a:t>1</a:t>
            </a:r>
            <a:r>
              <a:rPr kumimoji="1" lang="ja-JP" altLang="en-US"/>
              <a:t>階層（例：章タイトル）</a:t>
            </a:r>
          </a:p>
        </p:txBody>
      </p:sp>
      <p:sp>
        <p:nvSpPr>
          <p:cNvPr id="30" name="コンテンツ プレースホルダー 18">
            <a:extLst>
              <a:ext uri="{FF2B5EF4-FFF2-40B4-BE49-F238E27FC236}">
                <a16:creationId xmlns:a16="http://schemas.microsoft.com/office/drawing/2014/main" id="{8E325FC6-CFEA-4EF4-9D97-941D22CFC145}"/>
              </a:ext>
            </a:extLst>
          </p:cNvPr>
          <p:cNvSpPr>
            <a:spLocks noGrp="1"/>
          </p:cNvSpPr>
          <p:nvPr userDrawn="1">
            <p:ph sz="quarter" idx="15" hasCustomPrompt="1"/>
          </p:nvPr>
        </p:nvSpPr>
        <p:spPr bwMode="white">
          <a:xfrm>
            <a:off x="287216" y="191741"/>
            <a:ext cx="8271821" cy="228610"/>
          </a:xfrm>
          <a:prstGeom prst="rect">
            <a:avLst/>
          </a:prstGeom>
        </p:spPr>
        <p:txBody>
          <a:bodyPr lIns="72000" tIns="36000" rIns="0" bIns="0" anchor="ctr"/>
          <a:lstStyle>
            <a:lvl1pPr marL="0" indent="0" algn="l">
              <a:buFontTx/>
              <a:buNone/>
              <a:defRPr sz="947" b="1">
                <a:solidFill>
                  <a:schemeClr val="accent1"/>
                </a:solidFill>
                <a:latin typeface="Meiryo UI" panose="020B0604030504040204" pitchFamily="50" charset="-128"/>
                <a:ea typeface="Meiryo UI" panose="020B0604030504040204" pitchFamily="50" charset="-128"/>
              </a:defRPr>
            </a:lvl1pPr>
            <a:lvl2pPr marL="360941" indent="0">
              <a:buFontTx/>
              <a:buNone/>
              <a:defRPr/>
            </a:lvl2pPr>
            <a:lvl3pPr marL="721882" indent="0">
              <a:buFontTx/>
              <a:buNone/>
              <a:defRPr/>
            </a:lvl3pPr>
            <a:lvl4pPr marL="1082823" indent="0">
              <a:buFontTx/>
              <a:buNone/>
              <a:defRPr/>
            </a:lvl4pPr>
            <a:lvl5pPr marL="1443764" indent="0">
              <a:buFontTx/>
              <a:buNone/>
              <a:defRPr/>
            </a:lvl5pPr>
          </a:lstStyle>
          <a:p>
            <a:pPr lvl="0"/>
            <a:r>
              <a:rPr kumimoji="1" lang="ja-JP" altLang="en-US"/>
              <a:t>第</a:t>
            </a:r>
            <a:r>
              <a:rPr kumimoji="1" lang="en-US" altLang="ja-JP"/>
              <a:t>2</a:t>
            </a:r>
            <a:r>
              <a:rPr kumimoji="1" lang="ja-JP" altLang="en-US"/>
              <a:t>階層（例：表タイトル）</a:t>
            </a:r>
          </a:p>
        </p:txBody>
      </p:sp>
      <p:sp>
        <p:nvSpPr>
          <p:cNvPr id="32" name="コンテンツ プレースホルダー 18">
            <a:extLst>
              <a:ext uri="{FF2B5EF4-FFF2-40B4-BE49-F238E27FC236}">
                <a16:creationId xmlns:a16="http://schemas.microsoft.com/office/drawing/2014/main" id="{B0601DCF-F450-4DBC-97BF-9C8A2C2B569B}"/>
              </a:ext>
            </a:extLst>
          </p:cNvPr>
          <p:cNvSpPr>
            <a:spLocks noGrp="1"/>
          </p:cNvSpPr>
          <p:nvPr userDrawn="1">
            <p:ph sz="quarter" idx="16" hasCustomPrompt="1"/>
          </p:nvPr>
        </p:nvSpPr>
        <p:spPr>
          <a:xfrm>
            <a:off x="531442" y="1012093"/>
            <a:ext cx="8705425" cy="783805"/>
          </a:xfrm>
          <a:prstGeom prst="rect">
            <a:avLst/>
          </a:prstGeom>
        </p:spPr>
        <p:txBody>
          <a:bodyPr lIns="0" tIns="144000" rIns="0" bIns="0" anchor="t"/>
          <a:lstStyle>
            <a:lvl1pPr marL="0" marR="0" indent="0" algn="l" defTabSz="721882" rtl="0" eaLnBrk="1" fontAlgn="auto" latinLnBrk="0" hangingPunct="1">
              <a:lnSpc>
                <a:spcPct val="100000"/>
              </a:lnSpc>
              <a:spcBef>
                <a:spcPts val="0"/>
              </a:spcBef>
              <a:spcAft>
                <a:spcPts val="474"/>
              </a:spcAft>
              <a:buClrTx/>
              <a:buSzTx/>
              <a:buFontTx/>
              <a:buNone/>
              <a:tabLst/>
              <a:defRPr sz="1263" b="1">
                <a:solidFill>
                  <a:srgbClr val="009C89"/>
                </a:solidFill>
                <a:latin typeface="Meiryo UI" panose="020B0604030504040204" pitchFamily="50" charset="-128"/>
                <a:ea typeface="Meiryo UI" panose="020B0604030504040204" pitchFamily="50" charset="-128"/>
              </a:defRPr>
            </a:lvl1pPr>
            <a:lvl2pPr marL="360941" indent="0">
              <a:buFontTx/>
              <a:buNone/>
              <a:defRPr/>
            </a:lvl2pPr>
            <a:lvl3pPr marL="721882" indent="0">
              <a:buFontTx/>
              <a:buNone/>
              <a:defRPr/>
            </a:lvl3pPr>
            <a:lvl4pPr marL="1082823" indent="0">
              <a:buFontTx/>
              <a:buNone/>
              <a:defRPr/>
            </a:lvl4pPr>
            <a:lvl5pPr marL="1443764" indent="0">
              <a:buFontTx/>
              <a:buNone/>
              <a:defRPr/>
            </a:lvl5pPr>
          </a:lstStyle>
          <a:p>
            <a:pPr marL="0" marR="0" lvl="0" indent="0" algn="l" defTabSz="721882" rtl="0" eaLnBrk="1" fontAlgn="auto" latinLnBrk="0" hangingPunct="1">
              <a:lnSpc>
                <a:spcPct val="90000"/>
              </a:lnSpc>
              <a:spcBef>
                <a:spcPts val="789"/>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
        <p:nvSpPr>
          <p:cNvPr id="33" name="テキスト ボックス 32">
            <a:extLst>
              <a:ext uri="{FF2B5EF4-FFF2-40B4-BE49-F238E27FC236}">
                <a16:creationId xmlns:a16="http://schemas.microsoft.com/office/drawing/2014/main" id="{D6203B00-3C4D-4A50-AD59-A9017DC5CA98}"/>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タイトル 97">
            <a:extLst>
              <a:ext uri="{FF2B5EF4-FFF2-40B4-BE49-F238E27FC236}">
                <a16:creationId xmlns:a16="http://schemas.microsoft.com/office/drawing/2014/main" id="{E903700A-BA7D-4341-BD66-3F77B7227C1F}"/>
              </a:ext>
            </a:extLst>
          </p:cNvPr>
          <p:cNvSpPr>
            <a:spLocks noGrp="1"/>
          </p:cNvSpPr>
          <p:nvPr>
            <p:ph type="title" hasCustomPrompt="1"/>
          </p:nvPr>
        </p:nvSpPr>
        <p:spPr>
          <a:xfrm>
            <a:off x="287215" y="648417"/>
            <a:ext cx="8276234" cy="359244"/>
          </a:xfrm>
          <a:prstGeom prst="rect">
            <a:avLst/>
          </a:prstGeom>
        </p:spPr>
        <p:txBody>
          <a:bodyPr lIns="252000" tIns="36000" rIns="0" bIns="0" anchor="ctr" anchorCtr="0"/>
          <a:lstStyle>
            <a:lvl1pPr>
              <a:defRPr sz="1736"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42715837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内容説明用スライド">
    <p:spTree>
      <p:nvGrpSpPr>
        <p:cNvPr id="1" name=""/>
        <p:cNvGrpSpPr/>
        <p:nvPr/>
      </p:nvGrpSpPr>
      <p:grpSpPr>
        <a:xfrm>
          <a:off x="0" y="0"/>
          <a:ext cx="0" cy="0"/>
          <a:chOff x="0" y="0"/>
          <a:chExt cx="0" cy="0"/>
        </a:xfrm>
      </p:grpSpPr>
      <p:sp>
        <p:nvSpPr>
          <p:cNvPr id="99" name="テキスト ボックス 98">
            <a:extLst>
              <a:ext uri="{FF2B5EF4-FFF2-40B4-BE49-F238E27FC236}">
                <a16:creationId xmlns:a16="http://schemas.microsoft.com/office/drawing/2014/main" id="{7455FDF7-D502-4354-BBBF-F7B81E7A92BC}"/>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3" name="グループ化 12">
            <a:extLst>
              <a:ext uri="{FF2B5EF4-FFF2-40B4-BE49-F238E27FC236}">
                <a16:creationId xmlns:a16="http://schemas.microsoft.com/office/drawing/2014/main" id="{FCF3F799-34AF-4E56-848C-1D016ACB3677}"/>
              </a:ext>
            </a:extLst>
          </p:cNvPr>
          <p:cNvGrpSpPr/>
          <p:nvPr userDrawn="1"/>
        </p:nvGrpSpPr>
        <p:grpSpPr>
          <a:xfrm>
            <a:off x="197897" y="339776"/>
            <a:ext cx="9429542" cy="719363"/>
            <a:chOff x="213594" y="2187666"/>
            <a:chExt cx="10177559" cy="792964"/>
          </a:xfrm>
        </p:grpSpPr>
        <p:pic>
          <p:nvPicPr>
            <p:cNvPr id="14" name="Picture 11" descr="ç°å¢ç">
              <a:extLst>
                <a:ext uri="{FF2B5EF4-FFF2-40B4-BE49-F238E27FC236}">
                  <a16:creationId xmlns:a16="http://schemas.microsoft.com/office/drawing/2014/main" id="{3D005F27-E1B5-4D9E-A175-8AE39D9063F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2219029"/>
              <a:ext cx="579941" cy="559908"/>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グループ化 14">
              <a:extLst>
                <a:ext uri="{FF2B5EF4-FFF2-40B4-BE49-F238E27FC236}">
                  <a16:creationId xmlns:a16="http://schemas.microsoft.com/office/drawing/2014/main" id="{BB44DCFF-9840-43B5-A765-993332EAC29C}"/>
                </a:ext>
              </a:extLst>
            </p:cNvPr>
            <p:cNvGrpSpPr/>
            <p:nvPr userDrawn="1"/>
          </p:nvGrpSpPr>
          <p:grpSpPr>
            <a:xfrm>
              <a:off x="213594" y="2187666"/>
              <a:ext cx="9822130" cy="792964"/>
              <a:chOff x="218356" y="2187666"/>
              <a:chExt cx="9822130" cy="792964"/>
            </a:xfrm>
          </p:grpSpPr>
          <p:sp>
            <p:nvSpPr>
              <p:cNvPr id="16" name="フリーフォーム: 図形 15">
                <a:extLst>
                  <a:ext uri="{FF2B5EF4-FFF2-40B4-BE49-F238E27FC236}">
                    <a16:creationId xmlns:a16="http://schemas.microsoft.com/office/drawing/2014/main" id="{FDE73132-D310-448E-A036-E8C3F616277B}"/>
                  </a:ext>
                </a:extLst>
              </p:cNvPr>
              <p:cNvSpPr/>
              <p:nvPr userDrawn="1"/>
            </p:nvSpPr>
            <p:spPr>
              <a:xfrm>
                <a:off x="309996" y="2275892"/>
                <a:ext cx="9681568" cy="648000"/>
              </a:xfrm>
              <a:custGeom>
                <a:avLst/>
                <a:gdLst>
                  <a:gd name="connsiteX0" fmla="*/ 68294 w 9681568"/>
                  <a:gd name="connsiteY0" fmla="*/ 0 h 648000"/>
                  <a:gd name="connsiteX1" fmla="*/ 9033568 w 9681568"/>
                  <a:gd name="connsiteY1" fmla="*/ 0 h 648000"/>
                  <a:gd name="connsiteX2" fmla="*/ 9681568 w 9681568"/>
                  <a:gd name="connsiteY2" fmla="*/ 648000 h 648000"/>
                  <a:gd name="connsiteX3" fmla="*/ 264751 w 9681568"/>
                  <a:gd name="connsiteY3" fmla="*/ 648000 h 648000"/>
                  <a:gd name="connsiteX4" fmla="*/ 0 w 9681568"/>
                  <a:gd name="connsiteY4" fmla="*/ 446523 h 648000"/>
                  <a:gd name="connsiteX5" fmla="*/ 0 w 9681568"/>
                  <a:gd name="connsiteY5" fmla="*/ 51957 h 648000"/>
                  <a:gd name="connsiteX6" fmla="*/ 68294 w 9681568"/>
                  <a:gd name="connsiteY6" fmla="*/ 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1568" h="648000">
                    <a:moveTo>
                      <a:pt x="68294" y="0"/>
                    </a:moveTo>
                    <a:lnTo>
                      <a:pt x="9033568" y="0"/>
                    </a:lnTo>
                    <a:lnTo>
                      <a:pt x="9681568" y="648000"/>
                    </a:lnTo>
                    <a:lnTo>
                      <a:pt x="264751" y="648000"/>
                    </a:lnTo>
                    <a:lnTo>
                      <a:pt x="0" y="446523"/>
                    </a:lnTo>
                    <a:lnTo>
                      <a:pt x="0" y="51957"/>
                    </a:lnTo>
                    <a:cubicBezTo>
                      <a:pt x="0" y="23262"/>
                      <a:pt x="30576" y="0"/>
                      <a:pt x="68294"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7"/>
              </a:p>
            </p:txBody>
          </p:sp>
          <p:sp>
            <p:nvSpPr>
              <p:cNvPr id="17" name="フリーフォーム: 図形 16">
                <a:extLst>
                  <a:ext uri="{FF2B5EF4-FFF2-40B4-BE49-F238E27FC236}">
                    <a16:creationId xmlns:a16="http://schemas.microsoft.com/office/drawing/2014/main" id="{7B773A8B-6EB7-4F64-BA88-F72E7744A559}"/>
                  </a:ext>
                </a:extLst>
              </p:cNvPr>
              <p:cNvSpPr/>
              <p:nvPr userDrawn="1"/>
            </p:nvSpPr>
            <p:spPr>
              <a:xfrm flipV="1">
                <a:off x="309996" y="2527892"/>
                <a:ext cx="9681568" cy="396000"/>
              </a:xfrm>
              <a:custGeom>
                <a:avLst/>
                <a:gdLst>
                  <a:gd name="connsiteX0" fmla="*/ 0 w 9681568"/>
                  <a:gd name="connsiteY0" fmla="*/ 396000 h 396000"/>
                  <a:gd name="connsiteX1" fmla="*/ 9285568 w 9681568"/>
                  <a:gd name="connsiteY1" fmla="*/ 396000 h 396000"/>
                  <a:gd name="connsiteX2" fmla="*/ 9681568 w 9681568"/>
                  <a:gd name="connsiteY2" fmla="*/ 0 h 396000"/>
                  <a:gd name="connsiteX3" fmla="*/ 206973 w 9681568"/>
                  <a:gd name="connsiteY3" fmla="*/ 0 h 396000"/>
                  <a:gd name="connsiteX4" fmla="*/ 0 w 9681568"/>
                  <a:gd name="connsiteY4" fmla="*/ 206973 h 39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81568" h="396000">
                    <a:moveTo>
                      <a:pt x="0" y="396000"/>
                    </a:moveTo>
                    <a:lnTo>
                      <a:pt x="9285568" y="396000"/>
                    </a:lnTo>
                    <a:lnTo>
                      <a:pt x="9681568" y="0"/>
                    </a:lnTo>
                    <a:lnTo>
                      <a:pt x="206973" y="0"/>
                    </a:lnTo>
                    <a:lnTo>
                      <a:pt x="0" y="20697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843"/>
              </a:p>
            </p:txBody>
          </p:sp>
          <p:cxnSp>
            <p:nvCxnSpPr>
              <p:cNvPr id="18" name="直線コネクタ 17">
                <a:extLst>
                  <a:ext uri="{FF2B5EF4-FFF2-40B4-BE49-F238E27FC236}">
                    <a16:creationId xmlns:a16="http://schemas.microsoft.com/office/drawing/2014/main" id="{DD2D1282-6F99-4A95-9BDC-0048DD51F309}"/>
                  </a:ext>
                </a:extLst>
              </p:cNvPr>
              <p:cNvCxnSpPr>
                <a:cxnSpLocks/>
              </p:cNvCxnSpPr>
              <p:nvPr userDrawn="1"/>
            </p:nvCxnSpPr>
            <p:spPr>
              <a:xfrm>
                <a:off x="218356" y="2620630"/>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02A3B294-5ACE-449A-B2EE-9AC0A8AC2506}"/>
                  </a:ext>
                </a:extLst>
              </p:cNvPr>
              <p:cNvCxnSpPr>
                <a:cxnSpLocks/>
              </p:cNvCxnSpPr>
              <p:nvPr userDrawn="1"/>
            </p:nvCxnSpPr>
            <p:spPr>
              <a:xfrm>
                <a:off x="9247522" y="2187666"/>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20" name="コンテンツ プレースホルダー 18">
            <a:extLst>
              <a:ext uri="{FF2B5EF4-FFF2-40B4-BE49-F238E27FC236}">
                <a16:creationId xmlns:a16="http://schemas.microsoft.com/office/drawing/2014/main" id="{A29F1BF5-21A9-4C9F-A42D-6863A1A558CC}"/>
              </a:ext>
            </a:extLst>
          </p:cNvPr>
          <p:cNvSpPr>
            <a:spLocks noGrp="1"/>
          </p:cNvSpPr>
          <p:nvPr>
            <p:ph sz="quarter" idx="14" hasCustomPrompt="1"/>
          </p:nvPr>
        </p:nvSpPr>
        <p:spPr bwMode="white">
          <a:xfrm>
            <a:off x="287216" y="419807"/>
            <a:ext cx="8271821" cy="228610"/>
          </a:xfrm>
          <a:prstGeom prst="rect">
            <a:avLst/>
          </a:prstGeom>
        </p:spPr>
        <p:txBody>
          <a:bodyPr lIns="180000" tIns="36000" rIns="0" bIns="0" anchor="ctr"/>
          <a:lstStyle>
            <a:lvl1pPr marL="0" marR="0" indent="0" algn="l" defTabSz="765772" rtl="0" eaLnBrk="1" fontAlgn="auto" latinLnBrk="0" hangingPunct="1">
              <a:lnSpc>
                <a:spcPct val="90000"/>
              </a:lnSpc>
              <a:spcBef>
                <a:spcPts val="837"/>
              </a:spcBef>
              <a:spcAft>
                <a:spcPts val="0"/>
              </a:spcAft>
              <a:buClrTx/>
              <a:buSzTx/>
              <a:buFontTx/>
              <a:buNone/>
              <a:tabLst/>
              <a:defRPr sz="1005" b="1">
                <a:solidFill>
                  <a:schemeClr val="bg1"/>
                </a:solidFill>
                <a:latin typeface="Meiryo UI" panose="020B0604030504040204" pitchFamily="50" charset="-128"/>
                <a:ea typeface="Meiryo UI" panose="020B0604030504040204" pitchFamily="50" charset="-128"/>
              </a:defRPr>
            </a:lvl1pPr>
            <a:lvl2pPr marL="382886" indent="0">
              <a:buFontTx/>
              <a:buNone/>
              <a:defRPr/>
            </a:lvl2pPr>
            <a:lvl3pPr marL="765772" indent="0">
              <a:buFontTx/>
              <a:buNone/>
              <a:defRPr/>
            </a:lvl3pPr>
            <a:lvl4pPr marL="1148656" indent="0">
              <a:buFontTx/>
              <a:buNone/>
              <a:defRPr/>
            </a:lvl4pPr>
            <a:lvl5pPr marL="1531541" indent="0">
              <a:buFontTx/>
              <a:buNone/>
              <a:defRPr/>
            </a:lvl5pPr>
          </a:lstStyle>
          <a:p>
            <a:pPr marL="0" marR="0" lvl="0" indent="0" algn="l" defTabSz="765772" rtl="0" eaLnBrk="1" fontAlgn="auto" latinLnBrk="0" hangingPunct="1">
              <a:lnSpc>
                <a:spcPct val="90000"/>
              </a:lnSpc>
              <a:spcBef>
                <a:spcPts val="837"/>
              </a:spcBef>
              <a:spcAft>
                <a:spcPts val="0"/>
              </a:spcAft>
              <a:buClrTx/>
              <a:buSzTx/>
              <a:buFontTx/>
              <a:buNone/>
              <a:tabLst/>
              <a:defRPr/>
            </a:pPr>
            <a:r>
              <a:rPr kumimoji="1" lang="ja-JP" altLang="en-US"/>
              <a:t>第</a:t>
            </a:r>
            <a:r>
              <a:rPr kumimoji="1" lang="en-US" altLang="ja-JP"/>
              <a:t>1</a:t>
            </a:r>
            <a:r>
              <a:rPr kumimoji="1" lang="ja-JP" altLang="en-US"/>
              <a:t>階層（例：章タイトル）</a:t>
            </a:r>
          </a:p>
        </p:txBody>
      </p:sp>
      <p:sp>
        <p:nvSpPr>
          <p:cNvPr id="21" name="コンテンツ プレースホルダー 18">
            <a:extLst>
              <a:ext uri="{FF2B5EF4-FFF2-40B4-BE49-F238E27FC236}">
                <a16:creationId xmlns:a16="http://schemas.microsoft.com/office/drawing/2014/main" id="{D98872D5-07FB-4058-92B2-D941A324AEFB}"/>
              </a:ext>
            </a:extLst>
          </p:cNvPr>
          <p:cNvSpPr>
            <a:spLocks noGrp="1"/>
          </p:cNvSpPr>
          <p:nvPr>
            <p:ph sz="quarter" idx="15" hasCustomPrompt="1"/>
          </p:nvPr>
        </p:nvSpPr>
        <p:spPr bwMode="white">
          <a:xfrm>
            <a:off x="287216" y="191741"/>
            <a:ext cx="8271821" cy="228610"/>
          </a:xfrm>
          <a:prstGeom prst="rect">
            <a:avLst/>
          </a:prstGeom>
        </p:spPr>
        <p:txBody>
          <a:bodyPr lIns="72000" tIns="36000" rIns="0" bIns="0" anchor="ctr"/>
          <a:lstStyle>
            <a:lvl1pPr marL="0" indent="0" algn="l">
              <a:buFontTx/>
              <a:buNone/>
              <a:defRPr sz="1005" b="1">
                <a:solidFill>
                  <a:schemeClr val="accent1"/>
                </a:solidFill>
                <a:latin typeface="Meiryo UI" panose="020B0604030504040204" pitchFamily="50" charset="-128"/>
                <a:ea typeface="Meiryo UI" panose="020B0604030504040204" pitchFamily="50" charset="-128"/>
              </a:defRPr>
            </a:lvl1pPr>
            <a:lvl2pPr marL="382886" indent="0">
              <a:buFontTx/>
              <a:buNone/>
              <a:defRPr/>
            </a:lvl2pPr>
            <a:lvl3pPr marL="765772" indent="0">
              <a:buFontTx/>
              <a:buNone/>
              <a:defRPr/>
            </a:lvl3pPr>
            <a:lvl4pPr marL="1148656" indent="0">
              <a:buFontTx/>
              <a:buNone/>
              <a:defRPr/>
            </a:lvl4pPr>
            <a:lvl5pPr marL="1531541" indent="0">
              <a:buFontTx/>
              <a:buNone/>
              <a:defRPr/>
            </a:lvl5pPr>
          </a:lstStyle>
          <a:p>
            <a:pPr lvl="0"/>
            <a:r>
              <a:rPr kumimoji="1" lang="ja-JP" altLang="en-US"/>
              <a:t>第</a:t>
            </a:r>
            <a:r>
              <a:rPr kumimoji="1" lang="en-US" altLang="ja-JP"/>
              <a:t>2</a:t>
            </a:r>
            <a:r>
              <a:rPr kumimoji="1" lang="ja-JP" altLang="en-US"/>
              <a:t>階層（例：表タイトル）</a:t>
            </a:r>
          </a:p>
        </p:txBody>
      </p:sp>
      <p:sp>
        <p:nvSpPr>
          <p:cNvPr id="22" name="タイトル 97">
            <a:extLst>
              <a:ext uri="{FF2B5EF4-FFF2-40B4-BE49-F238E27FC236}">
                <a16:creationId xmlns:a16="http://schemas.microsoft.com/office/drawing/2014/main" id="{00A61ED2-0EA3-4684-9979-E10DD2CC909F}"/>
              </a:ext>
            </a:extLst>
          </p:cNvPr>
          <p:cNvSpPr>
            <a:spLocks noGrp="1"/>
          </p:cNvSpPr>
          <p:nvPr>
            <p:ph type="title" hasCustomPrompt="1"/>
          </p:nvPr>
        </p:nvSpPr>
        <p:spPr>
          <a:xfrm>
            <a:off x="287214" y="648417"/>
            <a:ext cx="8276234" cy="359244"/>
          </a:xfrm>
          <a:prstGeom prst="rect">
            <a:avLst/>
          </a:prstGeom>
        </p:spPr>
        <p:txBody>
          <a:bodyPr lIns="252000" tIns="36000" rIns="0" bIns="0" anchor="ctr" anchorCtr="0"/>
          <a:lstStyle>
            <a:lvl1pPr>
              <a:defRPr sz="1843"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28232242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はじめに・本文">
    <p:spTree>
      <p:nvGrpSpPr>
        <p:cNvPr id="1" name=""/>
        <p:cNvGrpSpPr/>
        <p:nvPr/>
      </p:nvGrpSpPr>
      <p:grpSpPr>
        <a:xfrm>
          <a:off x="0" y="0"/>
          <a:ext cx="0" cy="0"/>
          <a:chOff x="0" y="0"/>
          <a:chExt cx="0" cy="0"/>
        </a:xfrm>
      </p:grpSpPr>
      <p:sp>
        <p:nvSpPr>
          <p:cNvPr id="2" name="タイトル"/>
          <p:cNvSpPr>
            <a:spLocks noGrp="1"/>
          </p:cNvSpPr>
          <p:nvPr>
            <p:ph type="title"/>
          </p:nvPr>
        </p:nvSpPr>
        <p:spPr>
          <a:xfrm>
            <a:off x="1" y="6208"/>
            <a:ext cx="9906000" cy="398463"/>
          </a:xfrm>
        </p:spPr>
        <p:txBody>
          <a:bodyPr/>
          <a:lstStyle>
            <a:lvl1pPr algn="l">
              <a:defRPr sz="3409">
                <a:latin typeface="Meiryo UI" panose="020B0604030504040204" pitchFamily="50" charset="-128"/>
                <a:cs typeface="Meiryo UI" panose="020B0604030504040204" pitchFamily="50" charset="-128"/>
              </a:defRPr>
            </a:lvl1pPr>
          </a:lstStyle>
          <a:p>
            <a:r>
              <a:rPr lang="ja-JP" altLang="en-US"/>
              <a:t>マスター タイトルの書式設定</a:t>
            </a:r>
          </a:p>
        </p:txBody>
      </p:sp>
      <p:pic>
        <p:nvPicPr>
          <p:cNvPr id="5"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5115" y="301448"/>
            <a:ext cx="8872196" cy="461266"/>
          </a:xfrm>
          <a:prstGeom prst="rect">
            <a:avLst/>
          </a:prstGeom>
        </p:spPr>
      </p:pic>
      <p:cxnSp>
        <p:nvCxnSpPr>
          <p:cNvPr id="6" name="直線コネクタ 5">
            <a:extLst>
              <a:ext uri="{FF2B5EF4-FFF2-40B4-BE49-F238E27FC236}">
                <a16:creationId xmlns:a16="http://schemas.microsoft.com/office/drawing/2014/main" id="{EBCF4434-9025-3445-AC58-7DECDD0D5A3D}"/>
              </a:ext>
            </a:extLst>
          </p:cNvPr>
          <p:cNvCxnSpPr>
            <a:cxnSpLocks/>
          </p:cNvCxnSpPr>
          <p:nvPr userDrawn="1"/>
        </p:nvCxnSpPr>
        <p:spPr>
          <a:xfrm>
            <a:off x="239745" y="494222"/>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9" name="直線コネクタ 8">
            <a:extLst>
              <a:ext uri="{FF2B5EF4-FFF2-40B4-BE49-F238E27FC236}">
                <a16:creationId xmlns:a16="http://schemas.microsoft.com/office/drawing/2014/main" id="{9F081F0C-555C-6443-8F74-0430630E7B15}"/>
              </a:ext>
            </a:extLst>
          </p:cNvPr>
          <p:cNvCxnSpPr>
            <a:cxnSpLocks/>
          </p:cNvCxnSpPr>
          <p:nvPr userDrawn="1"/>
        </p:nvCxnSpPr>
        <p:spPr>
          <a:xfrm>
            <a:off x="8626490" y="224550"/>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
        <p:nvSpPr>
          <p:cNvPr id="11" name="スライド番号プレースホルダー 6"/>
          <p:cNvSpPr>
            <a:spLocks noGrp="1"/>
          </p:cNvSpPr>
          <p:nvPr>
            <p:ph type="sldNum" sz="quarter" idx="13"/>
          </p:nvPr>
        </p:nvSpPr>
        <p:spPr>
          <a:xfrm>
            <a:off x="7594601" y="6597352"/>
            <a:ext cx="2311400" cy="260648"/>
          </a:xfrm>
        </p:spPr>
        <p:txBody>
          <a:bodyPr tIns="36000" rIns="72000" bIns="0"/>
          <a:lstStyle>
            <a:lvl1pPr>
              <a:defRPr sz="9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fld id="{C0E165EF-8CF6-4151-AFE5-5BCB0FC607F3}" type="slidenum">
              <a:rPr lang="ja-JP" altLang="en-US" smtClean="0"/>
              <a:pPr>
                <a:defRPr/>
              </a:pPr>
              <a:t>‹#›</a:t>
            </a:fld>
            <a:endParaRPr lang="ja-JP" altLang="en-US" dirty="0"/>
          </a:p>
        </p:txBody>
      </p:sp>
    </p:spTree>
    <p:extLst>
      <p:ext uri="{BB962C8B-B14F-4D97-AF65-F5344CB8AC3E}">
        <p14:creationId xmlns:p14="http://schemas.microsoft.com/office/powerpoint/2010/main" val="3163719976"/>
      </p:ext>
    </p:extLst>
  </p:cSld>
  <p:clrMapOvr>
    <a:masterClrMapping/>
  </p:clrMapOvr>
  <p:transition spd="slow"/>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71852" y="258730"/>
            <a:ext cx="2278558" cy="783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8653"/>
            <a:ext cx="8004988" cy="914439"/>
          </a:xfrm>
          <a:prstGeom prst="rect">
            <a:avLst/>
          </a:prstGeom>
        </p:spPr>
        <p:txBody>
          <a:bodyPr lIns="0" tIns="72000" rIns="0" bIns="0" anchor="ctr" anchorCtr="0">
            <a:normAutofit/>
          </a:bodyPr>
          <a:lstStyle>
            <a:lvl1pPr>
              <a:defRPr lang="ja-JP" altLang="en-US" sz="3079"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42"/>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710"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539"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539"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280668655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11"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203" tIns="39101" rIns="78203" bIns="39101" numCol="1" spcCol="0" rtlCol="0" fromWordArt="0" anchor="ctr" anchorCtr="0" forceAA="0" compatLnSpc="1">
            <a:prstTxWarp prst="textNoShape">
              <a:avLst/>
            </a:prstTxWarp>
            <a:noAutofit/>
          </a:bodyPr>
          <a:lstStyle/>
          <a:p>
            <a:pPr algn="ctr"/>
            <a:endParaRPr kumimoji="1" lang="ja-JP" altLang="en-US" sz="1368">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80"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079"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942"/>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6"/>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16156625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6"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39"/>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9"/>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9"/>
            <a:ext cx="8004988" cy="4572197"/>
          </a:xfrm>
          <a:prstGeom prst="rect">
            <a:avLst/>
          </a:prstGeom>
        </p:spPr>
        <p:txBody>
          <a:bodyPr lIns="360000" tIns="0" rIns="0" bIns="0"/>
          <a:lstStyle>
            <a:lvl1pPr marL="635387" indent="-635387" algn="l">
              <a:lnSpc>
                <a:spcPct val="100000"/>
              </a:lnSpc>
              <a:spcBef>
                <a:spcPts val="855"/>
              </a:spcBef>
              <a:spcAft>
                <a:spcPts val="0"/>
              </a:spcAft>
              <a:buClr>
                <a:schemeClr val="bg2"/>
              </a:buClr>
              <a:buFont typeface="+mj-lt"/>
              <a:buAutoNum type="arabicPeriod"/>
              <a:defRPr sz="3421"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6" y="257881"/>
            <a:ext cx="8605363" cy="587854"/>
          </a:xfrm>
          <a:prstGeom prst="rect">
            <a:avLst/>
          </a:prstGeom>
        </p:spPr>
        <p:txBody>
          <a:bodyPr lIns="252000" tIns="36000" rIns="0" bIns="0" anchor="ctr" anchorCtr="0"/>
          <a:lstStyle>
            <a:lvl1pPr algn="l">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572461" y="6531420"/>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98617520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6"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39"/>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6" y="257881"/>
            <a:ext cx="8605363" cy="587854"/>
          </a:xfrm>
          <a:prstGeom prst="rect">
            <a:avLst/>
          </a:prstGeom>
        </p:spPr>
        <p:txBody>
          <a:bodyPr lIns="252000" tIns="36000" rIns="0" bIns="0" anchor="ctr" anchorCtr="0"/>
          <a:lstStyle>
            <a:lvl1pPr algn="l">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5" y="1007812"/>
            <a:ext cx="9605952" cy="590313"/>
          </a:xfrm>
          <a:prstGeom prst="rect">
            <a:avLst/>
          </a:prstGeom>
          <a:ln w="19050">
            <a:solidFill>
              <a:schemeClr val="tx2"/>
            </a:solidFill>
          </a:ln>
        </p:spPr>
        <p:txBody>
          <a:bodyPr wrap="square" lIns="180000" tIns="180000" rIns="180000" bIns="144000" anchor="t" anchorCtr="0">
            <a:spAutoFit/>
          </a:bodyPr>
          <a:lstStyle>
            <a:lvl1pPr marL="244379" indent="-244379" algn="l">
              <a:lnSpc>
                <a:spcPct val="100000"/>
              </a:lnSpc>
              <a:spcBef>
                <a:spcPts val="513"/>
              </a:spcBef>
              <a:spcAft>
                <a:spcPts val="0"/>
              </a:spcAft>
              <a:buFont typeface="Wingdings" panose="05000000000000000000" pitchFamily="2" charset="2"/>
              <a:buChar char="n"/>
              <a:defRPr sz="171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3" name="テキスト ボックス 2">
            <a:extLst>
              <a:ext uri="{FF2B5EF4-FFF2-40B4-BE49-F238E27FC236}">
                <a16:creationId xmlns:a16="http://schemas.microsoft.com/office/drawing/2014/main" id="{F2BB699A-B226-0DFE-80C4-5B04E7B86998}"/>
              </a:ext>
            </a:extLst>
          </p:cNvPr>
          <p:cNvSpPr txBox="1"/>
          <p:nvPr userDrawn="1"/>
        </p:nvSpPr>
        <p:spPr>
          <a:xfrm>
            <a:off x="9568209" y="6531415"/>
            <a:ext cx="333541" cy="326585"/>
          </a:xfrm>
          <a:prstGeom prst="rect">
            <a:avLst/>
          </a:prstGeom>
          <a:noFill/>
        </p:spPr>
        <p:txBody>
          <a:bodyPr wrap="none" lIns="0" tIns="0" rIns="0" bIns="0" rtlCol="0" anchor="b" anchorCtr="0">
            <a:noAutofit/>
          </a:bodyPr>
          <a:lstStyle/>
          <a:p>
            <a:pPr algn="ctr"/>
            <a:fld id="{9C1B02FA-3B43-4965-97B5-C29D405C4738}" type="slidenum">
              <a:rPr lang="ja-JP" altLang="en-US" sz="900" kern="1200" smtClean="0">
                <a:solidFill>
                  <a:schemeClr val="tx1"/>
                </a:solidFill>
                <a:latin typeface="メイリオ" panose="020B0604030504040204" pitchFamily="50" charset="-128"/>
                <a:ea typeface="メイリオ" panose="020B0604030504040204" pitchFamily="50" charset="-128"/>
                <a:cs typeface="Arial" panose="020B0604020202020204" pitchFamily="34" charset="0"/>
              </a:rPr>
              <a:pPr algn="ctr"/>
              <a:t>‹#›</a:t>
            </a:fld>
            <a:endParaRPr lang="ja-JP" altLang="en-US" sz="900" kern="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8585156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572461" y="6531420"/>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6" y="29271"/>
            <a:ext cx="8605363" cy="228610"/>
          </a:xfrm>
          <a:prstGeom prst="rect">
            <a:avLst/>
          </a:prstGeom>
        </p:spPr>
        <p:txBody>
          <a:bodyPr lIns="0" tIns="0" rIns="0" bIns="0" anchor="ctr" anchorCtr="0"/>
          <a:lstStyle>
            <a:lvl1pPr algn="l">
              <a:defRPr sz="1197"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6"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39"/>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6" y="486491"/>
            <a:ext cx="8605363" cy="359244"/>
          </a:xfrm>
          <a:prstGeom prst="rect">
            <a:avLst/>
          </a:prstGeom>
        </p:spPr>
        <p:txBody>
          <a:bodyPr lIns="252000" tIns="0" rIns="0" bIns="0" anchor="ctr" anchorCtr="0"/>
          <a:lstStyle>
            <a:lvl1pPr algn="l">
              <a:defRPr sz="2052"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6" y="257881"/>
            <a:ext cx="8605363" cy="228610"/>
          </a:xfrm>
          <a:prstGeom prst="rect">
            <a:avLst/>
          </a:prstGeom>
        </p:spPr>
        <p:txBody>
          <a:bodyPr lIns="252000" tIns="0" rIns="0" bIns="0" anchor="ctr" anchorCtr="0"/>
          <a:lstStyle>
            <a:lvl1pPr algn="l">
              <a:defRPr sz="1197"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5" y="1007812"/>
            <a:ext cx="9605952" cy="590313"/>
          </a:xfrm>
          <a:prstGeom prst="rect">
            <a:avLst/>
          </a:prstGeom>
          <a:ln w="19050">
            <a:solidFill>
              <a:schemeClr val="tx2"/>
            </a:solidFill>
          </a:ln>
        </p:spPr>
        <p:txBody>
          <a:bodyPr wrap="square" lIns="180000" tIns="180000" rIns="180000" bIns="144000" anchor="t" anchorCtr="0">
            <a:spAutoFit/>
          </a:bodyPr>
          <a:lstStyle>
            <a:lvl1pPr marL="244379" indent="-244379" algn="l">
              <a:lnSpc>
                <a:spcPct val="100000"/>
              </a:lnSpc>
              <a:spcBef>
                <a:spcPts val="513"/>
              </a:spcBef>
              <a:spcAft>
                <a:spcPts val="0"/>
              </a:spcAft>
              <a:buFont typeface="Wingdings" panose="05000000000000000000" pitchFamily="2" charset="2"/>
              <a:buChar char="n"/>
              <a:defRPr sz="171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132095294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5" y="172148"/>
            <a:ext cx="9005612" cy="293927"/>
          </a:xfrm>
          <a:prstGeom prst="rect">
            <a:avLst/>
          </a:prstGeom>
        </p:spPr>
        <p:txBody>
          <a:bodyPr lIns="72000" tIns="36000" rIns="0" bIns="0" anchor="ctr" anchorCtr="0"/>
          <a:lstStyle>
            <a:lvl1pPr algn="l">
              <a:defRPr sz="1539"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92"/>
            <a:ext cx="9605986" cy="438679"/>
          </a:xfrm>
          <a:prstGeom prst="rect">
            <a:avLst/>
          </a:prstGeom>
          <a:ln w="19050">
            <a:solidFill>
              <a:schemeClr val="tx2"/>
            </a:solidFill>
          </a:ln>
        </p:spPr>
        <p:txBody>
          <a:bodyPr lIns="144000" tIns="144000" rIns="144000" bIns="108000" anchor="t" anchorCtr="0">
            <a:spAutoFit/>
          </a:bodyPr>
          <a:lstStyle>
            <a:lvl1pPr marL="162920" indent="-162920" algn="l">
              <a:lnSpc>
                <a:spcPct val="100000"/>
              </a:lnSpc>
              <a:spcBef>
                <a:spcPts val="513"/>
              </a:spcBef>
              <a:buFont typeface="Wingdings" panose="05000000000000000000" pitchFamily="2" charset="2"/>
              <a:buChar char="n"/>
              <a:defRPr sz="1197"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5"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a:ext>
            </a:extLst>
          </a:blip>
          <a:srcRect/>
          <a:stretch/>
        </p:blipFill>
        <p:spPr bwMode="auto">
          <a:xfrm>
            <a:off x="9394403"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6"/>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0213698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6" y="172148"/>
            <a:ext cx="9185683" cy="293927"/>
          </a:xfrm>
          <a:prstGeom prst="rect">
            <a:avLst/>
          </a:prstGeom>
        </p:spPr>
        <p:txBody>
          <a:bodyPr lIns="72000" tIns="36000" rIns="0" bIns="0" anchor="ctr" anchorCtr="0"/>
          <a:lstStyle>
            <a:lvl1pPr algn="l">
              <a:defRPr sz="1539"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a:stretch>
            <a:fillRect/>
          </a:stretch>
        </p:blipFill>
        <p:spPr>
          <a:xfrm>
            <a:off x="150025" y="6368683"/>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6" y="6368683"/>
            <a:ext cx="1078685" cy="326585"/>
          </a:xfrm>
          <a:prstGeom prst="rect">
            <a:avLst/>
          </a:prstGeom>
          <a:noFill/>
        </p:spPr>
        <p:txBody>
          <a:bodyPr wrap="square" lIns="92365" tIns="0" rIns="0" bIns="0" rtlCol="0" anchor="ctr">
            <a:noAutofit/>
          </a:bodyPr>
          <a:lstStyle/>
          <a:p>
            <a:r>
              <a:rPr lang="ja-JP" altLang="en-US" sz="1026"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8" y="2173436"/>
            <a:ext cx="5021847" cy="261268"/>
          </a:xfrm>
          <a:prstGeom prst="rect">
            <a:avLst/>
          </a:prstGeom>
          <a:noFill/>
        </p:spPr>
        <p:txBody>
          <a:bodyPr wrap="square" lIns="0" tIns="0" bIns="61577" rtlCol="0" anchor="b" anchorCtr="0">
            <a:noAutofit/>
          </a:bodyPr>
          <a:lstStyle/>
          <a:p>
            <a:r>
              <a:rPr lang="en-US" altLang="ja-JP" sz="1292" b="1">
                <a:solidFill>
                  <a:schemeClr val="bg2"/>
                </a:solidFill>
                <a:latin typeface="Meiryo UI" panose="020B0604030504040204" pitchFamily="50" charset="-128"/>
                <a:ea typeface="Meiryo UI" panose="020B0604030504040204" pitchFamily="50" charset="-128"/>
              </a:rPr>
              <a:t>2. </a:t>
            </a:r>
            <a:r>
              <a:rPr lang="ja-JP" altLang="en-US" sz="1292"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1"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4" y="2432672"/>
            <a:ext cx="5019298"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26">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100" y="1236264"/>
            <a:ext cx="8819802" cy="653171"/>
          </a:xfrm>
        </p:spPr>
        <p:txBody>
          <a:bodyPr lIns="108000" tIns="36000" rIns="0" bIns="0" anchor="t" anchorCtr="0">
            <a:noAutofit/>
          </a:bodyPr>
          <a:lstStyle>
            <a:lvl1pPr marL="211007" indent="-211007" algn="l">
              <a:lnSpc>
                <a:spcPct val="120000"/>
              </a:lnSpc>
              <a:spcBef>
                <a:spcPts val="0"/>
              </a:spcBef>
              <a:buFont typeface="+mj-ea"/>
              <a:buAutoNum type="circleNumDbPlain"/>
              <a:defRPr sz="1026">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64"/>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7" y="1399557"/>
            <a:ext cx="1055075" cy="326585"/>
          </a:xfrm>
          <a:prstGeom prst="rect">
            <a:avLst/>
          </a:prstGeom>
          <a:noFill/>
        </p:spPr>
        <p:txBody>
          <a:bodyPr wrap="square" lIns="0" tIns="0" rIns="0" bIns="0" rtlCol="0" anchor="ctr">
            <a:noAutofit/>
          </a:bodyPr>
          <a:lstStyle/>
          <a:p>
            <a:r>
              <a:rPr lang="en-US" altLang="ja-JP" sz="1292" b="1">
                <a:solidFill>
                  <a:schemeClr val="bg2"/>
                </a:solidFill>
                <a:latin typeface="Meiryo UI" panose="020B0604030504040204" pitchFamily="50" charset="-128"/>
                <a:ea typeface="Meiryo UI" panose="020B0604030504040204" pitchFamily="50" charset="-128"/>
              </a:rPr>
              <a:t>1. </a:t>
            </a:r>
            <a:r>
              <a:rPr lang="ja-JP" altLang="en-US" sz="1292"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83"/>
            <a:ext cx="8605363" cy="326585"/>
          </a:xfrm>
        </p:spPr>
        <p:txBody>
          <a:bodyPr lIns="0" tIns="18000" rIns="108000" bIns="0" anchor="ctr">
            <a:noAutofit/>
          </a:bodyPr>
          <a:lstStyle>
            <a:lvl1pPr marL="0" indent="0" algn="l">
              <a:buNone/>
              <a:defRPr sz="1026"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6" y="5458321"/>
            <a:ext cx="900561" cy="228610"/>
          </a:xfrm>
          <a:prstGeom prst="rect">
            <a:avLst/>
          </a:prstGeom>
          <a:noFill/>
        </p:spPr>
        <p:txBody>
          <a:bodyPr wrap="none" lIns="0" tIns="0" rIns="0" bIns="0" rtlCol="0" anchor="ctr">
            <a:noAutofit/>
          </a:bodyPr>
          <a:lstStyle/>
          <a:p>
            <a:pPr algn="dist"/>
            <a:r>
              <a:rPr lang="ja-JP" altLang="en-US" sz="1107">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1"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1"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07">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6" y="5976775"/>
            <a:ext cx="900561" cy="228610"/>
          </a:xfrm>
          <a:prstGeom prst="rect">
            <a:avLst/>
          </a:prstGeom>
          <a:noFill/>
        </p:spPr>
        <p:txBody>
          <a:bodyPr wrap="none" lIns="0" tIns="0" rIns="0" bIns="0" rtlCol="0" anchor="ctr">
            <a:noAutofit/>
          </a:bodyPr>
          <a:lstStyle/>
          <a:p>
            <a:pPr algn="dist"/>
            <a:r>
              <a:rPr lang="ja-JP" altLang="en-US" sz="1107">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63"/>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5" y="447264"/>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07">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5"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5" y="2432677"/>
            <a:ext cx="4190363"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26">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9"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5" y="5717548"/>
            <a:ext cx="900561" cy="228610"/>
          </a:xfrm>
          <a:prstGeom prst="rect">
            <a:avLst/>
          </a:prstGeom>
          <a:noFill/>
        </p:spPr>
        <p:txBody>
          <a:bodyPr wrap="none" lIns="0" tIns="0" rIns="0" bIns="0" rtlCol="0" anchor="ctr">
            <a:noAutofit/>
          </a:bodyPr>
          <a:lstStyle/>
          <a:p>
            <a:pPr algn="dist" defTabSz="153417">
              <a:tabLst/>
            </a:pPr>
            <a:r>
              <a:rPr lang="ja-JP" altLang="en-US" sz="1107">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8" y="5113933"/>
            <a:ext cx="5188617" cy="261268"/>
          </a:xfrm>
          <a:prstGeom prst="rect">
            <a:avLst/>
          </a:prstGeom>
          <a:noFill/>
        </p:spPr>
        <p:txBody>
          <a:bodyPr wrap="square" lIns="0" tIns="0" bIns="61577" rtlCol="0" anchor="b" anchorCtr="0">
            <a:noAutofit/>
          </a:bodyPr>
          <a:lstStyle/>
          <a:p>
            <a:r>
              <a:rPr lang="en-US" altLang="ja-JP" sz="1292" b="1">
                <a:solidFill>
                  <a:schemeClr val="bg2"/>
                </a:solidFill>
                <a:latin typeface="Meiryo UI" panose="020B0604030504040204" pitchFamily="50" charset="-128"/>
                <a:ea typeface="Meiryo UI" panose="020B0604030504040204" pitchFamily="50" charset="-128"/>
              </a:rPr>
              <a:t>3. </a:t>
            </a:r>
            <a:r>
              <a:rPr lang="ja-JP" altLang="en-US" sz="1292"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6" y="5375201"/>
            <a:ext cx="516988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5" y="808024"/>
            <a:ext cx="9588810" cy="326585"/>
          </a:xfrm>
        </p:spPr>
        <p:txBody>
          <a:bodyPr lIns="108000" tIns="36000" rIns="108000" bIns="0" anchor="ctr">
            <a:noAutofit/>
          </a:bodyPr>
          <a:lstStyle>
            <a:lvl1pPr marL="0" indent="0" algn="l">
              <a:buNone/>
              <a:defRPr sz="1197"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086156"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4" y="2173436"/>
            <a:ext cx="3935786" cy="261268"/>
          </a:xfrm>
        </p:spPr>
        <p:txBody>
          <a:bodyPr lIns="0" tIns="0" rIns="0" bIns="72000" anchor="b" anchorCtr="0">
            <a:normAutofit/>
          </a:bodyPr>
          <a:lstStyle>
            <a:lvl1pPr marL="0" indent="0" algn="l">
              <a:buNone/>
              <a:defRPr sz="1292"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6" y="2173436"/>
            <a:ext cx="4169265" cy="261268"/>
          </a:xfrm>
          <a:prstGeom prst="rect">
            <a:avLst/>
          </a:prstGeom>
          <a:noFill/>
        </p:spPr>
        <p:txBody>
          <a:bodyPr wrap="square" lIns="0" tIns="0" bIns="61577" rtlCol="0" anchor="b" anchorCtr="0">
            <a:noAutofit/>
          </a:bodyPr>
          <a:lstStyle/>
          <a:p>
            <a:pPr algn="l"/>
            <a:r>
              <a:rPr lang="en-US" altLang="ja-JP" sz="1292" b="1">
                <a:solidFill>
                  <a:schemeClr val="bg2"/>
                </a:solidFill>
                <a:latin typeface="Meiryo UI" panose="020B0604030504040204" pitchFamily="50" charset="-128"/>
                <a:ea typeface="Meiryo UI" panose="020B0604030504040204" pitchFamily="50" charset="-128"/>
              </a:rPr>
              <a:t>4. </a:t>
            </a:r>
          </a:p>
        </p:txBody>
      </p:sp>
    </p:spTree>
    <p:extLst>
      <p:ext uri="{BB962C8B-B14F-4D97-AF65-F5344CB8AC3E}">
        <p14:creationId xmlns:p14="http://schemas.microsoft.com/office/powerpoint/2010/main" val="325343031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1"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8203" tIns="39101" rIns="78203" bIns="39101" numCol="1" spcCol="0" rtlCol="0" fromWordArt="0" anchor="ctr" anchorCtr="0" forceAA="0" compatLnSpc="1">
            <a:prstTxWarp prst="textNoShape">
              <a:avLst/>
            </a:prstTxWarp>
            <a:noAutofit/>
          </a:bodyPr>
          <a:lstStyle/>
          <a:p>
            <a:pPr algn="ctr"/>
            <a:endParaRPr kumimoji="1" lang="ja-JP" altLang="en-US" sz="1368">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rot="10800000">
            <a:off x="4054893" y="3120327"/>
            <a:ext cx="1796215"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6854741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4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6"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10"/>
            <a:ext cx="9605952" cy="606343"/>
          </a:xfrm>
          <a:prstGeom prst="rect">
            <a:avLst/>
          </a:prstGeom>
          <a:ln w="19050">
            <a:solidFill>
              <a:schemeClr val="tx2"/>
            </a:solidFill>
          </a:ln>
        </p:spPr>
        <p:txBody>
          <a:bodyPr wrap="square" lIns="180000" tIns="180000" rIns="180000" bIns="144000" anchor="t" anchorCtr="0">
            <a:spAutoFit/>
          </a:bodyPr>
          <a:lstStyle>
            <a:lvl1pPr marL="259239" indent="-259239"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88338" y="6531419"/>
            <a:ext cx="333541" cy="326585"/>
          </a:xfrm>
          <a:prstGeom prst="rect">
            <a:avLst/>
          </a:prstGeom>
          <a:noFill/>
        </p:spPr>
        <p:txBody>
          <a:bodyPr wrap="none" lIns="0" tIns="0" rIns="0" bIns="0" rtlCol="0" anchor="b" anchorCtr="0">
            <a:noAutofit/>
          </a:bodyPr>
          <a:lstStyle/>
          <a:p>
            <a:pPr algn="ctr"/>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3" name="テキスト ボックス 2">
            <a:extLst>
              <a:ext uri="{FF2B5EF4-FFF2-40B4-BE49-F238E27FC236}">
                <a16:creationId xmlns:a16="http://schemas.microsoft.com/office/drawing/2014/main" id="{EF0F1A4D-6C39-1129-A963-C83FC86561B6}"/>
              </a:ext>
            </a:extLst>
          </p:cNvPr>
          <p:cNvSpPr txBox="1"/>
          <p:nvPr userDrawn="1"/>
        </p:nvSpPr>
        <p:spPr>
          <a:xfrm>
            <a:off x="9568209" y="6531415"/>
            <a:ext cx="333541" cy="326585"/>
          </a:xfrm>
          <a:prstGeom prst="rect">
            <a:avLst/>
          </a:prstGeom>
          <a:noFill/>
        </p:spPr>
        <p:txBody>
          <a:bodyPr wrap="none" lIns="0" tIns="0" rIns="0" bIns="0" rtlCol="0" anchor="b" anchorCtr="0">
            <a:noAutofit/>
          </a:bodyPr>
          <a:lstStyle/>
          <a:p>
            <a:pPr algn="ctr"/>
            <a:fld id="{9C1B02FA-3B43-4965-97B5-C29D405C4738}" type="slidenum">
              <a:rPr lang="ja-JP" altLang="en-US" sz="900" kern="1200" smtClean="0">
                <a:solidFill>
                  <a:schemeClr val="tx1"/>
                </a:solidFill>
                <a:latin typeface="メイリオ" panose="020B0604030504040204" pitchFamily="50" charset="-128"/>
                <a:ea typeface="メイリオ" panose="020B0604030504040204" pitchFamily="50" charset="-128"/>
                <a:cs typeface="Arial" panose="020B0604020202020204" pitchFamily="34" charset="0"/>
              </a:rPr>
              <a:pPr algn="ctr"/>
              <a:t>‹#›</a:t>
            </a:fld>
            <a:endParaRPr lang="ja-JP" altLang="en-US" sz="900" kern="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6800162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98"/>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48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31798"/>
          </a:xfrm>
          <a:prstGeom prst="rect">
            <a:avLst/>
          </a:prstGeom>
          <a:ln w="19050">
            <a:solidFill>
              <a:schemeClr val="tx2"/>
            </a:solidFill>
          </a:ln>
        </p:spPr>
        <p:txBody>
          <a:bodyPr lIns="180000" tIns="180000" rIns="180000" bIns="144000">
            <a:spAutoFit/>
          </a:bodyPr>
          <a:lstStyle>
            <a:lvl1pPr marL="242544" indent="-242544" algn="l">
              <a:lnSpc>
                <a:spcPct val="100000"/>
              </a:lnSpc>
              <a:spcBef>
                <a:spcPts val="533"/>
              </a:spcBef>
              <a:buFont typeface="Wingdings" panose="05000000000000000000" pitchFamily="2" charset="2"/>
              <a:buChar char="n"/>
              <a:defRPr sz="1776"/>
            </a:lvl1pPr>
            <a:lvl2pPr marL="397659" indent="-155116" algn="l">
              <a:lnSpc>
                <a:spcPct val="100000"/>
              </a:lnSpc>
              <a:spcBef>
                <a:spcPts val="356"/>
              </a:spcBef>
              <a:buFont typeface="Arial" panose="020B0604020202020204" pitchFamily="34" charset="0"/>
              <a:buChar char="•"/>
              <a:defRPr sz="1598"/>
            </a:lvl2pPr>
            <a:lvl3pPr marL="613411" indent="-207291" algn="l">
              <a:lnSpc>
                <a:spcPct val="100000"/>
              </a:lnSpc>
              <a:spcBef>
                <a:spcPts val="177"/>
              </a:spcBef>
              <a:buFont typeface="Wingdings" panose="05000000000000000000" pitchFamily="2" charset="2"/>
              <a:buChar char="ü"/>
              <a:defRPr sz="1422"/>
            </a:lvl3pPr>
            <a:lvl4pPr marL="803780" indent="-191778" algn="l">
              <a:lnSpc>
                <a:spcPct val="100000"/>
              </a:lnSpc>
              <a:spcBef>
                <a:spcPts val="177"/>
              </a:spcBef>
              <a:buFont typeface="Meiryo UI" panose="020B0604030504040204" pitchFamily="50" charset="-128"/>
              <a:buChar char="※"/>
              <a:defRPr sz="1066"/>
            </a:lvl4pPr>
            <a:lvl5pPr algn="l">
              <a:defRPr sz="1776"/>
            </a:lvl5pPr>
          </a:lstStyle>
          <a:p>
            <a:pPr lvl="0"/>
            <a:r>
              <a:rPr kumimoji="1" lang="ja-JP" altLang="en-US"/>
              <a:t>リード文（</a:t>
            </a:r>
            <a:r>
              <a:rPr kumimoji="1" lang="en-US" altLang="ja-JP"/>
              <a:t>Tab</a:t>
            </a:r>
            <a:r>
              <a:rPr kumimoji="1" lang="ja-JP" altLang="en-US"/>
              <a:t>キーで行頭文字を第</a:t>
            </a:r>
            <a:r>
              <a:rPr kumimoji="1" lang="en-US" altLang="ja-JP"/>
              <a:t>4</a:t>
            </a:r>
            <a:r>
              <a:rPr kumimoji="1" lang="ja-JP" altLang="en-US"/>
              <a:t>レベルまで選択できます）</a:t>
            </a:r>
          </a:p>
          <a:p>
            <a:pPr lvl="1"/>
            <a:r>
              <a:rPr kumimoji="1" lang="ja-JP" altLang="en-US"/>
              <a:t>第</a:t>
            </a:r>
            <a:r>
              <a:rPr kumimoji="1" lang="en-US" altLang="ja-JP"/>
              <a:t>2</a:t>
            </a:r>
            <a:r>
              <a:rPr kumimoji="1" lang="ja-JP" altLang="en-US"/>
              <a:t>レベル</a:t>
            </a:r>
          </a:p>
          <a:p>
            <a:pPr lvl="2"/>
            <a:r>
              <a:rPr kumimoji="1" lang="ja-JP" altLang="en-US"/>
              <a:t>第</a:t>
            </a:r>
            <a:r>
              <a:rPr kumimoji="1" lang="en-US" altLang="ja-JP"/>
              <a:t>3</a:t>
            </a:r>
            <a:r>
              <a:rPr kumimoji="1" lang="ja-JP" altLang="en-US"/>
              <a:t>レベル</a:t>
            </a:r>
            <a:endParaRPr kumimoji="1" lang="en-US" altLang="ja-JP"/>
          </a:p>
          <a:p>
            <a:pPr lvl="3"/>
            <a:r>
              <a:rPr kumimoji="1" lang="ja-JP" altLang="en-US"/>
              <a:t>第</a:t>
            </a:r>
            <a:r>
              <a:rPr kumimoji="1" lang="en-US" altLang="ja-JP"/>
              <a:t>4</a:t>
            </a:r>
            <a:r>
              <a:rPr kumimoji="1" lang="ja-JP" altLang="en-US"/>
              <a:t>レベル</a:t>
            </a:r>
          </a:p>
        </p:txBody>
      </p:sp>
      <p:sp>
        <p:nvSpPr>
          <p:cNvPr id="3" name="テキスト ボックス 2">
            <a:extLst>
              <a:ext uri="{FF2B5EF4-FFF2-40B4-BE49-F238E27FC236}">
                <a16:creationId xmlns:a16="http://schemas.microsoft.com/office/drawing/2014/main" id="{0EF6883E-3DE0-B4E0-34A8-1F91A856AE0A}"/>
              </a:ext>
            </a:extLst>
          </p:cNvPr>
          <p:cNvSpPr txBox="1"/>
          <p:nvPr userDrawn="1"/>
        </p:nvSpPr>
        <p:spPr>
          <a:xfrm>
            <a:off x="9568209" y="6531415"/>
            <a:ext cx="333541" cy="326585"/>
          </a:xfrm>
          <a:prstGeom prst="rect">
            <a:avLst/>
          </a:prstGeom>
          <a:noFill/>
        </p:spPr>
        <p:txBody>
          <a:bodyPr wrap="none" lIns="0" tIns="0" rIns="0" bIns="0" rtlCol="0" anchor="b" anchorCtr="0">
            <a:noAutofit/>
          </a:bodyPr>
          <a:lstStyle/>
          <a:p>
            <a:pPr algn="ctr"/>
            <a:fld id="{9C1B02FA-3B43-4965-97B5-C29D405C4738}" type="slidenum">
              <a:rPr lang="ja-JP" altLang="en-US" sz="900" kern="1200" smtClean="0">
                <a:solidFill>
                  <a:schemeClr val="tx1"/>
                </a:solidFill>
                <a:latin typeface="メイリオ" panose="020B0604030504040204" pitchFamily="50" charset="-128"/>
                <a:ea typeface="メイリオ" panose="020B0604030504040204" pitchFamily="50" charset="-128"/>
                <a:cs typeface="Arial" panose="020B0604020202020204" pitchFamily="34" charset="0"/>
              </a:rPr>
              <a:pPr algn="ctr"/>
              <a:t>‹#›</a:t>
            </a:fld>
            <a:endParaRPr lang="ja-JP" altLang="en-US" sz="900" kern="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6413342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9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lIns="90000" tIns="72000" rIns="90000"/>
          <a:lstStyle>
            <a:lvl1pPr>
              <a:defRPr sz="2216" b="1"/>
            </a:lvl1pPr>
          </a:lstStyle>
          <a:p>
            <a:r>
              <a:rPr lang="ja-JP" altLang="en-US"/>
              <a:t>マスター タイトルの書式設定</a:t>
            </a:r>
          </a:p>
        </p:txBody>
      </p:sp>
      <p:sp>
        <p:nvSpPr>
          <p:cNvPr id="3" name="コンテンツ プレースホルダー 2"/>
          <p:cNvSpPr>
            <a:spLocks noGrp="1"/>
          </p:cNvSpPr>
          <p:nvPr>
            <p:ph idx="1" hasCustomPrompt="1"/>
          </p:nvPr>
        </p:nvSpPr>
        <p:spPr>
          <a:xfrm>
            <a:off x="495300" y="1600206"/>
            <a:ext cx="8915400" cy="4525963"/>
          </a:xfrm>
          <a:prstGeom prst="rect">
            <a:avLst/>
          </a:prstGeom>
        </p:spPr>
        <p:txBody>
          <a:bodyPr/>
          <a:lstStyle>
            <a:lvl1pPr marL="0" indent="0">
              <a:buNone/>
              <a:defRPr sz="1477">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defRPr sz="1477">
                <a:latin typeface="Meiryo UI" panose="020B0604030504040204" pitchFamily="50" charset="-128"/>
                <a:ea typeface="Meiryo UI" panose="020B0604030504040204" pitchFamily="50" charset="-128"/>
                <a:cs typeface="Meiryo UI" panose="020B0604030504040204" pitchFamily="50" charset="-128"/>
              </a:defRPr>
            </a:lvl2pPr>
            <a:lvl3pPr>
              <a:defRPr sz="1477">
                <a:latin typeface="Meiryo UI" panose="020B0604030504040204" pitchFamily="50" charset="-128"/>
                <a:ea typeface="Meiryo UI" panose="020B0604030504040204" pitchFamily="50" charset="-128"/>
                <a:cs typeface="Meiryo UI" panose="020B0604030504040204" pitchFamily="50" charset="-128"/>
              </a:defRPr>
            </a:lvl3pPr>
            <a:lvl4pPr>
              <a:defRPr sz="1477">
                <a:latin typeface="Meiryo UI" panose="020B0604030504040204" pitchFamily="50" charset="-128"/>
                <a:ea typeface="Meiryo UI" panose="020B0604030504040204" pitchFamily="50" charset="-128"/>
                <a:cs typeface="Meiryo UI" panose="020B0604030504040204" pitchFamily="50" charset="-128"/>
              </a:defRPr>
            </a:lvl4pPr>
            <a:lvl5pPr>
              <a:defRPr sz="1477">
                <a:latin typeface="Meiryo UI" panose="020B0604030504040204" pitchFamily="50" charset="-128"/>
                <a:ea typeface="Meiryo UI" panose="020B0604030504040204" pitchFamily="50" charset="-128"/>
                <a:cs typeface="Meiryo UI" panose="020B0604030504040204" pitchFamily="50" charset="-128"/>
              </a:defRPr>
            </a:lvl5pPr>
          </a:lstStyle>
          <a:p>
            <a:pPr lvl="0"/>
            <a:r>
              <a:rPr lang="ja-JP" altLang="en-US"/>
              <a:t>■マスター テキストの書式設定</a:t>
            </a:r>
            <a:endParaRPr lang="en-US" altLang="ja-JP"/>
          </a:p>
          <a:p>
            <a:pPr lvl="1"/>
            <a:endParaRPr lang="en-US" altLang="ja-JP"/>
          </a:p>
          <a:p>
            <a:pPr lvl="1"/>
            <a:endParaRPr lang="ja-JP" altLang="en-US"/>
          </a:p>
        </p:txBody>
      </p:sp>
      <p:sp>
        <p:nvSpPr>
          <p:cNvPr id="5" name="コンテンツ プレースホルダー 2"/>
          <p:cNvSpPr>
            <a:spLocks noGrp="1"/>
          </p:cNvSpPr>
          <p:nvPr>
            <p:ph idx="10"/>
          </p:nvPr>
        </p:nvSpPr>
        <p:spPr>
          <a:xfrm>
            <a:off x="114290" y="456128"/>
            <a:ext cx="9664670" cy="812635"/>
          </a:xfrm>
          <a:prstGeom prst="rect">
            <a:avLst/>
          </a:prstGeom>
          <a:ln w="12700">
            <a:solidFill>
              <a:srgbClr val="2483C6"/>
            </a:solidFill>
          </a:ln>
        </p:spPr>
        <p:txBody>
          <a:bodyPr/>
          <a:lstStyle>
            <a:lvl1pPr marL="263874" indent="-263874">
              <a:buFont typeface="Arial" panose="020B0604020202020204" pitchFamily="34" charset="0"/>
              <a:buChar char="•"/>
              <a:defRPr sz="1662">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defRPr sz="1477">
                <a:latin typeface="Meiryo UI" panose="020B0604030504040204" pitchFamily="50" charset="-128"/>
                <a:ea typeface="Meiryo UI" panose="020B0604030504040204" pitchFamily="50" charset="-128"/>
                <a:cs typeface="Meiryo UI" panose="020B0604030504040204" pitchFamily="50" charset="-128"/>
              </a:defRPr>
            </a:lvl2pPr>
            <a:lvl3pPr>
              <a:defRPr sz="1477">
                <a:latin typeface="Meiryo UI" panose="020B0604030504040204" pitchFamily="50" charset="-128"/>
                <a:ea typeface="Meiryo UI" panose="020B0604030504040204" pitchFamily="50" charset="-128"/>
                <a:cs typeface="Meiryo UI" panose="020B0604030504040204" pitchFamily="50" charset="-128"/>
              </a:defRPr>
            </a:lvl3pPr>
            <a:lvl4pPr>
              <a:defRPr sz="1477">
                <a:latin typeface="Meiryo UI" panose="020B0604030504040204" pitchFamily="50" charset="-128"/>
                <a:ea typeface="Meiryo UI" panose="020B0604030504040204" pitchFamily="50" charset="-128"/>
                <a:cs typeface="Meiryo UI" panose="020B0604030504040204" pitchFamily="50" charset="-128"/>
              </a:defRPr>
            </a:lvl4pPr>
            <a:lvl5pPr>
              <a:defRPr sz="1477">
                <a:latin typeface="Meiryo UI" panose="020B0604030504040204" pitchFamily="50" charset="-128"/>
                <a:ea typeface="Meiryo UI" panose="020B0604030504040204" pitchFamily="50" charset="-128"/>
                <a:cs typeface="Meiryo UI" panose="020B0604030504040204" pitchFamily="50" charset="-128"/>
              </a:defRPr>
            </a:lvl5pPr>
          </a:lstStyle>
          <a:p>
            <a:pPr lvl="0"/>
            <a:r>
              <a:rPr lang="ja-JP" altLang="en-US"/>
              <a:t>マスター テキストの書式設定</a:t>
            </a:r>
            <a:endParaRPr lang="en-US" altLang="ja-JP"/>
          </a:p>
          <a:p>
            <a:pPr lvl="1"/>
            <a:endParaRPr lang="en-US" altLang="ja-JP"/>
          </a:p>
          <a:p>
            <a:pPr lvl="1"/>
            <a:endParaRPr lang="ja-JP" altLang="en-US"/>
          </a:p>
        </p:txBody>
      </p:sp>
      <p:sp>
        <p:nvSpPr>
          <p:cNvPr id="4" name="日付プレースホルダー 3"/>
          <p:cNvSpPr>
            <a:spLocks noGrp="1"/>
          </p:cNvSpPr>
          <p:nvPr>
            <p:ph type="dt" sz="half" idx="11"/>
          </p:nvPr>
        </p:nvSpPr>
        <p:spPr>
          <a:xfrm>
            <a:off x="681038" y="6356355"/>
            <a:ext cx="2228850" cy="365125"/>
          </a:xfrm>
          <a:prstGeom prst="rect">
            <a:avLst/>
          </a:prstGeom>
        </p:spPr>
        <p:txBody>
          <a:bodyPr/>
          <a:lstStyle/>
          <a:p>
            <a:pPr>
              <a:defRPr/>
            </a:pPr>
            <a:endParaRPr lang="ja-JP" altLang="en-US"/>
          </a:p>
        </p:txBody>
      </p:sp>
      <p:sp>
        <p:nvSpPr>
          <p:cNvPr id="6" name="フッター プレースホルダー 5"/>
          <p:cNvSpPr>
            <a:spLocks noGrp="1"/>
          </p:cNvSpPr>
          <p:nvPr>
            <p:ph type="ftr" sz="quarter" idx="12"/>
          </p:nvPr>
        </p:nvSpPr>
        <p:spPr>
          <a:xfrm>
            <a:off x="3281363" y="6356355"/>
            <a:ext cx="3343275" cy="365125"/>
          </a:xfrm>
          <a:prstGeom prst="rect">
            <a:avLst/>
          </a:prstGeom>
        </p:spPr>
        <p:txBody>
          <a:bodyPr/>
          <a:lstStyle/>
          <a:p>
            <a:pPr>
              <a:defRPr/>
            </a:pPr>
            <a:endParaRPr lang="ja-JP" altLang="en-US"/>
          </a:p>
        </p:txBody>
      </p:sp>
      <p:sp>
        <p:nvSpPr>
          <p:cNvPr id="7" name="スライド番号プレースホルダー 6"/>
          <p:cNvSpPr>
            <a:spLocks noGrp="1"/>
          </p:cNvSpPr>
          <p:nvPr>
            <p:ph type="sldNum" sz="quarter" idx="13"/>
          </p:nvPr>
        </p:nvSpPr>
        <p:spPr>
          <a:xfrm>
            <a:off x="7594601" y="6597352"/>
            <a:ext cx="2311400" cy="260648"/>
          </a:xfrm>
        </p:spPr>
        <p:txBody>
          <a:bodyPr tIns="36000" rIns="72000" bIns="0"/>
          <a:lstStyle>
            <a:lvl1pPr>
              <a:defRPr sz="9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a:defRPr/>
            </a:pPr>
            <a:fld id="{C0E165EF-8CF6-4151-AFE5-5BCB0FC607F3}" type="slidenum">
              <a:rPr lang="ja-JP" altLang="en-US" smtClean="0"/>
              <a:pPr>
                <a:defRPr/>
              </a:pPr>
              <a:t>‹#›</a:t>
            </a:fld>
            <a:endParaRPr lang="ja-JP" altLang="en-US" dirty="0"/>
          </a:p>
        </p:txBody>
      </p:sp>
      <p:pic>
        <p:nvPicPr>
          <p:cNvPr id="8" name="グラフィックス 3">
            <a:extLst>
              <a:ext uri="{FF2B5EF4-FFF2-40B4-BE49-F238E27FC236}">
                <a16:creationId xmlns:a16="http://schemas.microsoft.com/office/drawing/2014/main" id="{DFC3FEA0-0269-A340-8AC0-2EE9382B6D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95115" y="301448"/>
            <a:ext cx="8872196" cy="461266"/>
          </a:xfrm>
          <a:prstGeom prst="rect">
            <a:avLst/>
          </a:prstGeom>
        </p:spPr>
      </p:pic>
      <p:cxnSp>
        <p:nvCxnSpPr>
          <p:cNvPr id="9" name="直線コネクタ 8">
            <a:extLst>
              <a:ext uri="{FF2B5EF4-FFF2-40B4-BE49-F238E27FC236}">
                <a16:creationId xmlns:a16="http://schemas.microsoft.com/office/drawing/2014/main" id="{EBCF4434-9025-3445-AC58-7DECDD0D5A3D}"/>
              </a:ext>
            </a:extLst>
          </p:cNvPr>
          <p:cNvCxnSpPr>
            <a:cxnSpLocks/>
          </p:cNvCxnSpPr>
          <p:nvPr userDrawn="1"/>
        </p:nvCxnSpPr>
        <p:spPr>
          <a:xfrm>
            <a:off x="239745" y="494222"/>
            <a:ext cx="359245" cy="352637"/>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cxnSp>
        <p:nvCxnSpPr>
          <p:cNvPr id="10" name="直線コネクタ 9">
            <a:extLst>
              <a:ext uri="{FF2B5EF4-FFF2-40B4-BE49-F238E27FC236}">
                <a16:creationId xmlns:a16="http://schemas.microsoft.com/office/drawing/2014/main" id="{9F081F0C-555C-6443-8F74-0430630E7B15}"/>
              </a:ext>
            </a:extLst>
          </p:cNvPr>
          <p:cNvCxnSpPr>
            <a:cxnSpLocks/>
          </p:cNvCxnSpPr>
          <p:nvPr userDrawn="1"/>
        </p:nvCxnSpPr>
        <p:spPr>
          <a:xfrm>
            <a:off x="8626490" y="224550"/>
            <a:ext cx="633971" cy="623779"/>
          </a:xfrm>
          <a:prstGeom prst="line">
            <a:avLst/>
          </a:prstGeom>
          <a:ln w="1270">
            <a:solidFill>
              <a:srgbClr val="009C8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42669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0_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4"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39"/>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395"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5" y="1007807"/>
            <a:ext cx="9605953" cy="1285311"/>
          </a:xfrm>
          <a:prstGeom prst="rect">
            <a:avLst/>
          </a:prstGeom>
          <a:ln w="19050">
            <a:solidFill>
              <a:schemeClr val="tx2"/>
            </a:solidFill>
          </a:ln>
        </p:spPr>
        <p:txBody>
          <a:bodyPr lIns="180000" tIns="180000" rIns="180000" bIns="144000">
            <a:spAutoFit/>
          </a:bodyPr>
          <a:lstStyle>
            <a:lvl1pPr marL="233513" indent="-233513" algn="l">
              <a:lnSpc>
                <a:spcPct val="100000"/>
              </a:lnSpc>
              <a:spcBef>
                <a:spcPts val="513"/>
              </a:spcBef>
              <a:buFont typeface="Wingdings" panose="05000000000000000000" pitchFamily="2" charset="2"/>
              <a:buChar char="n"/>
              <a:defRPr sz="1710"/>
            </a:lvl1pPr>
            <a:lvl2pPr marL="382855" indent="-149340" algn="l">
              <a:lnSpc>
                <a:spcPct val="100000"/>
              </a:lnSpc>
              <a:spcBef>
                <a:spcPts val="342"/>
              </a:spcBef>
              <a:buFont typeface="Arial" panose="020B0604020202020204" pitchFamily="34" charset="0"/>
              <a:buChar char="•"/>
              <a:defRPr sz="1539"/>
            </a:lvl2pPr>
            <a:lvl3pPr marL="590573" indent="-199573" algn="l">
              <a:lnSpc>
                <a:spcPct val="100000"/>
              </a:lnSpc>
              <a:spcBef>
                <a:spcPts val="171"/>
              </a:spcBef>
              <a:buFont typeface="Wingdings" panose="05000000000000000000" pitchFamily="2" charset="2"/>
              <a:buChar char="ü"/>
              <a:defRPr sz="1368"/>
            </a:lvl3pPr>
            <a:lvl4pPr marL="773854" indent="-184639" algn="l">
              <a:lnSpc>
                <a:spcPct val="100000"/>
              </a:lnSpc>
              <a:spcBef>
                <a:spcPts val="171"/>
              </a:spcBef>
              <a:buFont typeface="Meiryo UI" panose="020B0604030504040204" pitchFamily="50" charset="-128"/>
              <a:buChar char="※"/>
              <a:defRPr sz="1026"/>
            </a:lvl4pPr>
            <a:lvl5pPr algn="l">
              <a:defRPr sz="1710"/>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
        <p:nvSpPr>
          <p:cNvPr id="4" name="テキスト ボックス 3">
            <a:extLst>
              <a:ext uri="{FF2B5EF4-FFF2-40B4-BE49-F238E27FC236}">
                <a16:creationId xmlns:a16="http://schemas.microsoft.com/office/drawing/2014/main" id="{881E1341-E1A1-3B94-A48A-0B06309CD93B}"/>
              </a:ext>
            </a:extLst>
          </p:cNvPr>
          <p:cNvSpPr txBox="1"/>
          <p:nvPr userDrawn="1"/>
        </p:nvSpPr>
        <p:spPr>
          <a:xfrm>
            <a:off x="9589207" y="6436828"/>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119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539"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42788006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0"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5" y="5715298"/>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cstate="hqprint">
              <a:extLst>
                <a:ext uri="{28A0092B-C50C-407E-A947-70E740481C1C}">
                  <a14:useLocalDpi xmlns:a14="http://schemas.microsoft.com/office/drawing/2010/main"/>
                </a:ext>
              </a:extLst>
            </a:blip>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4045878" y="1359900"/>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9" y="2714144"/>
            <a:ext cx="7989045" cy="1441483"/>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41492" y="2718651"/>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a:t>0000</a:t>
            </a:r>
            <a:r>
              <a:rPr kumimoji="1" lang="ja-JP" altLang="en-US"/>
              <a:t>年</a:t>
            </a:r>
            <a:r>
              <a:rPr kumimoji="1" lang="en-US" altLang="ja-JP"/>
              <a:t>00</a:t>
            </a:r>
            <a:r>
              <a:rPr kumimoji="1" lang="ja-JP" altLang="en-US"/>
              <a:t>月</a:t>
            </a:r>
            <a:r>
              <a:rPr kumimoji="1" lang="en-US" altLang="ja-JP"/>
              <a:t>00</a:t>
            </a:r>
            <a:r>
              <a:rPr kumimoji="1" lang="ja-JP" altLang="en-US"/>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a:t>所属　名前</a:t>
            </a:r>
          </a:p>
        </p:txBody>
      </p:sp>
    </p:spTree>
    <p:extLst>
      <p:ext uri="{BB962C8B-B14F-4D97-AF65-F5344CB8AC3E}">
        <p14:creationId xmlns:p14="http://schemas.microsoft.com/office/powerpoint/2010/main" val="424075835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10"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9"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42390974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9"/>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9"/>
            <a:ext cx="8004988" cy="4572197"/>
          </a:xfrm>
          <a:prstGeom prst="rect">
            <a:avLst/>
          </a:prstGeom>
        </p:spPr>
        <p:txBody>
          <a:bodyPr lIns="360000" tIns="0" rIns="0" bIns="0"/>
          <a:lstStyle>
            <a:lvl1pPr marL="674021" indent="-674021"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a:t>章タイトル</a:t>
            </a:r>
          </a:p>
          <a:p>
            <a:pPr lvl="0"/>
            <a:r>
              <a:rPr kumimoji="1" lang="ja-JP" altLang="en-US"/>
              <a:t>章タイトル</a:t>
            </a:r>
          </a:p>
          <a:p>
            <a:pPr lvl="0"/>
            <a:r>
              <a:rPr kumimoji="1" lang="ja-JP" altLang="en-US"/>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7"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Tree>
    <p:extLst>
      <p:ext uri="{BB962C8B-B14F-4D97-AF65-F5344CB8AC3E}">
        <p14:creationId xmlns:p14="http://schemas.microsoft.com/office/powerpoint/2010/main" val="11035172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633"/>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6"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10"/>
            <a:ext cx="9605952" cy="606343"/>
          </a:xfrm>
          <a:prstGeom prst="rect">
            <a:avLst/>
          </a:prstGeom>
          <a:ln w="19050">
            <a:solidFill>
              <a:schemeClr val="tx2"/>
            </a:solidFill>
          </a:ln>
        </p:spPr>
        <p:txBody>
          <a:bodyPr wrap="square" lIns="180000" tIns="180000" rIns="180000" bIns="144000" anchor="t" anchorCtr="0">
            <a:spAutoFit/>
          </a:bodyPr>
          <a:lstStyle>
            <a:lvl1pPr marL="259239" indent="-259239"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
        <p:nvSpPr>
          <p:cNvPr id="4" name="テキスト ボックス 3">
            <a:extLst>
              <a:ext uri="{FF2B5EF4-FFF2-40B4-BE49-F238E27FC236}">
                <a16:creationId xmlns:a16="http://schemas.microsoft.com/office/drawing/2014/main" id="{A90AC5F7-B953-E353-F709-A703BD76DB17}"/>
              </a:ext>
            </a:extLst>
          </p:cNvPr>
          <p:cNvSpPr txBox="1"/>
          <p:nvPr userDrawn="1"/>
        </p:nvSpPr>
        <p:spPr>
          <a:xfrm>
            <a:off x="9568209" y="6531415"/>
            <a:ext cx="333541" cy="326585"/>
          </a:xfrm>
          <a:prstGeom prst="rect">
            <a:avLst/>
          </a:prstGeom>
          <a:noFill/>
        </p:spPr>
        <p:txBody>
          <a:bodyPr wrap="none" lIns="0" tIns="0" rIns="0" bIns="0" rtlCol="0" anchor="b" anchorCtr="0">
            <a:noAutofit/>
          </a:bodyPr>
          <a:lstStyle/>
          <a:p>
            <a:pPr algn="ctr"/>
            <a:fld id="{9C1B02FA-3B43-4965-97B5-C29D405C4738}" type="slidenum">
              <a:rPr lang="ja-JP" altLang="en-US" sz="900" kern="1200" smtClean="0">
                <a:solidFill>
                  <a:schemeClr val="tx1"/>
                </a:solidFill>
                <a:latin typeface="メイリオ" panose="020B0604030504040204" pitchFamily="50" charset="-128"/>
                <a:ea typeface="メイリオ" panose="020B0604030504040204" pitchFamily="50" charset="-128"/>
                <a:cs typeface="Arial" panose="020B0604020202020204" pitchFamily="34" charset="0"/>
              </a:rPr>
              <a:pPr algn="ctr"/>
              <a:t>‹#›</a:t>
            </a:fld>
            <a:endParaRPr lang="ja-JP" altLang="en-US" sz="900" kern="1200" dirty="0">
              <a:solidFill>
                <a:schemeClr val="tx1"/>
              </a:solidFill>
              <a:latin typeface="メイリオ" panose="020B0604030504040204" pitchFamily="50" charset="-128"/>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05442108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5"/>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6"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1</a:t>
            </a:r>
            <a:r>
              <a:rPr kumimoji="1" lang="ja-JP" altLang="en-US"/>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633"/>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6"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6"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a:t>第</a:t>
            </a:r>
            <a:r>
              <a:rPr kumimoji="1" lang="en-US" altLang="ja-JP"/>
              <a:t>2</a:t>
            </a:r>
            <a:r>
              <a:rPr kumimoji="1" lang="ja-JP" altLang="en-US"/>
              <a:t>階層（例：章タイトル）</a:t>
            </a:r>
          </a:p>
        </p:txBody>
      </p:sp>
      <p:sp>
        <p:nvSpPr>
          <p:cNvPr id="19" name="コンテンツ プレースホルダー 3">
            <a:extLst>
              <a:ext uri="{FF2B5EF4-FFF2-40B4-BE49-F238E27FC236}">
                <a16:creationId xmlns:a16="http://schemas.microsoft.com/office/drawing/2014/main" id="{EDF4FE31-3A07-443C-9CD8-C81650AD9D2F}"/>
              </a:ext>
            </a:extLst>
          </p:cNvPr>
          <p:cNvSpPr>
            <a:spLocks noGrp="1"/>
          </p:cNvSpPr>
          <p:nvPr>
            <p:ph sz="quarter" idx="12" hasCustomPrompt="1"/>
          </p:nvPr>
        </p:nvSpPr>
        <p:spPr>
          <a:xfrm>
            <a:off x="150024" y="1007810"/>
            <a:ext cx="9605952" cy="606343"/>
          </a:xfrm>
          <a:prstGeom prst="rect">
            <a:avLst/>
          </a:prstGeom>
          <a:ln w="19050">
            <a:solidFill>
              <a:schemeClr val="tx2"/>
            </a:solidFill>
          </a:ln>
        </p:spPr>
        <p:txBody>
          <a:bodyPr wrap="square" lIns="180000" tIns="180000" rIns="180000" bIns="144000" anchor="t" anchorCtr="0">
            <a:spAutoFit/>
          </a:bodyPr>
          <a:lstStyle>
            <a:lvl1pPr marL="259239" indent="-259239"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31354501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7"/>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p:ph sz="quarter" idx="12" hasCustomPrompt="1"/>
          </p:nvPr>
        </p:nvSpPr>
        <p:spPr>
          <a:xfrm>
            <a:off x="150024" y="531391"/>
            <a:ext cx="9605986" cy="449899"/>
          </a:xfrm>
          <a:prstGeom prst="rect">
            <a:avLst/>
          </a:prstGeom>
          <a:ln w="19050">
            <a:solidFill>
              <a:schemeClr val="tx2"/>
            </a:solidFill>
          </a:ln>
        </p:spPr>
        <p:txBody>
          <a:bodyPr lIns="144000" tIns="144000" rIns="144000" bIns="108000" anchor="t" anchorCtr="0">
            <a:spAutoFit/>
          </a:bodyPr>
          <a:lstStyle>
            <a:lvl1pPr marL="172826" indent="-172826" algn="l">
              <a:lnSpc>
                <a:spcPct val="100000"/>
              </a:lnSpc>
              <a:spcBef>
                <a:spcPts val="544"/>
              </a:spcBef>
              <a:buFont typeface="Wingdings" panose="05000000000000000000" pitchFamily="2" charset="2"/>
              <a:buChar char="n"/>
              <a:defRPr sz="1270" b="0">
                <a:solidFill>
                  <a:schemeClr val="tx1"/>
                </a:solidFill>
                <a:latin typeface="Meiryo UI" panose="020B0604030504040204" pitchFamily="50" charset="-128"/>
                <a:ea typeface="Meiryo UI" panose="020B0604030504040204" pitchFamily="50" charset="-128"/>
              </a:defRPr>
            </a:lvl1pPr>
          </a:lstStyle>
          <a:p>
            <a:pPr lvl="0"/>
            <a:r>
              <a:rPr kumimoji="1" lang="ja-JP" altLang="en-US"/>
              <a:t>リードリードリードリードリードリードリードリードリードリードリードリードリードリードリードリードリードリードリードリードリードリードリードリードリードリード</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5"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a:ext>
            </a:extLst>
          </a:blip>
          <a:srcRect/>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572066" y="6489158"/>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900"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24489396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7"/>
            <a:ext cx="9185684"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50024" y="6368682"/>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5" y="6368682"/>
            <a:ext cx="1078684" cy="326585"/>
          </a:xfrm>
          <a:prstGeom prst="rect">
            <a:avLst/>
          </a:prstGeom>
          <a:noFill/>
        </p:spPr>
        <p:txBody>
          <a:bodyPr wrap="square" lIns="97976" tIns="0" rIns="0" bIns="0" rtlCol="0" anchor="ctr">
            <a:noAutofit/>
          </a:bodyPr>
          <a:lstStyle/>
          <a:p>
            <a:r>
              <a:rPr lang="ja-JP" altLang="en-US" sz="1089" b="1">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7" y="2173436"/>
            <a:ext cx="5021847"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2. </a:t>
            </a:r>
            <a:r>
              <a:rPr lang="ja-JP" altLang="en-US" sz="1371" b="1">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赤色の吹出しに示した選択肢の中から選択して記載</a:t>
            </a:r>
            <a:endParaRPr kumimoji="1" lang="en-US" altLang="ja-JP"/>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6"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内容を説明</a:t>
            </a:r>
            <a:endParaRPr kumimoji="1" lang="en-US" altLang="ja-JP"/>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63"/>
            <a:ext cx="8819803" cy="653171"/>
          </a:xfrm>
        </p:spPr>
        <p:txBody>
          <a:bodyPr lIns="108000" tIns="36000" rIns="0" bIns="0" anchor="t" anchorCtr="0">
            <a:noAutofit/>
          </a:bodyPr>
          <a:lstStyle>
            <a:lvl1pPr marL="223837" indent="-223837"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事業の目的を箇条書きで記載。</a:t>
            </a:r>
            <a:endParaRPr kumimoji="1" lang="en-US" altLang="ja-JP"/>
          </a:p>
          <a:p>
            <a:pPr lvl="0"/>
            <a:r>
              <a:rPr kumimoji="1" lang="ja-JP" altLang="en-US"/>
              <a:t>　</a:t>
            </a:r>
            <a:endParaRPr kumimoji="1" lang="en-US" altLang="ja-JP"/>
          </a:p>
          <a:p>
            <a:pPr lvl="0"/>
            <a:r>
              <a:rPr kumimoji="1" lang="ja-JP" altLang="en-US"/>
              <a:t>　</a:t>
            </a:r>
          </a:p>
          <a:p>
            <a:pPr lvl="0"/>
            <a:endParaRPr kumimoji="1" lang="en-US" altLang="ja-JP"/>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63"/>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7" y="1399556"/>
            <a:ext cx="1055075" cy="326585"/>
          </a:xfrm>
          <a:prstGeom prst="rect">
            <a:avLst/>
          </a:prstGeom>
          <a:noFill/>
        </p:spPr>
        <p:txBody>
          <a:bodyPr wrap="square" lIns="0" tIns="0" rIns="0" bIns="0" rtlCol="0" anchor="ctr">
            <a:noAutofit/>
          </a:bodyPr>
          <a:lstStyle/>
          <a:p>
            <a:r>
              <a:rPr lang="en-US" altLang="ja-JP" sz="1371" b="1">
                <a:solidFill>
                  <a:schemeClr val="bg2"/>
                </a:solidFill>
                <a:latin typeface="Meiryo UI" panose="020B0604030504040204" pitchFamily="50" charset="-128"/>
                <a:ea typeface="Meiryo UI" panose="020B0604030504040204" pitchFamily="50" charset="-128"/>
              </a:rPr>
              <a:t>1. </a:t>
            </a:r>
            <a:r>
              <a:rPr lang="ja-JP" altLang="en-US" sz="1371" b="1">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82"/>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6" y="5458321"/>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6" y="5976775"/>
            <a:ext cx="900561" cy="228610"/>
          </a:xfrm>
          <a:prstGeom prst="rect">
            <a:avLst/>
          </a:prstGeom>
          <a:noFill/>
        </p:spPr>
        <p:txBody>
          <a:bodyPr wrap="none" lIns="0" tIns="0" rIns="0" bIns="0" rtlCol="0" anchor="ctr">
            <a:noAutofit/>
          </a:bodyPr>
          <a:lstStyle/>
          <a:p>
            <a:pPr algn="dist"/>
            <a:r>
              <a:rPr lang="ja-JP" altLang="en-US" sz="1175">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63"/>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5" y="447263"/>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a:t>【</a:t>
            </a:r>
            <a:r>
              <a:rPr kumimoji="1" lang="ja-JP" altLang="en-US"/>
              <a:t>令和２年度要求額 </a:t>
            </a:r>
            <a:r>
              <a:rPr kumimoji="1" lang="en-US" altLang="ja-JP"/>
              <a:t>0,000</a:t>
            </a:r>
            <a:r>
              <a:rPr kumimoji="1" lang="ja-JP" altLang="en-US"/>
              <a:t>百万円（</a:t>
            </a:r>
            <a:r>
              <a:rPr kumimoji="1" lang="en-US" altLang="ja-JP"/>
              <a:t>0,000</a:t>
            </a:r>
            <a:r>
              <a:rPr kumimoji="1" lang="ja-JP" altLang="en-US"/>
              <a:t>百万円）</a:t>
            </a:r>
            <a:r>
              <a:rPr kumimoji="1" lang="en-US" altLang="ja-JP"/>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6"/>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9"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5" y="5717548"/>
            <a:ext cx="900561" cy="228610"/>
          </a:xfrm>
          <a:prstGeom prst="rect">
            <a:avLst/>
          </a:prstGeom>
          <a:noFill/>
        </p:spPr>
        <p:txBody>
          <a:bodyPr wrap="none" lIns="0" tIns="0" rIns="0" bIns="0" rtlCol="0" anchor="ctr">
            <a:noAutofit/>
          </a:bodyPr>
          <a:lstStyle/>
          <a:p>
            <a:pPr algn="dist" defTabSz="162745">
              <a:tabLst/>
            </a:pPr>
            <a:r>
              <a:rPr lang="ja-JP" altLang="en-US" sz="1175">
                <a:solidFill>
                  <a:schemeClr val="tx1"/>
                </a:solidFill>
                <a:latin typeface="Meiryo UI" panose="020B0604030504040204" pitchFamily="50" charset="-128"/>
                <a:ea typeface="Meiryo UI" panose="020B0604030504040204" pitchFamily="50" charset="-128"/>
              </a:rPr>
              <a:t>■選　　　択：</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6" y="5113933"/>
            <a:ext cx="5188618" cy="261268"/>
          </a:xfrm>
          <a:prstGeom prst="rect">
            <a:avLst/>
          </a:prstGeom>
          <a:noFill/>
        </p:spPr>
        <p:txBody>
          <a:bodyPr wrap="square" lIns="0" tIns="0" bIns="65317" rtlCol="0" anchor="b" anchorCtr="0">
            <a:noAutofit/>
          </a:bodyPr>
          <a:lstStyle/>
          <a:p>
            <a:r>
              <a:rPr lang="en-US" altLang="ja-JP" sz="1371" b="1">
                <a:solidFill>
                  <a:schemeClr val="bg2"/>
                </a:solidFill>
                <a:latin typeface="Meiryo UI" panose="020B0604030504040204" pitchFamily="50" charset="-128"/>
                <a:ea typeface="Meiryo UI" panose="020B0604030504040204" pitchFamily="50" charset="-128"/>
              </a:rPr>
              <a:t>3. </a:t>
            </a:r>
            <a:r>
              <a:rPr lang="ja-JP" altLang="en-US" sz="1371" b="1">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5"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4"/>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086156"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a:t>補助対象、支援対象の例、事業イメージ </a:t>
            </a:r>
            <a:r>
              <a:rPr kumimoji="1" lang="en-US" altLang="ja-JP"/>
              <a:t>etc.</a:t>
            </a:r>
            <a:endParaRPr kumimoji="1" lang="ja-JP" altLang="en-US"/>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6" y="2173436"/>
            <a:ext cx="4169265" cy="261268"/>
          </a:xfrm>
          <a:prstGeom prst="rect">
            <a:avLst/>
          </a:prstGeom>
          <a:noFill/>
        </p:spPr>
        <p:txBody>
          <a:bodyPr wrap="square" lIns="0" tIns="0" bIns="65317" rtlCol="0" anchor="b" anchorCtr="0">
            <a:noAutofit/>
          </a:bodyPr>
          <a:lstStyle/>
          <a:p>
            <a:pPr algn="l"/>
            <a:r>
              <a:rPr lang="en-US" altLang="ja-JP" sz="1371" b="1">
                <a:solidFill>
                  <a:schemeClr val="bg2"/>
                </a:solidFill>
                <a:latin typeface="Meiryo UI" panose="020B0604030504040204" pitchFamily="50" charset="-128"/>
                <a:ea typeface="Meiryo UI" panose="020B0604030504040204" pitchFamily="50" charset="-128"/>
              </a:rPr>
              <a:t>4. </a:t>
            </a:r>
          </a:p>
        </p:txBody>
      </p:sp>
      <p:sp>
        <p:nvSpPr>
          <p:cNvPr id="3" name="正方形/長方形 2"/>
          <p:cNvSpPr/>
          <p:nvPr userDrawn="1"/>
        </p:nvSpPr>
        <p:spPr>
          <a:xfrm>
            <a:off x="9580270" y="6579851"/>
            <a:ext cx="325730" cy="230832"/>
          </a:xfrm>
          <a:prstGeom prst="rect">
            <a:avLst/>
          </a:prstGeom>
        </p:spPr>
        <p:txBody>
          <a:bodyPr wrap="none">
            <a:spAutoFit/>
          </a:bodyPr>
          <a:lstStyle/>
          <a:p>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t>‹#›</a:t>
            </a:fld>
            <a:endParaRPr lang="ja-JP" altLang="en-US" sz="900" dirty="0"/>
          </a:p>
        </p:txBody>
      </p:sp>
    </p:spTree>
    <p:extLst>
      <p:ext uri="{BB962C8B-B14F-4D97-AF65-F5344CB8AC3E}">
        <p14:creationId xmlns:p14="http://schemas.microsoft.com/office/powerpoint/2010/main" val="343661697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10" y="359100"/>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rot="10800000">
            <a:off x="4054894" y="3120327"/>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正方形/長方形 1"/>
          <p:cNvSpPr/>
          <p:nvPr userDrawn="1"/>
        </p:nvSpPr>
        <p:spPr>
          <a:xfrm>
            <a:off x="9539190" y="6498900"/>
            <a:ext cx="325730" cy="230832"/>
          </a:xfrm>
          <a:prstGeom prst="rect">
            <a:avLst/>
          </a:prstGeom>
        </p:spPr>
        <p:txBody>
          <a:bodyPr wrap="none">
            <a:spAutoFit/>
          </a:bodyPr>
          <a:lstStyle/>
          <a:p>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t>‹#›</a:t>
            </a:fld>
            <a:endParaRPr lang="ja-JP" altLang="en-US" sz="900" dirty="0"/>
          </a:p>
        </p:txBody>
      </p:sp>
    </p:spTree>
    <p:extLst>
      <p:ext uri="{BB962C8B-B14F-4D97-AF65-F5344CB8AC3E}">
        <p14:creationId xmlns:p14="http://schemas.microsoft.com/office/powerpoint/2010/main" val="333765606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内容説明用スライド_タイトルのみ+リード">
    <p:spTree>
      <p:nvGrpSpPr>
        <p:cNvPr id="1" name=""/>
        <p:cNvGrpSpPr/>
        <p:nvPr/>
      </p:nvGrpSpPr>
      <p:grpSpPr>
        <a:xfrm>
          <a:off x="0" y="0"/>
          <a:ext cx="0" cy="0"/>
          <a:chOff x="0" y="0"/>
          <a:chExt cx="0" cy="0"/>
        </a:xfrm>
      </p:grpSpPr>
      <p:sp>
        <p:nvSpPr>
          <p:cNvPr id="34" name="テキスト ボックス 33">
            <a:extLst>
              <a:ext uri="{FF2B5EF4-FFF2-40B4-BE49-F238E27FC236}">
                <a16:creationId xmlns:a16="http://schemas.microsoft.com/office/drawing/2014/main" id="{5E86BBDA-E0B5-47AE-BF72-9032058100B5}"/>
              </a:ext>
            </a:extLst>
          </p:cNvPr>
          <p:cNvSpPr txBox="1"/>
          <p:nvPr userDrawn="1"/>
        </p:nvSpPr>
        <p:spPr>
          <a:xfrm>
            <a:off x="9565510" y="6581630"/>
            <a:ext cx="212849" cy="171850"/>
          </a:xfrm>
          <a:prstGeom prst="rect">
            <a:avLst/>
          </a:prstGeom>
          <a:noFill/>
        </p:spPr>
        <p:txBody>
          <a:bodyPr wrap="none" lIns="0" tIns="0" rIns="0" bIns="0" rtlCol="0" anchor="ctr" anchorCtr="0">
            <a:noAutofit/>
          </a:bodyPr>
          <a:lstStyle/>
          <a:p>
            <a:pPr algn="ctr"/>
            <a:fld id="{9C1B02FA-3B43-4965-97B5-C29D405C4738}" type="slidenum">
              <a:rPr kumimoji="1" lang="ja-JP" altLang="en-US" sz="90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368" b="0" dirty="0">
              <a:latin typeface="Arial" panose="020B0604020202020204" pitchFamily="34" charset="0"/>
              <a:ea typeface="メイリオ" panose="020B0604030504040204" pitchFamily="50" charset="-128"/>
              <a:cs typeface="Arial" panose="020B0604020202020204" pitchFamily="34" charset="0"/>
            </a:endParaRPr>
          </a:p>
        </p:txBody>
      </p:sp>
      <p:grpSp>
        <p:nvGrpSpPr>
          <p:cNvPr id="10" name="グループ化 9">
            <a:extLst>
              <a:ext uri="{FF2B5EF4-FFF2-40B4-BE49-F238E27FC236}">
                <a16:creationId xmlns:a16="http://schemas.microsoft.com/office/drawing/2014/main" id="{415CC879-8893-4ACA-BC53-E5C16947C50D}"/>
              </a:ext>
            </a:extLst>
          </p:cNvPr>
          <p:cNvGrpSpPr/>
          <p:nvPr userDrawn="1"/>
        </p:nvGrpSpPr>
        <p:grpSpPr>
          <a:xfrm>
            <a:off x="197897" y="339774"/>
            <a:ext cx="9429542" cy="719363"/>
            <a:chOff x="213594" y="302433"/>
            <a:chExt cx="10177559" cy="792964"/>
          </a:xfrm>
        </p:grpSpPr>
        <p:pic>
          <p:nvPicPr>
            <p:cNvPr id="11" name="Picture 11" descr="ç°å¢ç">
              <a:extLst>
                <a:ext uri="{FF2B5EF4-FFF2-40B4-BE49-F238E27FC236}">
                  <a16:creationId xmlns:a16="http://schemas.microsoft.com/office/drawing/2014/main" id="{EA847D1A-9CB9-4A27-A318-805446306AB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811212" y="333796"/>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2" name="フリーフォーム: 図形 11">
              <a:extLst>
                <a:ext uri="{FF2B5EF4-FFF2-40B4-BE49-F238E27FC236}">
                  <a16:creationId xmlns:a16="http://schemas.microsoft.com/office/drawing/2014/main" id="{65FC17B1-25BE-4588-AF23-0BACCC17A073}"/>
                </a:ext>
              </a:extLst>
            </p:cNvPr>
            <p:cNvSpPr/>
            <p:nvPr userDrawn="1"/>
          </p:nvSpPr>
          <p:spPr>
            <a:xfrm flipH="1" flipV="1">
              <a:off x="306464" y="390658"/>
              <a:ext cx="9680339" cy="648000"/>
            </a:xfrm>
            <a:custGeom>
              <a:avLst/>
              <a:gdLst>
                <a:gd name="connsiteX0" fmla="*/ 9613274 w 9680339"/>
                <a:gd name="connsiteY0" fmla="*/ 648000 h 648000"/>
                <a:gd name="connsiteX1" fmla="*/ 648000 w 9680339"/>
                <a:gd name="connsiteY1" fmla="*/ 648000 h 648000"/>
                <a:gd name="connsiteX2" fmla="*/ 0 w 9680339"/>
                <a:gd name="connsiteY2" fmla="*/ 0 h 648000"/>
                <a:gd name="connsiteX3" fmla="*/ 8817361 w 9680339"/>
                <a:gd name="connsiteY3" fmla="*/ 0 h 648000"/>
                <a:gd name="connsiteX4" fmla="*/ 9413208 w 9680339"/>
                <a:gd name="connsiteY4" fmla="*/ 0 h 648000"/>
                <a:gd name="connsiteX5" fmla="*/ 9469437 w 9680339"/>
                <a:gd name="connsiteY5" fmla="*/ 0 h 648000"/>
                <a:gd name="connsiteX6" fmla="*/ 9630899 w 9680339"/>
                <a:gd name="connsiteY6" fmla="*/ 162918 h 648000"/>
                <a:gd name="connsiteX7" fmla="*/ 9680339 w 9680339"/>
                <a:gd name="connsiteY7" fmla="*/ 200542 h 648000"/>
                <a:gd name="connsiteX8" fmla="*/ 9680339 w 9680339"/>
                <a:gd name="connsiteY8" fmla="*/ 598300 h 648000"/>
                <a:gd name="connsiteX9" fmla="*/ 9661565 w 9680339"/>
                <a:gd name="connsiteY9" fmla="*/ 632782 h 648000"/>
                <a:gd name="connsiteX10" fmla="*/ 9613274 w 9680339"/>
                <a:gd name="connsiteY10" fmla="*/ 648000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0339" h="648000">
                  <a:moveTo>
                    <a:pt x="9613274" y="648000"/>
                  </a:moveTo>
                  <a:lnTo>
                    <a:pt x="648000" y="648000"/>
                  </a:lnTo>
                  <a:lnTo>
                    <a:pt x="0" y="0"/>
                  </a:lnTo>
                  <a:lnTo>
                    <a:pt x="8817361" y="0"/>
                  </a:lnTo>
                  <a:lnTo>
                    <a:pt x="9413208" y="0"/>
                  </a:lnTo>
                  <a:lnTo>
                    <a:pt x="9469437" y="0"/>
                  </a:lnTo>
                  <a:lnTo>
                    <a:pt x="9630899" y="162918"/>
                  </a:lnTo>
                  <a:lnTo>
                    <a:pt x="9680339" y="200542"/>
                  </a:lnTo>
                  <a:lnTo>
                    <a:pt x="9680339" y="598300"/>
                  </a:lnTo>
                  <a:lnTo>
                    <a:pt x="9661565" y="632782"/>
                  </a:lnTo>
                  <a:cubicBezTo>
                    <a:pt x="9649206" y="642184"/>
                    <a:pt x="9632133" y="648000"/>
                    <a:pt x="9613274" y="64800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39"/>
            </a:p>
          </p:txBody>
        </p:sp>
        <p:cxnSp>
          <p:nvCxnSpPr>
            <p:cNvPr id="13" name="直線コネクタ 12">
              <a:extLst>
                <a:ext uri="{FF2B5EF4-FFF2-40B4-BE49-F238E27FC236}">
                  <a16:creationId xmlns:a16="http://schemas.microsoft.com/office/drawing/2014/main" id="{4ACDB6E1-0019-4594-BA57-355CD944730E}"/>
                </a:ext>
              </a:extLst>
            </p:cNvPr>
            <p:cNvCxnSpPr>
              <a:cxnSpLocks/>
            </p:cNvCxnSpPr>
            <p:nvPr userDrawn="1"/>
          </p:nvCxnSpPr>
          <p:spPr>
            <a:xfrm>
              <a:off x="9242760" y="302433"/>
              <a:ext cx="792964" cy="7929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1CFD28A3-FFD3-44EF-BD7B-AA8133ABDF9A}"/>
                </a:ext>
              </a:extLst>
            </p:cNvPr>
            <p:cNvCxnSpPr>
              <a:cxnSpLocks/>
            </p:cNvCxnSpPr>
            <p:nvPr userDrawn="1"/>
          </p:nvCxnSpPr>
          <p:spPr>
            <a:xfrm>
              <a:off x="213594" y="735397"/>
              <a:ext cx="360000" cy="360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 name="タイトル 97">
            <a:extLst>
              <a:ext uri="{FF2B5EF4-FFF2-40B4-BE49-F238E27FC236}">
                <a16:creationId xmlns:a16="http://schemas.microsoft.com/office/drawing/2014/main" id="{B78F4E89-BF6F-4E09-A944-EE472855512C}"/>
              </a:ext>
            </a:extLst>
          </p:cNvPr>
          <p:cNvSpPr>
            <a:spLocks noGrp="1"/>
          </p:cNvSpPr>
          <p:nvPr>
            <p:ph type="title" hasCustomPrompt="1"/>
          </p:nvPr>
        </p:nvSpPr>
        <p:spPr>
          <a:xfrm>
            <a:off x="287216" y="424232"/>
            <a:ext cx="8271821" cy="587854"/>
          </a:xfrm>
          <a:prstGeom prst="rect">
            <a:avLst/>
          </a:prstGeom>
        </p:spPr>
        <p:txBody>
          <a:bodyPr lIns="252000" tIns="36000" rIns="0" bIns="0" anchor="ctr" anchorCtr="0"/>
          <a:lstStyle>
            <a:lvl1pPr>
              <a:defRPr sz="2395" b="1">
                <a:solidFill>
                  <a:schemeClr val="bg1"/>
                </a:solidFill>
                <a:latin typeface="Meiryo UI" panose="020B0604030504040204" pitchFamily="50" charset="-128"/>
                <a:ea typeface="Meiryo UI" panose="020B0604030504040204" pitchFamily="50" charset="-128"/>
              </a:defRPr>
            </a:lvl1pPr>
          </a:lstStyle>
          <a:p>
            <a:r>
              <a:rPr kumimoji="1" lang="ja-JP" altLang="en-US"/>
              <a:t>ページタイトル</a:t>
            </a:r>
          </a:p>
        </p:txBody>
      </p:sp>
      <p:sp>
        <p:nvSpPr>
          <p:cNvPr id="16" name="コンテンツ プレースホルダー 18">
            <a:extLst>
              <a:ext uri="{FF2B5EF4-FFF2-40B4-BE49-F238E27FC236}">
                <a16:creationId xmlns:a16="http://schemas.microsoft.com/office/drawing/2014/main" id="{E5C690C4-34B3-4BE9-8905-112BB7C579C6}"/>
              </a:ext>
            </a:extLst>
          </p:cNvPr>
          <p:cNvSpPr>
            <a:spLocks noGrp="1"/>
          </p:cNvSpPr>
          <p:nvPr>
            <p:ph sz="quarter" idx="16" hasCustomPrompt="1"/>
          </p:nvPr>
        </p:nvSpPr>
        <p:spPr>
          <a:xfrm>
            <a:off x="531440" y="1012091"/>
            <a:ext cx="8705425" cy="783805"/>
          </a:xfrm>
          <a:prstGeom prst="rect">
            <a:avLst/>
          </a:prstGeom>
        </p:spPr>
        <p:txBody>
          <a:bodyPr lIns="0" tIns="144000" rIns="0" bIns="0" anchor="t"/>
          <a:lstStyle>
            <a:lvl1pPr marL="0" marR="0" indent="0" algn="l" defTabSz="782020" rtl="0" eaLnBrk="1" fontAlgn="auto" latinLnBrk="0" hangingPunct="1">
              <a:lnSpc>
                <a:spcPct val="100000"/>
              </a:lnSpc>
              <a:spcBef>
                <a:spcPts val="0"/>
              </a:spcBef>
              <a:spcAft>
                <a:spcPts val="513"/>
              </a:spcAft>
              <a:buClrTx/>
              <a:buSzTx/>
              <a:buFontTx/>
              <a:buNone/>
              <a:tabLst/>
              <a:defRPr sz="1368" b="1">
                <a:solidFill>
                  <a:srgbClr val="009C89"/>
                </a:solidFill>
                <a:latin typeface="Meiryo UI" panose="020B0604030504040204" pitchFamily="50" charset="-128"/>
                <a:ea typeface="Meiryo UI" panose="020B0604030504040204" pitchFamily="50" charset="-128"/>
              </a:defRPr>
            </a:lvl1pPr>
            <a:lvl2pPr marL="391010" indent="0">
              <a:buFontTx/>
              <a:buNone/>
              <a:defRPr/>
            </a:lvl2pPr>
            <a:lvl3pPr marL="782020" indent="0">
              <a:buFontTx/>
              <a:buNone/>
              <a:defRPr/>
            </a:lvl3pPr>
            <a:lvl4pPr marL="1173029" indent="0">
              <a:buFontTx/>
              <a:buNone/>
              <a:defRPr/>
            </a:lvl4pPr>
            <a:lvl5pPr marL="1564039" indent="0">
              <a:buFontTx/>
              <a:buNone/>
              <a:defRPr/>
            </a:lvl5pPr>
          </a:lstStyle>
          <a:p>
            <a:pPr marL="0" marR="0" lvl="0" indent="0" algn="l" defTabSz="782020" rtl="0" eaLnBrk="1" fontAlgn="auto" latinLnBrk="0" hangingPunct="1">
              <a:lnSpc>
                <a:spcPct val="90000"/>
              </a:lnSpc>
              <a:spcBef>
                <a:spcPts val="855"/>
              </a:spcBef>
              <a:spcAft>
                <a:spcPts val="0"/>
              </a:spcAft>
              <a:buClrTx/>
              <a:buSzTx/>
              <a:buFontTx/>
              <a:buNone/>
              <a:tabLst/>
              <a:defRPr/>
            </a:pPr>
            <a:r>
              <a:rPr kumimoji="1" lang="ja-JP" altLang="en-US"/>
              <a:t>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リード</a:t>
            </a:r>
          </a:p>
        </p:txBody>
      </p:sp>
    </p:spTree>
    <p:extLst>
      <p:ext uri="{BB962C8B-B14F-4D97-AF65-F5344CB8AC3E}">
        <p14:creationId xmlns:p14="http://schemas.microsoft.com/office/powerpoint/2010/main" val="39120835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18" Type="http://schemas.openxmlformats.org/officeDocument/2006/relationships/slideLayout" Target="../slideLayouts/slideLayout28.xml"/><Relationship Id="rId3" Type="http://schemas.openxmlformats.org/officeDocument/2006/relationships/slideLayout" Target="../slideLayouts/slideLayout13.xml"/><Relationship Id="rId21" Type="http://schemas.openxmlformats.org/officeDocument/2006/relationships/oleObject" Target="../embeddings/oleObject2.bin"/><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tags" Target="../tags/tag3.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10" Type="http://schemas.openxmlformats.org/officeDocument/2006/relationships/slideLayout" Target="../slideLayouts/slideLayout20.xml"/><Relationship Id="rId19"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theme" Target="../theme/theme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2.xml"/><Relationship Id="rId7" Type="http://schemas.openxmlformats.org/officeDocument/2006/relationships/oleObject" Target="../embeddings/oleObject3.bin"/><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ags" Target="../tags/tag4.xml"/><Relationship Id="rId5" Type="http://schemas.openxmlformats.org/officeDocument/2006/relationships/theme" Target="../theme/theme4.xml"/><Relationship Id="rId4"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oleObject" Target="../embeddings/oleObject4.bin"/><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ags" Target="../tags/tag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5.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oleObject" Target="../embeddings/oleObject5.bin"/><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tags" Target="../tags/tag6.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10" Type="http://schemas.openxmlformats.org/officeDocument/2006/relationships/slideLayout" Target="../slideLayouts/slideLayout71.xml"/><Relationship Id="rId19" Type="http://schemas.openxmlformats.org/officeDocument/2006/relationships/theme" Target="../theme/theme6.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tags" Target="../tags/tag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theme" Target="../theme/theme7.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image" Target="../media/image1.emf"/><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oleObject" Target="../embeddings/oleObject6.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3" Type="http://schemas.openxmlformats.org/officeDocument/2006/relationships/slideLayout" Target="../slideLayouts/slideLayout93.xml"/><Relationship Id="rId21" Type="http://schemas.openxmlformats.org/officeDocument/2006/relationships/tags" Target="../tags/tag8.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theme" Target="../theme/theme8.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image" Target="../media/image1.emf"/><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oleObject" Target="../embeddings/oleObject7.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155DDEA-E346-417C-BBE7-D7EFCEFA2205}"/>
              </a:ext>
            </a:extLst>
          </p:cNvPr>
          <p:cNvGraphicFramePr>
            <a:graphicFrameLocks noChangeAspect="1"/>
          </p:cNvGraphicFramePr>
          <p:nvPr userDrawn="1">
            <p:custDataLst>
              <p:tags r:id="rId12"/>
            </p:custDataLst>
            <p:extLst>
              <p:ext uri="{D42A27DB-BD31-4B8C-83A1-F6EECF244321}">
                <p14:modId xmlns:p14="http://schemas.microsoft.com/office/powerpoint/2010/main" val="3294778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92" imgH="591" progId="TCLayout.ActiveDocument.1">
                  <p:embed/>
                </p:oleObj>
              </mc:Choice>
              <mc:Fallback>
                <p:oleObj name="think-cell スライド" r:id="rId13" imgW="592" imgH="591" progId="TCLayout.ActiveDocument.1">
                  <p:embed/>
                  <p:pic>
                    <p:nvPicPr>
                      <p:cNvPr id="9" name="Object 8" hidden="1">
                        <a:extLst>
                          <a:ext uri="{FF2B5EF4-FFF2-40B4-BE49-F238E27FC236}">
                            <a16:creationId xmlns:a16="http://schemas.microsoft.com/office/drawing/2014/main" id="{F155DDEA-E346-417C-BBE7-D7EFCEFA2205}"/>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541535F4-2858-0E45-B5A5-01661E2355B8}"/>
              </a:ext>
            </a:extLst>
          </p:cNvPr>
          <p:cNvSpPr>
            <a:spLocks noGrp="1"/>
          </p:cNvSpPr>
          <p:nvPr>
            <p:ph type="title"/>
          </p:nvPr>
        </p:nvSpPr>
        <p:spPr>
          <a:xfrm>
            <a:off x="680993" y="365800"/>
            <a:ext cx="8544016" cy="1324939"/>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E45E705D-9722-0F48-B602-8CAE7024D0F3}"/>
              </a:ext>
            </a:extLst>
          </p:cNvPr>
          <p:cNvSpPr>
            <a:spLocks noGrp="1"/>
          </p:cNvSpPr>
          <p:nvPr>
            <p:ph type="body" idx="1"/>
          </p:nvPr>
        </p:nvSpPr>
        <p:spPr>
          <a:xfrm>
            <a:off x="680993" y="1826112"/>
            <a:ext cx="8544016" cy="4350697"/>
          </a:xfrm>
          <a:prstGeom prst="rect">
            <a:avLst/>
          </a:prstGeom>
        </p:spPr>
        <p:txBody>
          <a:bodyPr vert="horz" lIns="91440" tIns="45720" rIns="91440" bIns="45720" rtlCol="0">
            <a:normAutofit/>
          </a:bodyPr>
          <a:lstStyle/>
          <a:p>
            <a:r>
              <a:rPr kumimoji="1" lang="ja-JP" altLang="en-US"/>
              <a:t>マスター テキストの書式設定
第 </a:t>
            </a:r>
            <a:r>
              <a:rPr kumimoji="1" lang="en-US" altLang="ja-JP"/>
              <a:t>2 </a:t>
            </a:r>
            <a:r>
              <a:rPr kumimoji="1" lang="ja-JP" altLang="en-US"/>
              <a:t>レベル
第 </a:t>
            </a:r>
            <a:r>
              <a:rPr kumimoji="1" lang="en-US" altLang="ja-JP"/>
              <a:t>3 </a:t>
            </a:r>
            <a:r>
              <a:rPr kumimoji="1" lang="ja-JP" altLang="en-US"/>
              <a:t>レベル
第 </a:t>
            </a:r>
            <a:r>
              <a:rPr kumimoji="1" lang="en-US" altLang="ja-JP"/>
              <a:t>4 </a:t>
            </a:r>
            <a:r>
              <a:rPr kumimoji="1" lang="ja-JP" altLang="en-US"/>
              <a:t>レベル
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96B83FD4-8534-B54E-8F5F-488203C9B036}"/>
              </a:ext>
            </a:extLst>
          </p:cNvPr>
          <p:cNvSpPr>
            <a:spLocks noGrp="1"/>
          </p:cNvSpPr>
          <p:nvPr>
            <p:ph type="dt" sz="half" idx="2"/>
          </p:nvPr>
        </p:nvSpPr>
        <p:spPr>
          <a:xfrm>
            <a:off x="680993" y="6356831"/>
            <a:ext cx="2228298" cy="364359"/>
          </a:xfrm>
          <a:prstGeom prst="rect">
            <a:avLst/>
          </a:prstGeom>
        </p:spPr>
        <p:txBody>
          <a:bodyPr vert="horz" lIns="91440" tIns="45720" rIns="91440" bIns="45720" rtlCol="0" anchor="ctr"/>
          <a:lstStyle>
            <a:lvl1pPr algn="l">
              <a:defRPr sz="1026">
                <a:solidFill>
                  <a:schemeClr val="tx1">
                    <a:tint val="75000"/>
                  </a:schemeClr>
                </a:solidFill>
              </a:defRPr>
            </a:lvl1pPr>
          </a:lstStyle>
          <a:p>
            <a:endParaRPr kumimoji="1" lang="ja-JP" altLang="en-US"/>
          </a:p>
        </p:txBody>
      </p:sp>
      <p:sp>
        <p:nvSpPr>
          <p:cNvPr id="5" name="フッター プレースホルダー 4">
            <a:extLst>
              <a:ext uri="{FF2B5EF4-FFF2-40B4-BE49-F238E27FC236}">
                <a16:creationId xmlns:a16="http://schemas.microsoft.com/office/drawing/2014/main" id="{70B30671-E16A-8B4F-8F70-44FD5468D999}"/>
              </a:ext>
            </a:extLst>
          </p:cNvPr>
          <p:cNvSpPr>
            <a:spLocks noGrp="1"/>
          </p:cNvSpPr>
          <p:nvPr>
            <p:ph type="ftr" sz="quarter" idx="3"/>
          </p:nvPr>
        </p:nvSpPr>
        <p:spPr>
          <a:xfrm>
            <a:off x="3281410" y="6356831"/>
            <a:ext cx="3343182" cy="364359"/>
          </a:xfrm>
          <a:prstGeom prst="rect">
            <a:avLst/>
          </a:prstGeom>
        </p:spPr>
        <p:txBody>
          <a:bodyPr vert="horz" lIns="91440" tIns="45720" rIns="91440" bIns="45720" rtlCol="0" anchor="ctr"/>
          <a:lstStyle>
            <a:lvl1pPr algn="ctr">
              <a:defRPr sz="1026">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6262F17A-B521-6D42-A849-0F0D416BFE85}"/>
              </a:ext>
            </a:extLst>
          </p:cNvPr>
          <p:cNvSpPr>
            <a:spLocks noGrp="1"/>
          </p:cNvSpPr>
          <p:nvPr>
            <p:ph type="sldNum" sz="quarter" idx="4"/>
          </p:nvPr>
        </p:nvSpPr>
        <p:spPr>
          <a:xfrm>
            <a:off x="6996710" y="6356831"/>
            <a:ext cx="2228298" cy="364359"/>
          </a:xfrm>
          <a:prstGeom prst="rect">
            <a:avLst/>
          </a:prstGeom>
        </p:spPr>
        <p:txBody>
          <a:bodyPr vert="horz" lIns="91440" tIns="45720" rIns="91440" bIns="45720" rtlCol="0" anchor="ctr"/>
          <a:lstStyle>
            <a:lvl1pPr algn="r">
              <a:defRPr sz="1026">
                <a:solidFill>
                  <a:schemeClr val="tx1">
                    <a:tint val="75000"/>
                  </a:schemeClr>
                </a:solidFill>
              </a:defRPr>
            </a:lvl1pPr>
          </a:lstStyle>
          <a:p>
            <a:fld id="{F793F3F0-E140-0047-A1E5-797D478E655D}" type="slidenum">
              <a:rPr kumimoji="1" lang="ja-JP" altLang="en-US" smtClean="0"/>
              <a:t>‹#›</a:t>
            </a:fld>
            <a:endParaRPr kumimoji="1" lang="ja-JP" altLang="en-US"/>
          </a:p>
        </p:txBody>
      </p:sp>
      <p:pic>
        <p:nvPicPr>
          <p:cNvPr id="7" name="Picture 11" descr="ç°å¢ç">
            <a:extLst>
              <a:ext uri="{FF2B5EF4-FFF2-40B4-BE49-F238E27FC236}">
                <a16:creationId xmlns:a16="http://schemas.microsoft.com/office/drawing/2014/main" id="{A36EA33E-F10C-8847-BD79-6A62721F9997}"/>
              </a:ext>
            </a:extLst>
          </p:cNvPr>
          <p:cNvPicPr>
            <a:picLocks noChangeAspect="1" noChangeArrowheads="1"/>
          </p:cNvPicPr>
          <p:nvPr userDrawn="1"/>
        </p:nvPicPr>
        <p:blipFill>
          <a:blip r:embed="rId15" cstate="print">
            <a:extLst>
              <a:ext uri="{28A0092B-C50C-407E-A947-70E740481C1C}">
                <a14:useLocalDpi xmlns:a14="http://schemas.microsoft.com/office/drawing/2010/main"/>
              </a:ext>
            </a:extLst>
          </a:blip>
          <a:srcRect/>
          <a:stretch>
            <a:fillRect/>
          </a:stretch>
        </p:blipFill>
        <p:spPr bwMode="auto">
          <a:xfrm>
            <a:off x="9167311" y="133064"/>
            <a:ext cx="596514" cy="59823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00799961"/>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1" r:id="rId9"/>
    <p:sldLayoutId id="2147483732" r:id="rId10"/>
  </p:sldLayoutIdLst>
  <p:hf hdr="0" ftr="0" dt="0"/>
  <p:txStyles>
    <p:titleStyle>
      <a:lvl1pPr algn="l" defTabSz="782043" rtl="0" eaLnBrk="1" latinLnBrk="0" hangingPunct="1">
        <a:lnSpc>
          <a:spcPct val="90000"/>
        </a:lnSpc>
        <a:spcBef>
          <a:spcPct val="0"/>
        </a:spcBef>
        <a:buNone/>
        <a:defRPr kumimoji="1" sz="3764" kern="1200">
          <a:solidFill>
            <a:schemeClr val="tx1"/>
          </a:solidFill>
          <a:latin typeface="メイリオ" panose="020B0604030504040204" pitchFamily="50" charset="-128"/>
          <a:ea typeface="メイリオ" panose="020B0604030504040204" pitchFamily="50" charset="-128"/>
          <a:cs typeface="+mj-cs"/>
        </a:defRPr>
      </a:lvl1pPr>
    </p:titleStyle>
    <p:bodyStyle>
      <a:lvl1pPr marL="195511" indent="-195511" algn="l" defTabSz="782043" rtl="0" eaLnBrk="1" latinLnBrk="0" hangingPunct="1">
        <a:lnSpc>
          <a:spcPct val="90000"/>
        </a:lnSpc>
        <a:spcBef>
          <a:spcPts val="855"/>
        </a:spcBef>
        <a:buFont typeface="Arial" panose="020B0604020202020204" pitchFamily="34" charset="0"/>
        <a:buChar char="•"/>
        <a:defRPr kumimoji="1" sz="2394" kern="1200">
          <a:solidFill>
            <a:schemeClr val="tx1"/>
          </a:solidFill>
          <a:latin typeface="メイリオ" panose="020B0604030504040204" pitchFamily="50" charset="-128"/>
          <a:ea typeface="メイリオ" panose="020B0604030504040204" pitchFamily="50" charset="-128"/>
          <a:cs typeface="+mn-cs"/>
        </a:defRPr>
      </a:lvl1pPr>
      <a:lvl2pPr marL="586532" indent="-195511" algn="l" defTabSz="782043" rtl="0" eaLnBrk="1" latinLnBrk="0" hangingPunct="1">
        <a:lnSpc>
          <a:spcPct val="90000"/>
        </a:lnSpc>
        <a:spcBef>
          <a:spcPts val="428"/>
        </a:spcBef>
        <a:buFont typeface="Arial" panose="020B0604020202020204" pitchFamily="34" charset="0"/>
        <a:buChar char="•"/>
        <a:defRPr kumimoji="1" sz="2053" kern="1200">
          <a:solidFill>
            <a:schemeClr val="tx1"/>
          </a:solidFill>
          <a:latin typeface="+mn-lt"/>
          <a:ea typeface="+mn-ea"/>
          <a:cs typeface="+mn-cs"/>
        </a:defRPr>
      </a:lvl2pPr>
      <a:lvl3pPr marL="977555" indent="-195511" algn="l" defTabSz="782043" rtl="0" eaLnBrk="1" latinLnBrk="0" hangingPunct="1">
        <a:lnSpc>
          <a:spcPct val="90000"/>
        </a:lnSpc>
        <a:spcBef>
          <a:spcPts val="428"/>
        </a:spcBef>
        <a:buFont typeface="Arial" panose="020B0604020202020204" pitchFamily="34" charset="0"/>
        <a:buChar char="•"/>
        <a:defRPr kumimoji="1" sz="1711" kern="1200">
          <a:solidFill>
            <a:schemeClr val="tx1"/>
          </a:solidFill>
          <a:latin typeface="+mn-lt"/>
          <a:ea typeface="+mn-ea"/>
          <a:cs typeface="+mn-cs"/>
        </a:defRPr>
      </a:lvl3pPr>
      <a:lvl4pPr marL="1368575" indent="-195511" algn="l" defTabSz="78204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4pPr>
      <a:lvl5pPr marL="1759597" indent="-195511" algn="l" defTabSz="78204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5pPr>
      <a:lvl6pPr marL="2150618" indent="-195511" algn="l" defTabSz="78204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6pPr>
      <a:lvl7pPr marL="2541641" indent="-195511" algn="l" defTabSz="78204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7pPr>
      <a:lvl8pPr marL="2932663" indent="-195511" algn="l" defTabSz="78204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8pPr>
      <a:lvl9pPr marL="3323683" indent="-195511" algn="l" defTabSz="782043"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9pPr>
    </p:bodyStyle>
    <p:otherStyle>
      <a:defPPr>
        <a:defRPr lang="ja-JP"/>
      </a:defPPr>
      <a:lvl1pPr marL="0" algn="l" defTabSz="782043" rtl="0" eaLnBrk="1" latinLnBrk="0" hangingPunct="1">
        <a:defRPr kumimoji="1" sz="1539" kern="1200">
          <a:solidFill>
            <a:schemeClr val="tx1"/>
          </a:solidFill>
          <a:latin typeface="+mn-lt"/>
          <a:ea typeface="+mn-ea"/>
          <a:cs typeface="+mn-cs"/>
        </a:defRPr>
      </a:lvl1pPr>
      <a:lvl2pPr marL="391022" algn="l" defTabSz="782043" rtl="0" eaLnBrk="1" latinLnBrk="0" hangingPunct="1">
        <a:defRPr kumimoji="1" sz="1539" kern="1200">
          <a:solidFill>
            <a:schemeClr val="tx1"/>
          </a:solidFill>
          <a:latin typeface="+mn-lt"/>
          <a:ea typeface="+mn-ea"/>
          <a:cs typeface="+mn-cs"/>
        </a:defRPr>
      </a:lvl2pPr>
      <a:lvl3pPr marL="782043" algn="l" defTabSz="782043" rtl="0" eaLnBrk="1" latinLnBrk="0" hangingPunct="1">
        <a:defRPr kumimoji="1" sz="1539" kern="1200">
          <a:solidFill>
            <a:schemeClr val="tx1"/>
          </a:solidFill>
          <a:latin typeface="+mn-lt"/>
          <a:ea typeface="+mn-ea"/>
          <a:cs typeface="+mn-cs"/>
        </a:defRPr>
      </a:lvl3pPr>
      <a:lvl4pPr marL="1173066" algn="l" defTabSz="782043" rtl="0" eaLnBrk="1" latinLnBrk="0" hangingPunct="1">
        <a:defRPr kumimoji="1" sz="1539" kern="1200">
          <a:solidFill>
            <a:schemeClr val="tx1"/>
          </a:solidFill>
          <a:latin typeface="+mn-lt"/>
          <a:ea typeface="+mn-ea"/>
          <a:cs typeface="+mn-cs"/>
        </a:defRPr>
      </a:lvl4pPr>
      <a:lvl5pPr marL="1564086" algn="l" defTabSz="782043" rtl="0" eaLnBrk="1" latinLnBrk="0" hangingPunct="1">
        <a:defRPr kumimoji="1" sz="1539" kern="1200">
          <a:solidFill>
            <a:schemeClr val="tx1"/>
          </a:solidFill>
          <a:latin typeface="+mn-lt"/>
          <a:ea typeface="+mn-ea"/>
          <a:cs typeface="+mn-cs"/>
        </a:defRPr>
      </a:lvl5pPr>
      <a:lvl6pPr marL="1955108" algn="l" defTabSz="782043" rtl="0" eaLnBrk="1" latinLnBrk="0" hangingPunct="1">
        <a:defRPr kumimoji="1" sz="1539" kern="1200">
          <a:solidFill>
            <a:schemeClr val="tx1"/>
          </a:solidFill>
          <a:latin typeface="+mn-lt"/>
          <a:ea typeface="+mn-ea"/>
          <a:cs typeface="+mn-cs"/>
        </a:defRPr>
      </a:lvl6pPr>
      <a:lvl7pPr marL="2346129" algn="l" defTabSz="782043" rtl="0" eaLnBrk="1" latinLnBrk="0" hangingPunct="1">
        <a:defRPr kumimoji="1" sz="1539" kern="1200">
          <a:solidFill>
            <a:schemeClr val="tx1"/>
          </a:solidFill>
          <a:latin typeface="+mn-lt"/>
          <a:ea typeface="+mn-ea"/>
          <a:cs typeface="+mn-cs"/>
        </a:defRPr>
      </a:lvl7pPr>
      <a:lvl8pPr marL="2737152" algn="l" defTabSz="782043" rtl="0" eaLnBrk="1" latinLnBrk="0" hangingPunct="1">
        <a:defRPr kumimoji="1" sz="1539" kern="1200">
          <a:solidFill>
            <a:schemeClr val="tx1"/>
          </a:solidFill>
          <a:latin typeface="+mn-lt"/>
          <a:ea typeface="+mn-ea"/>
          <a:cs typeface="+mn-cs"/>
        </a:defRPr>
      </a:lvl8pPr>
      <a:lvl9pPr marL="3128172" algn="l" defTabSz="782043" rtl="0" eaLnBrk="1" latinLnBrk="0" hangingPunct="1">
        <a:defRPr kumimoji="1" sz="153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Object 123" hidden="1">
            <a:extLst>
              <a:ext uri="{FF2B5EF4-FFF2-40B4-BE49-F238E27FC236}">
                <a16:creationId xmlns:a16="http://schemas.microsoft.com/office/drawing/2014/main" id="{3AD0714E-496B-46AE-BF02-3C033C9F7137}"/>
              </a:ext>
            </a:extLst>
          </p:cNvPr>
          <p:cNvGraphicFramePr>
            <a:graphicFrameLocks noChangeAspect="1"/>
          </p:cNvGraphicFramePr>
          <p:nvPr userDrawn="1">
            <p:custDataLst>
              <p:tags r:id="rId20"/>
            </p:custDataLst>
            <p:extLst>
              <p:ext uri="{D42A27DB-BD31-4B8C-83A1-F6EECF244321}">
                <p14:modId xmlns:p14="http://schemas.microsoft.com/office/powerpoint/2010/main" val="3783216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1" imgW="592" imgH="591" progId="TCLayout.ActiveDocument.1">
                  <p:embed/>
                </p:oleObj>
              </mc:Choice>
              <mc:Fallback>
                <p:oleObj name="think-cell スライド" r:id="rId21" imgW="592" imgH="591" progId="TCLayout.ActiveDocument.1">
                  <p:embed/>
                  <p:pic>
                    <p:nvPicPr>
                      <p:cNvPr id="124" name="Object 123" hidden="1">
                        <a:extLst>
                          <a:ext uri="{FF2B5EF4-FFF2-40B4-BE49-F238E27FC236}">
                            <a16:creationId xmlns:a16="http://schemas.microsoft.com/office/drawing/2014/main" id="{3AD0714E-496B-46AE-BF02-3C033C9F713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40"/>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3545836159"/>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 id="2147483757" r:id="rId12"/>
    <p:sldLayoutId id="2147483758" r:id="rId13"/>
    <p:sldLayoutId id="2147483760" r:id="rId14"/>
    <p:sldLayoutId id="2147483761" r:id="rId15"/>
    <p:sldLayoutId id="2147483765" r:id="rId16"/>
    <p:sldLayoutId id="2147483767" r:id="rId17"/>
    <p:sldLayoutId id="2147483769" r:id="rId18"/>
  </p:sldLayoutIdLst>
  <p:hf hdr="0" ftr="0" dt="0"/>
  <p:txStyles>
    <p:titleStyle>
      <a:lvl1pPr algn="ctr" defTabSz="914429" rtl="0" eaLnBrk="1" latinLnBrk="0" hangingPunct="1">
        <a:lnSpc>
          <a:spcPct val="90000"/>
        </a:lnSpc>
        <a:spcBef>
          <a:spcPct val="0"/>
        </a:spcBef>
        <a:buNone/>
        <a:defRPr kumimoji="1" sz="4401" kern="1200">
          <a:solidFill>
            <a:schemeClr val="tx1"/>
          </a:solidFill>
          <a:latin typeface="+mj-lt"/>
          <a:ea typeface="+mj-ea"/>
          <a:cs typeface="+mj-cs"/>
        </a:defRPr>
      </a:lvl1pPr>
    </p:titleStyle>
    <p:bodyStyle>
      <a:lvl1pPr marL="0" indent="0" algn="ctr" defTabSz="914429"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29"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29"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29"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29"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80"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93"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109"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322"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29" rtl="0" eaLnBrk="1" latinLnBrk="0" hangingPunct="1">
        <a:defRPr kumimoji="1" sz="1800" kern="1200">
          <a:solidFill>
            <a:schemeClr val="tx1"/>
          </a:solidFill>
          <a:latin typeface="+mn-lt"/>
          <a:ea typeface="+mn-ea"/>
          <a:cs typeface="+mn-cs"/>
        </a:defRPr>
      </a:lvl1pPr>
      <a:lvl2pPr marL="457214" algn="l" defTabSz="914429" rtl="0" eaLnBrk="1" latinLnBrk="0" hangingPunct="1">
        <a:defRPr kumimoji="1" sz="1800" kern="1200">
          <a:solidFill>
            <a:schemeClr val="tx1"/>
          </a:solidFill>
          <a:latin typeface="+mn-lt"/>
          <a:ea typeface="+mn-ea"/>
          <a:cs typeface="+mn-cs"/>
        </a:defRPr>
      </a:lvl2pPr>
      <a:lvl3pPr marL="914429" algn="l" defTabSz="914429" rtl="0" eaLnBrk="1" latinLnBrk="0" hangingPunct="1">
        <a:defRPr kumimoji="1" sz="1800" kern="1200">
          <a:solidFill>
            <a:schemeClr val="tx1"/>
          </a:solidFill>
          <a:latin typeface="+mn-lt"/>
          <a:ea typeface="+mn-ea"/>
          <a:cs typeface="+mn-cs"/>
        </a:defRPr>
      </a:lvl3pPr>
      <a:lvl4pPr marL="1371643" algn="l" defTabSz="914429" rtl="0" eaLnBrk="1" latinLnBrk="0" hangingPunct="1">
        <a:defRPr kumimoji="1" sz="1800" kern="1200">
          <a:solidFill>
            <a:schemeClr val="tx1"/>
          </a:solidFill>
          <a:latin typeface="+mn-lt"/>
          <a:ea typeface="+mn-ea"/>
          <a:cs typeface="+mn-cs"/>
        </a:defRPr>
      </a:lvl4pPr>
      <a:lvl5pPr marL="1828858" algn="l" defTabSz="914429" rtl="0" eaLnBrk="1" latinLnBrk="0" hangingPunct="1">
        <a:defRPr kumimoji="1" sz="1800" kern="1200">
          <a:solidFill>
            <a:schemeClr val="tx1"/>
          </a:solidFill>
          <a:latin typeface="+mn-lt"/>
          <a:ea typeface="+mn-ea"/>
          <a:cs typeface="+mn-cs"/>
        </a:defRPr>
      </a:lvl5pPr>
      <a:lvl6pPr marL="2286072" algn="l" defTabSz="914429" rtl="0" eaLnBrk="1" latinLnBrk="0" hangingPunct="1">
        <a:defRPr kumimoji="1" sz="1800" kern="1200">
          <a:solidFill>
            <a:schemeClr val="tx1"/>
          </a:solidFill>
          <a:latin typeface="+mn-lt"/>
          <a:ea typeface="+mn-ea"/>
          <a:cs typeface="+mn-cs"/>
        </a:defRPr>
      </a:lvl6pPr>
      <a:lvl7pPr marL="2743287" algn="l" defTabSz="914429" rtl="0" eaLnBrk="1" latinLnBrk="0" hangingPunct="1">
        <a:defRPr kumimoji="1" sz="1800" kern="1200">
          <a:solidFill>
            <a:schemeClr val="tx1"/>
          </a:solidFill>
          <a:latin typeface="+mn-lt"/>
          <a:ea typeface="+mn-ea"/>
          <a:cs typeface="+mn-cs"/>
        </a:defRPr>
      </a:lvl7pPr>
      <a:lvl8pPr marL="3200501" algn="l" defTabSz="914429" rtl="0" eaLnBrk="1" latinLnBrk="0" hangingPunct="1">
        <a:defRPr kumimoji="1" sz="1800" kern="1200">
          <a:solidFill>
            <a:schemeClr val="tx1"/>
          </a:solidFill>
          <a:latin typeface="+mn-lt"/>
          <a:ea typeface="+mn-ea"/>
          <a:cs typeface="+mn-cs"/>
        </a:defRPr>
      </a:lvl8pPr>
      <a:lvl9pPr marL="3657716" algn="l" defTabSz="914429"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F9FCB218-75F5-9DE6-C327-8CE61E8522C7}"/>
              </a:ext>
            </a:extLst>
          </p:cNvPr>
          <p:cNvSpPr>
            <a:spLocks noGrp="1"/>
          </p:cNvSpPr>
          <p:nvPr>
            <p:ph type="title"/>
          </p:nvPr>
        </p:nvSpPr>
        <p:spPr>
          <a:xfrm>
            <a:off x="681038" y="365125"/>
            <a:ext cx="8543925"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63BB9ADB-6D03-0E36-C777-3C5E4DB430A6}"/>
              </a:ext>
            </a:extLst>
          </p:cNvPr>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F2EA1D10-C1D9-1A78-8B16-B2CDE1033D62}"/>
              </a:ext>
            </a:extLst>
          </p:cNvPr>
          <p:cNvSpPr>
            <a:spLocks noGrp="1"/>
          </p:cNvSpPr>
          <p:nvPr>
            <p:ph type="dt" sz="half" idx="2"/>
          </p:nvPr>
        </p:nvSpPr>
        <p:spPr>
          <a:xfrm>
            <a:off x="681038" y="6356350"/>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7E8CFE2-2E5E-487C-A5B4-FC26BA8D4E93}" type="datetimeFigureOut">
              <a:rPr kumimoji="1" lang="ja-JP" altLang="en-US" smtClean="0"/>
              <a:t>2024/2/7</a:t>
            </a:fld>
            <a:endParaRPr kumimoji="1" lang="ja-JP" altLang="en-US"/>
          </a:p>
        </p:txBody>
      </p:sp>
      <p:sp>
        <p:nvSpPr>
          <p:cNvPr id="5" name="フッター プレースホルダー 4">
            <a:extLst>
              <a:ext uri="{FF2B5EF4-FFF2-40B4-BE49-F238E27FC236}">
                <a16:creationId xmlns:a16="http://schemas.microsoft.com/office/drawing/2014/main" id="{84F29F20-149F-BAB3-6E3E-FE9E991EB099}"/>
              </a:ext>
            </a:extLst>
          </p:cNvPr>
          <p:cNvSpPr>
            <a:spLocks noGrp="1"/>
          </p:cNvSpPr>
          <p:nvPr>
            <p:ph type="ftr" sz="quarter" idx="3"/>
          </p:nvPr>
        </p:nvSpPr>
        <p:spPr>
          <a:xfrm>
            <a:off x="3281363" y="6356350"/>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FA82B2C7-EBEC-E30E-76B4-B1E2A29F644E}"/>
              </a:ext>
            </a:extLst>
          </p:cNvPr>
          <p:cNvSpPr>
            <a:spLocks noGrp="1"/>
          </p:cNvSpPr>
          <p:nvPr>
            <p:ph type="sldNum" sz="quarter" idx="4"/>
          </p:nvPr>
        </p:nvSpPr>
        <p:spPr>
          <a:xfrm>
            <a:off x="6996113" y="6356350"/>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2C8A6FA-4C54-4292-B614-FC01A223A367}" type="slidenum">
              <a:rPr kumimoji="1" lang="ja-JP" altLang="en-US" smtClean="0"/>
              <a:t>‹#›</a:t>
            </a:fld>
            <a:endParaRPr kumimoji="1" lang="ja-JP" altLang="en-US"/>
          </a:p>
        </p:txBody>
      </p:sp>
    </p:spTree>
    <p:extLst>
      <p:ext uri="{BB962C8B-B14F-4D97-AF65-F5344CB8AC3E}">
        <p14:creationId xmlns:p14="http://schemas.microsoft.com/office/powerpoint/2010/main" val="1630505877"/>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E80F4E-43FE-4170-9379-E228BCF18D56}"/>
              </a:ext>
            </a:extLst>
          </p:cNvPr>
          <p:cNvGraphicFramePr>
            <a:graphicFrameLocks noChangeAspect="1"/>
          </p:cNvGraphicFramePr>
          <p:nvPr userDrawn="1">
            <p:custDataLst>
              <p:tags r:id="rId6"/>
            </p:custDataLst>
            <p:extLst>
              <p:ext uri="{D42A27DB-BD31-4B8C-83A1-F6EECF244321}">
                <p14:modId xmlns:p14="http://schemas.microsoft.com/office/powerpoint/2010/main" val="3632751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92" imgH="591" progId="TCLayout.ActiveDocument.1">
                  <p:embed/>
                </p:oleObj>
              </mc:Choice>
              <mc:Fallback>
                <p:oleObj name="think-cell スライド" r:id="rId7" imgW="592" imgH="591" progId="TCLayout.ActiveDocument.1">
                  <p:embed/>
                  <p:pic>
                    <p:nvPicPr>
                      <p:cNvPr id="4" name="Object 3" hidden="1">
                        <a:extLst>
                          <a:ext uri="{FF2B5EF4-FFF2-40B4-BE49-F238E27FC236}">
                            <a16:creationId xmlns:a16="http://schemas.microsoft.com/office/drawing/2014/main" id="{FFE80F4E-43FE-4170-9379-E228BCF18D56}"/>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3" name="グループ化 2">
            <a:extLst>
              <a:ext uri="{FF2B5EF4-FFF2-40B4-BE49-F238E27FC236}">
                <a16:creationId xmlns:a16="http://schemas.microsoft.com/office/drawing/2014/main" id="{6A2A7F16-63EA-4E36-9EE4-9D1D02FCD68F}"/>
              </a:ext>
            </a:extLst>
          </p:cNvPr>
          <p:cNvGrpSpPr/>
          <p:nvPr userDrawn="1"/>
        </p:nvGrpSpPr>
        <p:grpSpPr>
          <a:xfrm>
            <a:off x="283296" y="1148622"/>
            <a:ext cx="9339408" cy="5486636"/>
            <a:chOff x="450207" y="1266143"/>
            <a:chExt cx="10080275" cy="6048000"/>
          </a:xfrm>
        </p:grpSpPr>
        <p:grpSp>
          <p:nvGrpSpPr>
            <p:cNvPr id="7" name="グループ化 6">
              <a:extLst>
                <a:ext uri="{FF2B5EF4-FFF2-40B4-BE49-F238E27FC236}">
                  <a16:creationId xmlns:a16="http://schemas.microsoft.com/office/drawing/2014/main" id="{88016599-015B-4F80-B5B4-F9E9362EAFA0}"/>
                </a:ext>
              </a:extLst>
            </p:cNvPr>
            <p:cNvGrpSpPr/>
            <p:nvPr userDrawn="1"/>
          </p:nvGrpSpPr>
          <p:grpSpPr>
            <a:xfrm>
              <a:off x="450207" y="1266143"/>
              <a:ext cx="10080275" cy="6048000"/>
              <a:chOff x="450207" y="1266143"/>
              <a:chExt cx="10080275" cy="5904000"/>
            </a:xfrm>
          </p:grpSpPr>
          <p:sp>
            <p:nvSpPr>
              <p:cNvPr id="229" name="Line 41">
                <a:extLst>
                  <a:ext uri="{FF2B5EF4-FFF2-40B4-BE49-F238E27FC236}">
                    <a16:creationId xmlns:a16="http://schemas.microsoft.com/office/drawing/2014/main" id="{B813B794-8B19-4E71-8AD0-A4C71EF7C384}"/>
                  </a:ext>
                </a:extLst>
              </p:cNvPr>
              <p:cNvSpPr>
                <a:spLocks noChangeShapeType="1"/>
              </p:cNvSpPr>
              <p:nvPr userDrawn="1"/>
            </p:nvSpPr>
            <p:spPr bwMode="auto">
              <a:xfrm>
                <a:off x="160213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0" name="Line 42">
                <a:extLst>
                  <a:ext uri="{FF2B5EF4-FFF2-40B4-BE49-F238E27FC236}">
                    <a16:creationId xmlns:a16="http://schemas.microsoft.com/office/drawing/2014/main" id="{E4499451-2889-48A9-A1E6-FE9DA5954FEA}"/>
                  </a:ext>
                </a:extLst>
              </p:cNvPr>
              <p:cNvSpPr>
                <a:spLocks noChangeShapeType="1"/>
              </p:cNvSpPr>
              <p:nvPr userDrawn="1"/>
            </p:nvSpPr>
            <p:spPr bwMode="auto">
              <a:xfrm>
                <a:off x="174612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1" name="Line 43">
                <a:extLst>
                  <a:ext uri="{FF2B5EF4-FFF2-40B4-BE49-F238E27FC236}">
                    <a16:creationId xmlns:a16="http://schemas.microsoft.com/office/drawing/2014/main" id="{E294B6A0-6D1C-4597-A945-76AB193D3C47}"/>
                  </a:ext>
                </a:extLst>
              </p:cNvPr>
              <p:cNvSpPr>
                <a:spLocks noChangeShapeType="1"/>
              </p:cNvSpPr>
              <p:nvPr userDrawn="1"/>
            </p:nvSpPr>
            <p:spPr bwMode="auto">
              <a:xfrm>
                <a:off x="189011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2" name="Line 44">
                <a:extLst>
                  <a:ext uri="{FF2B5EF4-FFF2-40B4-BE49-F238E27FC236}">
                    <a16:creationId xmlns:a16="http://schemas.microsoft.com/office/drawing/2014/main" id="{579E11FC-C5AB-4E51-AF8E-A8694F192513}"/>
                  </a:ext>
                </a:extLst>
              </p:cNvPr>
              <p:cNvSpPr>
                <a:spLocks noChangeShapeType="1"/>
              </p:cNvSpPr>
              <p:nvPr userDrawn="1"/>
            </p:nvSpPr>
            <p:spPr bwMode="auto">
              <a:xfrm>
                <a:off x="203410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3" name="Line 45">
                <a:extLst>
                  <a:ext uri="{FF2B5EF4-FFF2-40B4-BE49-F238E27FC236}">
                    <a16:creationId xmlns:a16="http://schemas.microsoft.com/office/drawing/2014/main" id="{89AE8D2B-4E5C-43F3-8BB6-086547F54A15}"/>
                  </a:ext>
                </a:extLst>
              </p:cNvPr>
              <p:cNvSpPr>
                <a:spLocks noChangeShapeType="1"/>
              </p:cNvSpPr>
              <p:nvPr userDrawn="1"/>
            </p:nvSpPr>
            <p:spPr bwMode="auto">
              <a:xfrm>
                <a:off x="217809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4" name="Line 46">
                <a:extLst>
                  <a:ext uri="{FF2B5EF4-FFF2-40B4-BE49-F238E27FC236}">
                    <a16:creationId xmlns:a16="http://schemas.microsoft.com/office/drawing/2014/main" id="{2AD46782-B19A-4CB5-BEF1-65DA07182652}"/>
                  </a:ext>
                </a:extLst>
              </p:cNvPr>
              <p:cNvSpPr>
                <a:spLocks noChangeShapeType="1"/>
              </p:cNvSpPr>
              <p:nvPr userDrawn="1"/>
            </p:nvSpPr>
            <p:spPr bwMode="auto">
              <a:xfrm>
                <a:off x="232209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5" name="Line 47">
                <a:extLst>
                  <a:ext uri="{FF2B5EF4-FFF2-40B4-BE49-F238E27FC236}">
                    <a16:creationId xmlns:a16="http://schemas.microsoft.com/office/drawing/2014/main" id="{61B22FA8-1D1B-4C21-B4C7-AF01C60715D3}"/>
                  </a:ext>
                </a:extLst>
              </p:cNvPr>
              <p:cNvSpPr>
                <a:spLocks noChangeShapeType="1"/>
              </p:cNvSpPr>
              <p:nvPr userDrawn="1"/>
            </p:nvSpPr>
            <p:spPr bwMode="auto">
              <a:xfrm>
                <a:off x="246608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6" name="Line 48">
                <a:extLst>
                  <a:ext uri="{FF2B5EF4-FFF2-40B4-BE49-F238E27FC236}">
                    <a16:creationId xmlns:a16="http://schemas.microsoft.com/office/drawing/2014/main" id="{E16ACD03-592C-4A43-807A-06DAE1B5E1F5}"/>
                  </a:ext>
                </a:extLst>
              </p:cNvPr>
              <p:cNvSpPr>
                <a:spLocks noChangeShapeType="1"/>
              </p:cNvSpPr>
              <p:nvPr userDrawn="1"/>
            </p:nvSpPr>
            <p:spPr bwMode="auto">
              <a:xfrm>
                <a:off x="261007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7" name="Line 49">
                <a:extLst>
                  <a:ext uri="{FF2B5EF4-FFF2-40B4-BE49-F238E27FC236}">
                    <a16:creationId xmlns:a16="http://schemas.microsoft.com/office/drawing/2014/main" id="{1660372C-3A4B-4A89-B606-6077EB9F7A8D}"/>
                  </a:ext>
                </a:extLst>
              </p:cNvPr>
              <p:cNvSpPr>
                <a:spLocks noChangeShapeType="1"/>
              </p:cNvSpPr>
              <p:nvPr userDrawn="1"/>
            </p:nvSpPr>
            <p:spPr bwMode="auto">
              <a:xfrm>
                <a:off x="275406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8" name="Line 50">
                <a:extLst>
                  <a:ext uri="{FF2B5EF4-FFF2-40B4-BE49-F238E27FC236}">
                    <a16:creationId xmlns:a16="http://schemas.microsoft.com/office/drawing/2014/main" id="{1BE35503-E024-4E30-AA3D-2BFE158CD957}"/>
                  </a:ext>
                </a:extLst>
              </p:cNvPr>
              <p:cNvSpPr>
                <a:spLocks noChangeShapeType="1"/>
              </p:cNvSpPr>
              <p:nvPr userDrawn="1"/>
            </p:nvSpPr>
            <p:spPr bwMode="auto">
              <a:xfrm>
                <a:off x="289805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9" name="Line 51">
                <a:extLst>
                  <a:ext uri="{FF2B5EF4-FFF2-40B4-BE49-F238E27FC236}">
                    <a16:creationId xmlns:a16="http://schemas.microsoft.com/office/drawing/2014/main" id="{891F0A11-53BB-404B-AD4F-D7380DD123C6}"/>
                  </a:ext>
                </a:extLst>
              </p:cNvPr>
              <p:cNvSpPr>
                <a:spLocks noChangeShapeType="1"/>
              </p:cNvSpPr>
              <p:nvPr userDrawn="1"/>
            </p:nvSpPr>
            <p:spPr bwMode="auto">
              <a:xfrm>
                <a:off x="304204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0" name="Line 52">
                <a:extLst>
                  <a:ext uri="{FF2B5EF4-FFF2-40B4-BE49-F238E27FC236}">
                    <a16:creationId xmlns:a16="http://schemas.microsoft.com/office/drawing/2014/main" id="{363BAFE0-011A-4E50-A64C-9BFEF298E5B1}"/>
                  </a:ext>
                </a:extLst>
              </p:cNvPr>
              <p:cNvSpPr>
                <a:spLocks noChangeShapeType="1"/>
              </p:cNvSpPr>
              <p:nvPr userDrawn="1"/>
            </p:nvSpPr>
            <p:spPr bwMode="auto">
              <a:xfrm>
                <a:off x="318603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1" name="Line 53">
                <a:extLst>
                  <a:ext uri="{FF2B5EF4-FFF2-40B4-BE49-F238E27FC236}">
                    <a16:creationId xmlns:a16="http://schemas.microsoft.com/office/drawing/2014/main" id="{175300C9-693A-47E6-B394-5EEDEFCAF8D7}"/>
                  </a:ext>
                </a:extLst>
              </p:cNvPr>
              <p:cNvSpPr>
                <a:spLocks noChangeShapeType="1"/>
              </p:cNvSpPr>
              <p:nvPr userDrawn="1"/>
            </p:nvSpPr>
            <p:spPr bwMode="auto">
              <a:xfrm>
                <a:off x="333002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2" name="Line 54">
                <a:extLst>
                  <a:ext uri="{FF2B5EF4-FFF2-40B4-BE49-F238E27FC236}">
                    <a16:creationId xmlns:a16="http://schemas.microsoft.com/office/drawing/2014/main" id="{02776534-4EA2-4EDB-A2EF-1CBF020DB355}"/>
                  </a:ext>
                </a:extLst>
              </p:cNvPr>
              <p:cNvSpPr>
                <a:spLocks noChangeShapeType="1"/>
              </p:cNvSpPr>
              <p:nvPr userDrawn="1"/>
            </p:nvSpPr>
            <p:spPr bwMode="auto">
              <a:xfrm>
                <a:off x="347401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3" name="Line 55">
                <a:extLst>
                  <a:ext uri="{FF2B5EF4-FFF2-40B4-BE49-F238E27FC236}">
                    <a16:creationId xmlns:a16="http://schemas.microsoft.com/office/drawing/2014/main" id="{F0A04E8A-4070-47CB-A7B6-87CB77302C51}"/>
                  </a:ext>
                </a:extLst>
              </p:cNvPr>
              <p:cNvSpPr>
                <a:spLocks noChangeShapeType="1"/>
              </p:cNvSpPr>
              <p:nvPr userDrawn="1"/>
            </p:nvSpPr>
            <p:spPr bwMode="auto">
              <a:xfrm>
                <a:off x="361800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4" name="Line 56">
                <a:extLst>
                  <a:ext uri="{FF2B5EF4-FFF2-40B4-BE49-F238E27FC236}">
                    <a16:creationId xmlns:a16="http://schemas.microsoft.com/office/drawing/2014/main" id="{71F1E0CA-98D5-41E8-8187-60C43A247919}"/>
                  </a:ext>
                </a:extLst>
              </p:cNvPr>
              <p:cNvSpPr>
                <a:spLocks noChangeShapeType="1"/>
              </p:cNvSpPr>
              <p:nvPr userDrawn="1"/>
            </p:nvSpPr>
            <p:spPr bwMode="auto">
              <a:xfrm>
                <a:off x="376200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5" name="Line 57">
                <a:extLst>
                  <a:ext uri="{FF2B5EF4-FFF2-40B4-BE49-F238E27FC236}">
                    <a16:creationId xmlns:a16="http://schemas.microsoft.com/office/drawing/2014/main" id="{C886B503-45D8-40FB-9FEF-6A2B2BF41FF6}"/>
                  </a:ext>
                </a:extLst>
              </p:cNvPr>
              <p:cNvSpPr>
                <a:spLocks noChangeShapeType="1"/>
              </p:cNvSpPr>
              <p:nvPr userDrawn="1"/>
            </p:nvSpPr>
            <p:spPr bwMode="auto">
              <a:xfrm>
                <a:off x="390599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6" name="Line 58">
                <a:extLst>
                  <a:ext uri="{FF2B5EF4-FFF2-40B4-BE49-F238E27FC236}">
                    <a16:creationId xmlns:a16="http://schemas.microsoft.com/office/drawing/2014/main" id="{DA6A002E-2565-4B00-B8B7-4EAAFC469019}"/>
                  </a:ext>
                </a:extLst>
              </p:cNvPr>
              <p:cNvSpPr>
                <a:spLocks noChangeShapeType="1"/>
              </p:cNvSpPr>
              <p:nvPr userDrawn="1"/>
            </p:nvSpPr>
            <p:spPr bwMode="auto">
              <a:xfrm>
                <a:off x="40499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7" name="Line 59">
                <a:extLst>
                  <a:ext uri="{FF2B5EF4-FFF2-40B4-BE49-F238E27FC236}">
                    <a16:creationId xmlns:a16="http://schemas.microsoft.com/office/drawing/2014/main" id="{9CE74601-BEDC-4352-93C8-DD70C4B7B2A6}"/>
                  </a:ext>
                </a:extLst>
              </p:cNvPr>
              <p:cNvSpPr>
                <a:spLocks noChangeShapeType="1"/>
              </p:cNvSpPr>
              <p:nvPr userDrawn="1"/>
            </p:nvSpPr>
            <p:spPr bwMode="auto">
              <a:xfrm>
                <a:off x="419397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8" name="Line 60">
                <a:extLst>
                  <a:ext uri="{FF2B5EF4-FFF2-40B4-BE49-F238E27FC236}">
                    <a16:creationId xmlns:a16="http://schemas.microsoft.com/office/drawing/2014/main" id="{969613DB-87D1-462A-936E-70CE157F7167}"/>
                  </a:ext>
                </a:extLst>
              </p:cNvPr>
              <p:cNvSpPr>
                <a:spLocks noChangeShapeType="1"/>
              </p:cNvSpPr>
              <p:nvPr userDrawn="1"/>
            </p:nvSpPr>
            <p:spPr bwMode="auto">
              <a:xfrm>
                <a:off x="433796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9" name="Line 61">
                <a:extLst>
                  <a:ext uri="{FF2B5EF4-FFF2-40B4-BE49-F238E27FC236}">
                    <a16:creationId xmlns:a16="http://schemas.microsoft.com/office/drawing/2014/main" id="{2367DC33-930F-4B68-A6A0-882BD6EEFADF}"/>
                  </a:ext>
                </a:extLst>
              </p:cNvPr>
              <p:cNvSpPr>
                <a:spLocks noChangeShapeType="1"/>
              </p:cNvSpPr>
              <p:nvPr userDrawn="1"/>
            </p:nvSpPr>
            <p:spPr bwMode="auto">
              <a:xfrm>
                <a:off x="448195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0" name="Line 62">
                <a:extLst>
                  <a:ext uri="{FF2B5EF4-FFF2-40B4-BE49-F238E27FC236}">
                    <a16:creationId xmlns:a16="http://schemas.microsoft.com/office/drawing/2014/main" id="{4591CD4D-DF5C-420C-B0D5-C1E37BA94744}"/>
                  </a:ext>
                </a:extLst>
              </p:cNvPr>
              <p:cNvSpPr>
                <a:spLocks noChangeShapeType="1"/>
              </p:cNvSpPr>
              <p:nvPr userDrawn="1"/>
            </p:nvSpPr>
            <p:spPr bwMode="auto">
              <a:xfrm>
                <a:off x="462594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1" name="Line 63">
                <a:extLst>
                  <a:ext uri="{FF2B5EF4-FFF2-40B4-BE49-F238E27FC236}">
                    <a16:creationId xmlns:a16="http://schemas.microsoft.com/office/drawing/2014/main" id="{9F47C4E3-DA86-45FD-B898-A0F9EC174D3E}"/>
                  </a:ext>
                </a:extLst>
              </p:cNvPr>
              <p:cNvSpPr>
                <a:spLocks noChangeShapeType="1"/>
              </p:cNvSpPr>
              <p:nvPr userDrawn="1"/>
            </p:nvSpPr>
            <p:spPr bwMode="auto">
              <a:xfrm>
                <a:off x="476993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2" name="Line 64">
                <a:extLst>
                  <a:ext uri="{FF2B5EF4-FFF2-40B4-BE49-F238E27FC236}">
                    <a16:creationId xmlns:a16="http://schemas.microsoft.com/office/drawing/2014/main" id="{C6161ABB-F20A-4558-AC16-FD59266AAD62}"/>
                  </a:ext>
                </a:extLst>
              </p:cNvPr>
              <p:cNvSpPr>
                <a:spLocks noChangeShapeType="1"/>
              </p:cNvSpPr>
              <p:nvPr userDrawn="1"/>
            </p:nvSpPr>
            <p:spPr bwMode="auto">
              <a:xfrm>
                <a:off x="491392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3" name="Line 65">
                <a:extLst>
                  <a:ext uri="{FF2B5EF4-FFF2-40B4-BE49-F238E27FC236}">
                    <a16:creationId xmlns:a16="http://schemas.microsoft.com/office/drawing/2014/main" id="{1D67868D-749B-4465-A63F-1486C3407ABE}"/>
                  </a:ext>
                </a:extLst>
              </p:cNvPr>
              <p:cNvSpPr>
                <a:spLocks noChangeShapeType="1"/>
              </p:cNvSpPr>
              <p:nvPr userDrawn="1"/>
            </p:nvSpPr>
            <p:spPr bwMode="auto">
              <a:xfrm>
                <a:off x="505791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4" name="Line 66">
                <a:extLst>
                  <a:ext uri="{FF2B5EF4-FFF2-40B4-BE49-F238E27FC236}">
                    <a16:creationId xmlns:a16="http://schemas.microsoft.com/office/drawing/2014/main" id="{CC921885-C1C6-4954-A6EB-9093652CB594}"/>
                  </a:ext>
                </a:extLst>
              </p:cNvPr>
              <p:cNvSpPr>
                <a:spLocks noChangeShapeType="1"/>
              </p:cNvSpPr>
              <p:nvPr userDrawn="1"/>
            </p:nvSpPr>
            <p:spPr bwMode="auto">
              <a:xfrm>
                <a:off x="520191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5" name="Line 67">
                <a:extLst>
                  <a:ext uri="{FF2B5EF4-FFF2-40B4-BE49-F238E27FC236}">
                    <a16:creationId xmlns:a16="http://schemas.microsoft.com/office/drawing/2014/main" id="{B9113E4A-043F-4E15-A44F-4973B012D182}"/>
                  </a:ext>
                </a:extLst>
              </p:cNvPr>
              <p:cNvSpPr>
                <a:spLocks noChangeShapeType="1"/>
              </p:cNvSpPr>
              <p:nvPr userDrawn="1"/>
            </p:nvSpPr>
            <p:spPr bwMode="auto">
              <a:xfrm>
                <a:off x="534590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6" name="Line 68">
                <a:extLst>
                  <a:ext uri="{FF2B5EF4-FFF2-40B4-BE49-F238E27FC236}">
                    <a16:creationId xmlns:a16="http://schemas.microsoft.com/office/drawing/2014/main" id="{670ECD5C-B237-4D06-9F4D-B5C534264A27}"/>
                  </a:ext>
                </a:extLst>
              </p:cNvPr>
              <p:cNvSpPr>
                <a:spLocks noChangeShapeType="1"/>
              </p:cNvSpPr>
              <p:nvPr userDrawn="1"/>
            </p:nvSpPr>
            <p:spPr bwMode="auto">
              <a:xfrm>
                <a:off x="548989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7" name="Line 69">
                <a:extLst>
                  <a:ext uri="{FF2B5EF4-FFF2-40B4-BE49-F238E27FC236}">
                    <a16:creationId xmlns:a16="http://schemas.microsoft.com/office/drawing/2014/main" id="{BF147DC1-6C10-46F3-BB8F-2C371E6BFF6F}"/>
                  </a:ext>
                </a:extLst>
              </p:cNvPr>
              <p:cNvSpPr>
                <a:spLocks noChangeShapeType="1"/>
              </p:cNvSpPr>
              <p:nvPr userDrawn="1"/>
            </p:nvSpPr>
            <p:spPr bwMode="auto">
              <a:xfrm>
                <a:off x="563388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8" name="Line 70">
                <a:extLst>
                  <a:ext uri="{FF2B5EF4-FFF2-40B4-BE49-F238E27FC236}">
                    <a16:creationId xmlns:a16="http://schemas.microsoft.com/office/drawing/2014/main" id="{212631D2-7C04-430E-A5ED-9280AFF97E03}"/>
                  </a:ext>
                </a:extLst>
              </p:cNvPr>
              <p:cNvSpPr>
                <a:spLocks noChangeShapeType="1"/>
              </p:cNvSpPr>
              <p:nvPr userDrawn="1"/>
            </p:nvSpPr>
            <p:spPr bwMode="auto">
              <a:xfrm>
                <a:off x="592186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9" name="Line 71">
                <a:extLst>
                  <a:ext uri="{FF2B5EF4-FFF2-40B4-BE49-F238E27FC236}">
                    <a16:creationId xmlns:a16="http://schemas.microsoft.com/office/drawing/2014/main" id="{2E02C889-7DF1-4828-AD77-929A96910AB8}"/>
                  </a:ext>
                </a:extLst>
              </p:cNvPr>
              <p:cNvSpPr>
                <a:spLocks noChangeShapeType="1"/>
              </p:cNvSpPr>
              <p:nvPr userDrawn="1"/>
            </p:nvSpPr>
            <p:spPr bwMode="auto">
              <a:xfrm>
                <a:off x="606585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0" name="Line 72">
                <a:extLst>
                  <a:ext uri="{FF2B5EF4-FFF2-40B4-BE49-F238E27FC236}">
                    <a16:creationId xmlns:a16="http://schemas.microsoft.com/office/drawing/2014/main" id="{236C7EF8-F84F-4F88-8EC3-CD722D02B9BB}"/>
                  </a:ext>
                </a:extLst>
              </p:cNvPr>
              <p:cNvSpPr>
                <a:spLocks noChangeShapeType="1"/>
              </p:cNvSpPr>
              <p:nvPr userDrawn="1"/>
            </p:nvSpPr>
            <p:spPr bwMode="auto">
              <a:xfrm>
                <a:off x="620984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1" name="Line 73">
                <a:extLst>
                  <a:ext uri="{FF2B5EF4-FFF2-40B4-BE49-F238E27FC236}">
                    <a16:creationId xmlns:a16="http://schemas.microsoft.com/office/drawing/2014/main" id="{BB0E4E88-6DF8-48A2-9344-A94F9D2A684D}"/>
                  </a:ext>
                </a:extLst>
              </p:cNvPr>
              <p:cNvSpPr>
                <a:spLocks noChangeShapeType="1"/>
              </p:cNvSpPr>
              <p:nvPr userDrawn="1"/>
            </p:nvSpPr>
            <p:spPr bwMode="auto">
              <a:xfrm>
                <a:off x="635383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2" name="Line 74">
                <a:extLst>
                  <a:ext uri="{FF2B5EF4-FFF2-40B4-BE49-F238E27FC236}">
                    <a16:creationId xmlns:a16="http://schemas.microsoft.com/office/drawing/2014/main" id="{4CAA7118-2F15-40FB-BB8F-1B3015E91916}"/>
                  </a:ext>
                </a:extLst>
              </p:cNvPr>
              <p:cNvSpPr>
                <a:spLocks noChangeShapeType="1"/>
              </p:cNvSpPr>
              <p:nvPr userDrawn="1"/>
            </p:nvSpPr>
            <p:spPr bwMode="auto">
              <a:xfrm>
                <a:off x="649782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3" name="Line 75">
                <a:extLst>
                  <a:ext uri="{FF2B5EF4-FFF2-40B4-BE49-F238E27FC236}">
                    <a16:creationId xmlns:a16="http://schemas.microsoft.com/office/drawing/2014/main" id="{3089F4BD-28DF-42EA-8AA5-24F8C5447DAD}"/>
                  </a:ext>
                </a:extLst>
              </p:cNvPr>
              <p:cNvSpPr>
                <a:spLocks noChangeShapeType="1"/>
              </p:cNvSpPr>
              <p:nvPr userDrawn="1"/>
            </p:nvSpPr>
            <p:spPr bwMode="auto">
              <a:xfrm>
                <a:off x="664182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4" name="Line 76">
                <a:extLst>
                  <a:ext uri="{FF2B5EF4-FFF2-40B4-BE49-F238E27FC236}">
                    <a16:creationId xmlns:a16="http://schemas.microsoft.com/office/drawing/2014/main" id="{6C9E9BE6-A0B1-4A25-BF97-9A19916F4245}"/>
                  </a:ext>
                </a:extLst>
              </p:cNvPr>
              <p:cNvSpPr>
                <a:spLocks noChangeShapeType="1"/>
              </p:cNvSpPr>
              <p:nvPr userDrawn="1"/>
            </p:nvSpPr>
            <p:spPr bwMode="auto">
              <a:xfrm>
                <a:off x="678581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5" name="Line 77">
                <a:extLst>
                  <a:ext uri="{FF2B5EF4-FFF2-40B4-BE49-F238E27FC236}">
                    <a16:creationId xmlns:a16="http://schemas.microsoft.com/office/drawing/2014/main" id="{120331D6-4468-4E55-877F-9CE7A024160F}"/>
                  </a:ext>
                </a:extLst>
              </p:cNvPr>
              <p:cNvSpPr>
                <a:spLocks noChangeShapeType="1"/>
              </p:cNvSpPr>
              <p:nvPr userDrawn="1"/>
            </p:nvSpPr>
            <p:spPr bwMode="auto">
              <a:xfrm>
                <a:off x="692980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6" name="Line 78">
                <a:extLst>
                  <a:ext uri="{FF2B5EF4-FFF2-40B4-BE49-F238E27FC236}">
                    <a16:creationId xmlns:a16="http://schemas.microsoft.com/office/drawing/2014/main" id="{DEAE689D-A545-4780-BB1A-87741E6E8B03}"/>
                  </a:ext>
                </a:extLst>
              </p:cNvPr>
              <p:cNvSpPr>
                <a:spLocks noChangeShapeType="1"/>
              </p:cNvSpPr>
              <p:nvPr userDrawn="1"/>
            </p:nvSpPr>
            <p:spPr bwMode="auto">
              <a:xfrm>
                <a:off x="707379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7" name="Line 79">
                <a:extLst>
                  <a:ext uri="{FF2B5EF4-FFF2-40B4-BE49-F238E27FC236}">
                    <a16:creationId xmlns:a16="http://schemas.microsoft.com/office/drawing/2014/main" id="{BA26C8F6-9128-456F-88FF-D0E582DCB511}"/>
                  </a:ext>
                </a:extLst>
              </p:cNvPr>
              <p:cNvSpPr>
                <a:spLocks noChangeShapeType="1"/>
              </p:cNvSpPr>
              <p:nvPr userDrawn="1"/>
            </p:nvSpPr>
            <p:spPr bwMode="auto">
              <a:xfrm>
                <a:off x="721778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8" name="Line 80">
                <a:extLst>
                  <a:ext uri="{FF2B5EF4-FFF2-40B4-BE49-F238E27FC236}">
                    <a16:creationId xmlns:a16="http://schemas.microsoft.com/office/drawing/2014/main" id="{9ADBAC7F-382F-4539-B182-D9F376A762DA}"/>
                  </a:ext>
                </a:extLst>
              </p:cNvPr>
              <p:cNvSpPr>
                <a:spLocks noChangeShapeType="1"/>
              </p:cNvSpPr>
              <p:nvPr userDrawn="1"/>
            </p:nvSpPr>
            <p:spPr bwMode="auto">
              <a:xfrm>
                <a:off x="736177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9" name="Line 81">
                <a:extLst>
                  <a:ext uri="{FF2B5EF4-FFF2-40B4-BE49-F238E27FC236}">
                    <a16:creationId xmlns:a16="http://schemas.microsoft.com/office/drawing/2014/main" id="{F74CF1E0-42B4-49F3-A040-881B61957DBE}"/>
                  </a:ext>
                </a:extLst>
              </p:cNvPr>
              <p:cNvSpPr>
                <a:spLocks noChangeShapeType="1"/>
              </p:cNvSpPr>
              <p:nvPr userDrawn="1"/>
            </p:nvSpPr>
            <p:spPr bwMode="auto">
              <a:xfrm>
                <a:off x="750576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0" name="Line 82">
                <a:extLst>
                  <a:ext uri="{FF2B5EF4-FFF2-40B4-BE49-F238E27FC236}">
                    <a16:creationId xmlns:a16="http://schemas.microsoft.com/office/drawing/2014/main" id="{F92CF38E-E014-40A7-BA32-ADD8A8DDC366}"/>
                  </a:ext>
                </a:extLst>
              </p:cNvPr>
              <p:cNvSpPr>
                <a:spLocks noChangeShapeType="1"/>
              </p:cNvSpPr>
              <p:nvPr userDrawn="1"/>
            </p:nvSpPr>
            <p:spPr bwMode="auto">
              <a:xfrm>
                <a:off x="764975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1" name="Line 83">
                <a:extLst>
                  <a:ext uri="{FF2B5EF4-FFF2-40B4-BE49-F238E27FC236}">
                    <a16:creationId xmlns:a16="http://schemas.microsoft.com/office/drawing/2014/main" id="{C0F97338-72E4-4CA8-B0EC-CCB79146B2B3}"/>
                  </a:ext>
                </a:extLst>
              </p:cNvPr>
              <p:cNvSpPr>
                <a:spLocks noChangeShapeType="1"/>
              </p:cNvSpPr>
              <p:nvPr userDrawn="1"/>
            </p:nvSpPr>
            <p:spPr bwMode="auto">
              <a:xfrm>
                <a:off x="779374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2" name="Line 84">
                <a:extLst>
                  <a:ext uri="{FF2B5EF4-FFF2-40B4-BE49-F238E27FC236}">
                    <a16:creationId xmlns:a16="http://schemas.microsoft.com/office/drawing/2014/main" id="{72EA7E3A-A860-4BBA-B95A-5BA0143FCD2E}"/>
                  </a:ext>
                </a:extLst>
              </p:cNvPr>
              <p:cNvSpPr>
                <a:spLocks noChangeShapeType="1"/>
              </p:cNvSpPr>
              <p:nvPr userDrawn="1"/>
            </p:nvSpPr>
            <p:spPr bwMode="auto">
              <a:xfrm>
                <a:off x="793773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3" name="Line 85">
                <a:extLst>
                  <a:ext uri="{FF2B5EF4-FFF2-40B4-BE49-F238E27FC236}">
                    <a16:creationId xmlns:a16="http://schemas.microsoft.com/office/drawing/2014/main" id="{2B3B6E98-97A9-44D8-8171-F9663AF9990C}"/>
                  </a:ext>
                </a:extLst>
              </p:cNvPr>
              <p:cNvSpPr>
                <a:spLocks noChangeShapeType="1"/>
              </p:cNvSpPr>
              <p:nvPr userDrawn="1"/>
            </p:nvSpPr>
            <p:spPr bwMode="auto">
              <a:xfrm>
                <a:off x="808173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4" name="Line 86">
                <a:extLst>
                  <a:ext uri="{FF2B5EF4-FFF2-40B4-BE49-F238E27FC236}">
                    <a16:creationId xmlns:a16="http://schemas.microsoft.com/office/drawing/2014/main" id="{EE687D04-A2F1-4AE4-AF02-FFF7AB4B5855}"/>
                  </a:ext>
                </a:extLst>
              </p:cNvPr>
              <p:cNvSpPr>
                <a:spLocks noChangeShapeType="1"/>
              </p:cNvSpPr>
              <p:nvPr userDrawn="1"/>
            </p:nvSpPr>
            <p:spPr bwMode="auto">
              <a:xfrm>
                <a:off x="822572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5" name="Line 87">
                <a:extLst>
                  <a:ext uri="{FF2B5EF4-FFF2-40B4-BE49-F238E27FC236}">
                    <a16:creationId xmlns:a16="http://schemas.microsoft.com/office/drawing/2014/main" id="{4F4989A1-2481-47F4-A745-A291F8584F4A}"/>
                  </a:ext>
                </a:extLst>
              </p:cNvPr>
              <p:cNvSpPr>
                <a:spLocks noChangeShapeType="1"/>
              </p:cNvSpPr>
              <p:nvPr userDrawn="1"/>
            </p:nvSpPr>
            <p:spPr bwMode="auto">
              <a:xfrm>
                <a:off x="836971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6" name="Line 88">
                <a:extLst>
                  <a:ext uri="{FF2B5EF4-FFF2-40B4-BE49-F238E27FC236}">
                    <a16:creationId xmlns:a16="http://schemas.microsoft.com/office/drawing/2014/main" id="{7BD7EFF4-15CB-4DE7-A05C-233334F91C84}"/>
                  </a:ext>
                </a:extLst>
              </p:cNvPr>
              <p:cNvSpPr>
                <a:spLocks noChangeShapeType="1"/>
              </p:cNvSpPr>
              <p:nvPr userDrawn="1"/>
            </p:nvSpPr>
            <p:spPr bwMode="auto">
              <a:xfrm>
                <a:off x="851370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7" name="Line 89">
                <a:extLst>
                  <a:ext uri="{FF2B5EF4-FFF2-40B4-BE49-F238E27FC236}">
                    <a16:creationId xmlns:a16="http://schemas.microsoft.com/office/drawing/2014/main" id="{DD356E9D-87FC-44E6-8808-42927D21306A}"/>
                  </a:ext>
                </a:extLst>
              </p:cNvPr>
              <p:cNvSpPr>
                <a:spLocks noChangeShapeType="1"/>
              </p:cNvSpPr>
              <p:nvPr userDrawn="1"/>
            </p:nvSpPr>
            <p:spPr bwMode="auto">
              <a:xfrm>
                <a:off x="865769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8" name="Line 90">
                <a:extLst>
                  <a:ext uri="{FF2B5EF4-FFF2-40B4-BE49-F238E27FC236}">
                    <a16:creationId xmlns:a16="http://schemas.microsoft.com/office/drawing/2014/main" id="{63D2EE87-F461-4CDA-96EB-DD071B8A909C}"/>
                  </a:ext>
                </a:extLst>
              </p:cNvPr>
              <p:cNvSpPr>
                <a:spLocks noChangeShapeType="1"/>
              </p:cNvSpPr>
              <p:nvPr userDrawn="1"/>
            </p:nvSpPr>
            <p:spPr bwMode="auto">
              <a:xfrm>
                <a:off x="8801685"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9" name="Line 91">
                <a:extLst>
                  <a:ext uri="{FF2B5EF4-FFF2-40B4-BE49-F238E27FC236}">
                    <a16:creationId xmlns:a16="http://schemas.microsoft.com/office/drawing/2014/main" id="{C0B801D1-07AA-4950-BE03-47950B176699}"/>
                  </a:ext>
                </a:extLst>
              </p:cNvPr>
              <p:cNvSpPr>
                <a:spLocks noChangeShapeType="1"/>
              </p:cNvSpPr>
              <p:nvPr userDrawn="1"/>
            </p:nvSpPr>
            <p:spPr bwMode="auto">
              <a:xfrm>
                <a:off x="894567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0" name="Line 92">
                <a:extLst>
                  <a:ext uri="{FF2B5EF4-FFF2-40B4-BE49-F238E27FC236}">
                    <a16:creationId xmlns:a16="http://schemas.microsoft.com/office/drawing/2014/main" id="{7D2F46D5-683A-4FDE-B60C-D507A26FDFF9}"/>
                  </a:ext>
                </a:extLst>
              </p:cNvPr>
              <p:cNvSpPr>
                <a:spLocks noChangeShapeType="1"/>
              </p:cNvSpPr>
              <p:nvPr userDrawn="1"/>
            </p:nvSpPr>
            <p:spPr bwMode="auto">
              <a:xfrm>
                <a:off x="908966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1" name="Line 93">
                <a:extLst>
                  <a:ext uri="{FF2B5EF4-FFF2-40B4-BE49-F238E27FC236}">
                    <a16:creationId xmlns:a16="http://schemas.microsoft.com/office/drawing/2014/main" id="{3D9ED844-E83D-485A-80E2-3C204A748551}"/>
                  </a:ext>
                </a:extLst>
              </p:cNvPr>
              <p:cNvSpPr>
                <a:spLocks noChangeShapeType="1"/>
              </p:cNvSpPr>
              <p:nvPr userDrawn="1"/>
            </p:nvSpPr>
            <p:spPr bwMode="auto">
              <a:xfrm>
                <a:off x="923365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2" name="Line 94">
                <a:extLst>
                  <a:ext uri="{FF2B5EF4-FFF2-40B4-BE49-F238E27FC236}">
                    <a16:creationId xmlns:a16="http://schemas.microsoft.com/office/drawing/2014/main" id="{C5B0820D-7E29-4A19-8B74-C0C2F85C7AAA}"/>
                  </a:ext>
                </a:extLst>
              </p:cNvPr>
              <p:cNvSpPr>
                <a:spLocks noChangeShapeType="1"/>
              </p:cNvSpPr>
              <p:nvPr userDrawn="1"/>
            </p:nvSpPr>
            <p:spPr bwMode="auto">
              <a:xfrm>
                <a:off x="937764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3" name="Line 95">
                <a:extLst>
                  <a:ext uri="{FF2B5EF4-FFF2-40B4-BE49-F238E27FC236}">
                    <a16:creationId xmlns:a16="http://schemas.microsoft.com/office/drawing/2014/main" id="{D073B4B5-8B15-42BA-BF41-4CD3493D4F05}"/>
                  </a:ext>
                </a:extLst>
              </p:cNvPr>
              <p:cNvSpPr>
                <a:spLocks noChangeShapeType="1"/>
              </p:cNvSpPr>
              <p:nvPr userDrawn="1"/>
            </p:nvSpPr>
            <p:spPr bwMode="auto">
              <a:xfrm>
                <a:off x="952164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4" name="Line 96">
                <a:extLst>
                  <a:ext uri="{FF2B5EF4-FFF2-40B4-BE49-F238E27FC236}">
                    <a16:creationId xmlns:a16="http://schemas.microsoft.com/office/drawing/2014/main" id="{FB793A48-A1A3-4A4A-AF19-B3952853C555}"/>
                  </a:ext>
                </a:extLst>
              </p:cNvPr>
              <p:cNvSpPr>
                <a:spLocks noChangeShapeType="1"/>
              </p:cNvSpPr>
              <p:nvPr userDrawn="1"/>
            </p:nvSpPr>
            <p:spPr bwMode="auto">
              <a:xfrm>
                <a:off x="966563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5" name="Line 97">
                <a:extLst>
                  <a:ext uri="{FF2B5EF4-FFF2-40B4-BE49-F238E27FC236}">
                    <a16:creationId xmlns:a16="http://schemas.microsoft.com/office/drawing/2014/main" id="{B54C232B-D6E9-45C2-B74F-C039BCCBB515}"/>
                  </a:ext>
                </a:extLst>
              </p:cNvPr>
              <p:cNvSpPr>
                <a:spLocks noChangeShapeType="1"/>
              </p:cNvSpPr>
              <p:nvPr userDrawn="1"/>
            </p:nvSpPr>
            <p:spPr bwMode="auto">
              <a:xfrm>
                <a:off x="980962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6" name="Line 98">
                <a:extLst>
                  <a:ext uri="{FF2B5EF4-FFF2-40B4-BE49-F238E27FC236}">
                    <a16:creationId xmlns:a16="http://schemas.microsoft.com/office/drawing/2014/main" id="{02F1D6E3-A727-485C-97A7-0A4D07646D2B}"/>
                  </a:ext>
                </a:extLst>
              </p:cNvPr>
              <p:cNvSpPr>
                <a:spLocks noChangeShapeType="1"/>
              </p:cNvSpPr>
              <p:nvPr userDrawn="1"/>
            </p:nvSpPr>
            <p:spPr bwMode="auto">
              <a:xfrm>
                <a:off x="995361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7" name="Line 99">
                <a:extLst>
                  <a:ext uri="{FF2B5EF4-FFF2-40B4-BE49-F238E27FC236}">
                    <a16:creationId xmlns:a16="http://schemas.microsoft.com/office/drawing/2014/main" id="{F4031A21-B710-4CFF-A4ED-DD1CFB0184AE}"/>
                  </a:ext>
                </a:extLst>
              </p:cNvPr>
              <p:cNvSpPr>
                <a:spLocks noChangeShapeType="1"/>
              </p:cNvSpPr>
              <p:nvPr userDrawn="1"/>
            </p:nvSpPr>
            <p:spPr bwMode="auto">
              <a:xfrm>
                <a:off x="14581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8" name="Line 100">
                <a:extLst>
                  <a:ext uri="{FF2B5EF4-FFF2-40B4-BE49-F238E27FC236}">
                    <a16:creationId xmlns:a16="http://schemas.microsoft.com/office/drawing/2014/main" id="{EC31537F-428D-43A3-B154-40778561BFB2}"/>
                  </a:ext>
                </a:extLst>
              </p:cNvPr>
              <p:cNvSpPr>
                <a:spLocks noChangeShapeType="1"/>
              </p:cNvSpPr>
              <p:nvPr userDrawn="1"/>
            </p:nvSpPr>
            <p:spPr bwMode="auto">
              <a:xfrm>
                <a:off x="1009760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9" name="Line 103">
                <a:extLst>
                  <a:ext uri="{FF2B5EF4-FFF2-40B4-BE49-F238E27FC236}">
                    <a16:creationId xmlns:a16="http://schemas.microsoft.com/office/drawing/2014/main" id="{03AF1922-8C19-4C2B-A75C-FBDF041215C5}"/>
                  </a:ext>
                </a:extLst>
              </p:cNvPr>
              <p:cNvSpPr>
                <a:spLocks noChangeShapeType="1"/>
              </p:cNvSpPr>
              <p:nvPr userDrawn="1"/>
            </p:nvSpPr>
            <p:spPr bwMode="auto">
              <a:xfrm>
                <a:off x="5777874" y="1266144"/>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1"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1314153"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17016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3" name="Line 100">
                <a:extLst>
                  <a:ext uri="{FF2B5EF4-FFF2-40B4-BE49-F238E27FC236}">
                    <a16:creationId xmlns:a16="http://schemas.microsoft.com/office/drawing/2014/main" id="{E89541B3-962E-45B5-A122-E883EBD2F347}"/>
                  </a:ext>
                </a:extLst>
              </p:cNvPr>
              <p:cNvSpPr>
                <a:spLocks noChangeShapeType="1"/>
              </p:cNvSpPr>
              <p:nvPr userDrawn="1"/>
            </p:nvSpPr>
            <p:spPr bwMode="auto">
              <a:xfrm>
                <a:off x="10241606"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0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594198"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52"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450207"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57" name="Line 99">
                <a:extLst>
                  <a:ext uri="{FF2B5EF4-FFF2-40B4-BE49-F238E27FC236}">
                    <a16:creationId xmlns:a16="http://schemas.microsoft.com/office/drawing/2014/main" id="{9E65657D-4235-4748-9913-7F7175549388}"/>
                  </a:ext>
                </a:extLst>
              </p:cNvPr>
              <p:cNvSpPr>
                <a:spLocks noChangeShapeType="1"/>
              </p:cNvSpPr>
              <p:nvPr userDrawn="1"/>
            </p:nvSpPr>
            <p:spPr bwMode="auto">
              <a:xfrm>
                <a:off x="882180"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58"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738189"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59" name="Line 99">
                <a:extLst>
                  <a:ext uri="{FF2B5EF4-FFF2-40B4-BE49-F238E27FC236}">
                    <a16:creationId xmlns:a16="http://schemas.microsoft.com/office/drawing/2014/main" id="{A500CD90-3538-4FD9-9507-8C799046E7FE}"/>
                  </a:ext>
                </a:extLst>
              </p:cNvPr>
              <p:cNvSpPr>
                <a:spLocks noChangeShapeType="1"/>
              </p:cNvSpPr>
              <p:nvPr userDrawn="1"/>
            </p:nvSpPr>
            <p:spPr bwMode="auto">
              <a:xfrm>
                <a:off x="1026171"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63" name="Line 100">
                <a:extLst>
                  <a:ext uri="{FF2B5EF4-FFF2-40B4-BE49-F238E27FC236}">
                    <a16:creationId xmlns:a16="http://schemas.microsoft.com/office/drawing/2014/main" id="{14F91DEB-3F57-4125-96FB-37D695A4F11C}"/>
                  </a:ext>
                </a:extLst>
              </p:cNvPr>
              <p:cNvSpPr>
                <a:spLocks noChangeShapeType="1"/>
              </p:cNvSpPr>
              <p:nvPr userDrawn="1"/>
            </p:nvSpPr>
            <p:spPr bwMode="auto">
              <a:xfrm>
                <a:off x="10386044"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64" name="Line 100">
                <a:extLst>
                  <a:ext uri="{FF2B5EF4-FFF2-40B4-BE49-F238E27FC236}">
                    <a16:creationId xmlns:a16="http://schemas.microsoft.com/office/drawing/2014/main" id="{BF522149-567E-46D1-88EE-4FCFE8D6B323}"/>
                  </a:ext>
                </a:extLst>
              </p:cNvPr>
              <p:cNvSpPr>
                <a:spLocks noChangeShapeType="1"/>
              </p:cNvSpPr>
              <p:nvPr userDrawn="1"/>
            </p:nvSpPr>
            <p:spPr bwMode="auto">
              <a:xfrm>
                <a:off x="10530482" y="1266143"/>
                <a:ext cx="0" cy="5903999"/>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grpSp>
          <p:nvGrpSpPr>
            <p:cNvPr id="2" name="グループ化 1">
              <a:extLst>
                <a:ext uri="{FF2B5EF4-FFF2-40B4-BE49-F238E27FC236}">
                  <a16:creationId xmlns:a16="http://schemas.microsoft.com/office/drawing/2014/main" id="{9A58206C-521C-4AC6-B753-B37DE5166089}"/>
                </a:ext>
              </a:extLst>
            </p:cNvPr>
            <p:cNvGrpSpPr/>
            <p:nvPr userDrawn="1"/>
          </p:nvGrpSpPr>
          <p:grpSpPr>
            <a:xfrm>
              <a:off x="450482" y="1266143"/>
              <a:ext cx="10080000" cy="6047999"/>
              <a:chOff x="450482" y="1266143"/>
              <a:chExt cx="10080000" cy="6047999"/>
            </a:xfrm>
          </p:grpSpPr>
          <p:sp>
            <p:nvSpPr>
              <p:cNvPr id="549"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7026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50"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7170111"/>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5" name="Line 4">
                <a:extLst>
                  <a:ext uri="{FF2B5EF4-FFF2-40B4-BE49-F238E27FC236}">
                    <a16:creationId xmlns:a16="http://schemas.microsoft.com/office/drawing/2014/main" id="{ED3E67C9-27BC-4272-B00C-CA29AD6FEF9E}"/>
                  </a:ext>
                </a:extLst>
              </p:cNvPr>
              <p:cNvSpPr>
                <a:spLocks noChangeShapeType="1"/>
              </p:cNvSpPr>
              <p:nvPr userDrawn="1"/>
            </p:nvSpPr>
            <p:spPr bwMode="auto">
              <a:xfrm>
                <a:off x="450482" y="65953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6" name="Line 5">
                <a:extLst>
                  <a:ext uri="{FF2B5EF4-FFF2-40B4-BE49-F238E27FC236}">
                    <a16:creationId xmlns:a16="http://schemas.microsoft.com/office/drawing/2014/main" id="{6745349F-81B3-4223-A6AE-EFB20C4D4610}"/>
                  </a:ext>
                </a:extLst>
              </p:cNvPr>
              <p:cNvSpPr>
                <a:spLocks noChangeShapeType="1"/>
              </p:cNvSpPr>
              <p:nvPr userDrawn="1"/>
            </p:nvSpPr>
            <p:spPr bwMode="auto">
              <a:xfrm>
                <a:off x="450482" y="64509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7" name="Line 6">
                <a:extLst>
                  <a:ext uri="{FF2B5EF4-FFF2-40B4-BE49-F238E27FC236}">
                    <a16:creationId xmlns:a16="http://schemas.microsoft.com/office/drawing/2014/main" id="{01A4BD4C-0996-4DFE-87FD-2E6A3228566A}"/>
                  </a:ext>
                </a:extLst>
              </p:cNvPr>
              <p:cNvSpPr>
                <a:spLocks noChangeShapeType="1"/>
              </p:cNvSpPr>
              <p:nvPr userDrawn="1"/>
            </p:nvSpPr>
            <p:spPr bwMode="auto">
              <a:xfrm>
                <a:off x="450482" y="63064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8" name="Line 7">
                <a:extLst>
                  <a:ext uri="{FF2B5EF4-FFF2-40B4-BE49-F238E27FC236}">
                    <a16:creationId xmlns:a16="http://schemas.microsoft.com/office/drawing/2014/main" id="{17D6288E-5768-48AA-A479-590937F03C82}"/>
                  </a:ext>
                </a:extLst>
              </p:cNvPr>
              <p:cNvSpPr>
                <a:spLocks noChangeShapeType="1"/>
              </p:cNvSpPr>
              <p:nvPr userDrawn="1"/>
            </p:nvSpPr>
            <p:spPr bwMode="auto">
              <a:xfrm>
                <a:off x="450482" y="61619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9" name="Line 8">
                <a:extLst>
                  <a:ext uri="{FF2B5EF4-FFF2-40B4-BE49-F238E27FC236}">
                    <a16:creationId xmlns:a16="http://schemas.microsoft.com/office/drawing/2014/main" id="{970293D2-7B56-4A6B-8017-88B47F507A02}"/>
                  </a:ext>
                </a:extLst>
              </p:cNvPr>
              <p:cNvSpPr>
                <a:spLocks noChangeShapeType="1"/>
              </p:cNvSpPr>
              <p:nvPr userDrawn="1"/>
            </p:nvSpPr>
            <p:spPr bwMode="auto">
              <a:xfrm>
                <a:off x="450482" y="60191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0" name="Line 9">
                <a:extLst>
                  <a:ext uri="{FF2B5EF4-FFF2-40B4-BE49-F238E27FC236}">
                    <a16:creationId xmlns:a16="http://schemas.microsoft.com/office/drawing/2014/main" id="{3AA1EA8A-C1C1-4493-8473-EE34B6B9FB11}"/>
                  </a:ext>
                </a:extLst>
              </p:cNvPr>
              <p:cNvSpPr>
                <a:spLocks noChangeShapeType="1"/>
              </p:cNvSpPr>
              <p:nvPr userDrawn="1"/>
            </p:nvSpPr>
            <p:spPr bwMode="auto">
              <a:xfrm>
                <a:off x="450482" y="58746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1" name="Line 10">
                <a:extLst>
                  <a:ext uri="{FF2B5EF4-FFF2-40B4-BE49-F238E27FC236}">
                    <a16:creationId xmlns:a16="http://schemas.microsoft.com/office/drawing/2014/main" id="{AB0502EE-3088-4764-B89F-089E0AB0935C}"/>
                  </a:ext>
                </a:extLst>
              </p:cNvPr>
              <p:cNvSpPr>
                <a:spLocks noChangeShapeType="1"/>
              </p:cNvSpPr>
              <p:nvPr userDrawn="1"/>
            </p:nvSpPr>
            <p:spPr bwMode="auto">
              <a:xfrm>
                <a:off x="450482" y="57301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2" name="Line 11">
                <a:extLst>
                  <a:ext uri="{FF2B5EF4-FFF2-40B4-BE49-F238E27FC236}">
                    <a16:creationId xmlns:a16="http://schemas.microsoft.com/office/drawing/2014/main" id="{DB75B4C0-2A98-4F8F-8FE3-AE72A07BA0CF}"/>
                  </a:ext>
                </a:extLst>
              </p:cNvPr>
              <p:cNvSpPr>
                <a:spLocks noChangeShapeType="1"/>
              </p:cNvSpPr>
              <p:nvPr userDrawn="1"/>
            </p:nvSpPr>
            <p:spPr bwMode="auto">
              <a:xfrm>
                <a:off x="450482" y="558732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3" name="Line 12">
                <a:extLst>
                  <a:ext uri="{FF2B5EF4-FFF2-40B4-BE49-F238E27FC236}">
                    <a16:creationId xmlns:a16="http://schemas.microsoft.com/office/drawing/2014/main" id="{FD0BDE55-1681-4ADE-833B-2DDACA57573B}"/>
                  </a:ext>
                </a:extLst>
              </p:cNvPr>
              <p:cNvSpPr>
                <a:spLocks noChangeShapeType="1"/>
              </p:cNvSpPr>
              <p:nvPr userDrawn="1"/>
            </p:nvSpPr>
            <p:spPr bwMode="auto">
              <a:xfrm>
                <a:off x="450482" y="54428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4" name="Line 13">
                <a:extLst>
                  <a:ext uri="{FF2B5EF4-FFF2-40B4-BE49-F238E27FC236}">
                    <a16:creationId xmlns:a16="http://schemas.microsoft.com/office/drawing/2014/main" id="{CBDC9C49-34BE-4869-91C9-710B3DC780C5}"/>
                  </a:ext>
                </a:extLst>
              </p:cNvPr>
              <p:cNvSpPr>
                <a:spLocks noChangeShapeType="1"/>
              </p:cNvSpPr>
              <p:nvPr userDrawn="1"/>
            </p:nvSpPr>
            <p:spPr bwMode="auto">
              <a:xfrm>
                <a:off x="450482" y="52983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5" name="Line 14">
                <a:extLst>
                  <a:ext uri="{FF2B5EF4-FFF2-40B4-BE49-F238E27FC236}">
                    <a16:creationId xmlns:a16="http://schemas.microsoft.com/office/drawing/2014/main" id="{E13EA2CB-3144-4836-AE76-8DE8E10DF27C}"/>
                  </a:ext>
                </a:extLst>
              </p:cNvPr>
              <p:cNvSpPr>
                <a:spLocks noChangeShapeType="1"/>
              </p:cNvSpPr>
              <p:nvPr userDrawn="1"/>
            </p:nvSpPr>
            <p:spPr bwMode="auto">
              <a:xfrm>
                <a:off x="450482" y="5153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6" name="Line 15">
                <a:extLst>
                  <a:ext uri="{FF2B5EF4-FFF2-40B4-BE49-F238E27FC236}">
                    <a16:creationId xmlns:a16="http://schemas.microsoft.com/office/drawing/2014/main" id="{1194D918-3269-4A4B-9FAA-443F31789117}"/>
                  </a:ext>
                </a:extLst>
              </p:cNvPr>
              <p:cNvSpPr>
                <a:spLocks noChangeShapeType="1"/>
              </p:cNvSpPr>
              <p:nvPr userDrawn="1"/>
            </p:nvSpPr>
            <p:spPr bwMode="auto">
              <a:xfrm>
                <a:off x="450482" y="501105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7" name="Line 16">
                <a:extLst>
                  <a:ext uri="{FF2B5EF4-FFF2-40B4-BE49-F238E27FC236}">
                    <a16:creationId xmlns:a16="http://schemas.microsoft.com/office/drawing/2014/main" id="{E38AEF2F-D3A2-47E3-AC05-ADF42C95E8ED}"/>
                  </a:ext>
                </a:extLst>
              </p:cNvPr>
              <p:cNvSpPr>
                <a:spLocks noChangeShapeType="1"/>
              </p:cNvSpPr>
              <p:nvPr userDrawn="1"/>
            </p:nvSpPr>
            <p:spPr bwMode="auto">
              <a:xfrm>
                <a:off x="450482" y="48665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8" name="Line 17">
                <a:extLst>
                  <a:ext uri="{FF2B5EF4-FFF2-40B4-BE49-F238E27FC236}">
                    <a16:creationId xmlns:a16="http://schemas.microsoft.com/office/drawing/2014/main" id="{FC0F6E07-A752-469E-9B82-6C57FA3BB4C4}"/>
                  </a:ext>
                </a:extLst>
              </p:cNvPr>
              <p:cNvSpPr>
                <a:spLocks noChangeShapeType="1"/>
              </p:cNvSpPr>
              <p:nvPr userDrawn="1"/>
            </p:nvSpPr>
            <p:spPr bwMode="auto">
              <a:xfrm>
                <a:off x="450482" y="47221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9" name="Line 18">
                <a:extLst>
                  <a:ext uri="{FF2B5EF4-FFF2-40B4-BE49-F238E27FC236}">
                    <a16:creationId xmlns:a16="http://schemas.microsoft.com/office/drawing/2014/main" id="{4E757295-36F2-4E7C-B511-0F1135BF25E4}"/>
                  </a:ext>
                </a:extLst>
              </p:cNvPr>
              <p:cNvSpPr>
                <a:spLocks noChangeShapeType="1"/>
              </p:cNvSpPr>
              <p:nvPr userDrawn="1"/>
            </p:nvSpPr>
            <p:spPr bwMode="auto">
              <a:xfrm>
                <a:off x="450482" y="4577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0" name="Line 19">
                <a:extLst>
                  <a:ext uri="{FF2B5EF4-FFF2-40B4-BE49-F238E27FC236}">
                    <a16:creationId xmlns:a16="http://schemas.microsoft.com/office/drawing/2014/main" id="{577EC59E-4974-411E-AC78-5BFB5159494D}"/>
                  </a:ext>
                </a:extLst>
              </p:cNvPr>
              <p:cNvSpPr>
                <a:spLocks noChangeShapeType="1"/>
              </p:cNvSpPr>
              <p:nvPr userDrawn="1"/>
            </p:nvSpPr>
            <p:spPr bwMode="auto">
              <a:xfrm>
                <a:off x="450482" y="443479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1" name="Line 20">
                <a:extLst>
                  <a:ext uri="{FF2B5EF4-FFF2-40B4-BE49-F238E27FC236}">
                    <a16:creationId xmlns:a16="http://schemas.microsoft.com/office/drawing/2014/main" id="{1C440A29-704B-44A2-BA4B-77428C02D119}"/>
                  </a:ext>
                </a:extLst>
              </p:cNvPr>
              <p:cNvSpPr>
                <a:spLocks noChangeShapeType="1"/>
              </p:cNvSpPr>
              <p:nvPr userDrawn="1"/>
            </p:nvSpPr>
            <p:spPr bwMode="auto">
              <a:xfrm>
                <a:off x="450482" y="42903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2" name="Line 21">
                <a:extLst>
                  <a:ext uri="{FF2B5EF4-FFF2-40B4-BE49-F238E27FC236}">
                    <a16:creationId xmlns:a16="http://schemas.microsoft.com/office/drawing/2014/main" id="{7EA55C92-4E41-45E9-8C22-06F6AAA6E1C5}"/>
                  </a:ext>
                </a:extLst>
              </p:cNvPr>
              <p:cNvSpPr>
                <a:spLocks noChangeShapeType="1"/>
              </p:cNvSpPr>
              <p:nvPr userDrawn="1"/>
            </p:nvSpPr>
            <p:spPr bwMode="auto">
              <a:xfrm>
                <a:off x="450482" y="41458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3" name="Line 22">
                <a:extLst>
                  <a:ext uri="{FF2B5EF4-FFF2-40B4-BE49-F238E27FC236}">
                    <a16:creationId xmlns:a16="http://schemas.microsoft.com/office/drawing/2014/main" id="{10CE2B4B-011D-407D-B6EF-4F10E4D44CE4}"/>
                  </a:ext>
                </a:extLst>
              </p:cNvPr>
              <p:cNvSpPr>
                <a:spLocks noChangeShapeType="1"/>
              </p:cNvSpPr>
              <p:nvPr userDrawn="1"/>
            </p:nvSpPr>
            <p:spPr bwMode="auto">
              <a:xfrm>
                <a:off x="450482" y="38585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4" name="Line 23">
                <a:extLst>
                  <a:ext uri="{FF2B5EF4-FFF2-40B4-BE49-F238E27FC236}">
                    <a16:creationId xmlns:a16="http://schemas.microsoft.com/office/drawing/2014/main" id="{2D303A5A-109A-40F8-8085-F9E7F8B197F6}"/>
                  </a:ext>
                </a:extLst>
              </p:cNvPr>
              <p:cNvSpPr>
                <a:spLocks noChangeShapeType="1"/>
              </p:cNvSpPr>
              <p:nvPr userDrawn="1"/>
            </p:nvSpPr>
            <p:spPr bwMode="auto">
              <a:xfrm>
                <a:off x="450482" y="37140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5" name="Line 24">
                <a:extLst>
                  <a:ext uri="{FF2B5EF4-FFF2-40B4-BE49-F238E27FC236}">
                    <a16:creationId xmlns:a16="http://schemas.microsoft.com/office/drawing/2014/main" id="{AD12492D-2AA5-4D37-B469-FA29361D27CB}"/>
                  </a:ext>
                </a:extLst>
              </p:cNvPr>
              <p:cNvSpPr>
                <a:spLocks noChangeShapeType="1"/>
              </p:cNvSpPr>
              <p:nvPr userDrawn="1"/>
            </p:nvSpPr>
            <p:spPr bwMode="auto">
              <a:xfrm>
                <a:off x="450482" y="3569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6" name="Line 25">
                <a:extLst>
                  <a:ext uri="{FF2B5EF4-FFF2-40B4-BE49-F238E27FC236}">
                    <a16:creationId xmlns:a16="http://schemas.microsoft.com/office/drawing/2014/main" id="{3971B98E-6F40-4037-AFA6-16DEFA2429D2}"/>
                  </a:ext>
                </a:extLst>
              </p:cNvPr>
              <p:cNvSpPr>
                <a:spLocks noChangeShapeType="1"/>
              </p:cNvSpPr>
              <p:nvPr userDrawn="1"/>
            </p:nvSpPr>
            <p:spPr bwMode="auto">
              <a:xfrm>
                <a:off x="450482" y="34267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7" name="Line 26">
                <a:extLst>
                  <a:ext uri="{FF2B5EF4-FFF2-40B4-BE49-F238E27FC236}">
                    <a16:creationId xmlns:a16="http://schemas.microsoft.com/office/drawing/2014/main" id="{AE88A0C9-DC85-4C58-8054-004B6B8CE40E}"/>
                  </a:ext>
                </a:extLst>
              </p:cNvPr>
              <p:cNvSpPr>
                <a:spLocks noChangeShapeType="1"/>
              </p:cNvSpPr>
              <p:nvPr userDrawn="1"/>
            </p:nvSpPr>
            <p:spPr bwMode="auto">
              <a:xfrm>
                <a:off x="450482" y="32822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8" name="Line 27">
                <a:extLst>
                  <a:ext uri="{FF2B5EF4-FFF2-40B4-BE49-F238E27FC236}">
                    <a16:creationId xmlns:a16="http://schemas.microsoft.com/office/drawing/2014/main" id="{8DE82CBA-2163-4F71-BFE8-D55BE1629F09}"/>
                  </a:ext>
                </a:extLst>
              </p:cNvPr>
              <p:cNvSpPr>
                <a:spLocks noChangeShapeType="1"/>
              </p:cNvSpPr>
              <p:nvPr userDrawn="1"/>
            </p:nvSpPr>
            <p:spPr bwMode="auto">
              <a:xfrm>
                <a:off x="450482" y="31378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9" name="Line 28">
                <a:extLst>
                  <a:ext uri="{FF2B5EF4-FFF2-40B4-BE49-F238E27FC236}">
                    <a16:creationId xmlns:a16="http://schemas.microsoft.com/office/drawing/2014/main" id="{170EA35E-51DF-4522-A33A-46A5EDD695D8}"/>
                  </a:ext>
                </a:extLst>
              </p:cNvPr>
              <p:cNvSpPr>
                <a:spLocks noChangeShapeType="1"/>
              </p:cNvSpPr>
              <p:nvPr userDrawn="1"/>
            </p:nvSpPr>
            <p:spPr bwMode="auto">
              <a:xfrm>
                <a:off x="450482" y="299493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0" name="Line 29">
                <a:extLst>
                  <a:ext uri="{FF2B5EF4-FFF2-40B4-BE49-F238E27FC236}">
                    <a16:creationId xmlns:a16="http://schemas.microsoft.com/office/drawing/2014/main" id="{29296C2C-3237-4D16-9C01-DFA70EA8EE05}"/>
                  </a:ext>
                </a:extLst>
              </p:cNvPr>
              <p:cNvSpPr>
                <a:spLocks noChangeShapeType="1"/>
              </p:cNvSpPr>
              <p:nvPr userDrawn="1"/>
            </p:nvSpPr>
            <p:spPr bwMode="auto">
              <a:xfrm>
                <a:off x="450482" y="28504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1" name="Line 30">
                <a:extLst>
                  <a:ext uri="{FF2B5EF4-FFF2-40B4-BE49-F238E27FC236}">
                    <a16:creationId xmlns:a16="http://schemas.microsoft.com/office/drawing/2014/main" id="{11F720EC-33BE-4B72-8D95-12DBFE9624E1}"/>
                  </a:ext>
                </a:extLst>
              </p:cNvPr>
              <p:cNvSpPr>
                <a:spLocks noChangeShapeType="1"/>
              </p:cNvSpPr>
              <p:nvPr userDrawn="1"/>
            </p:nvSpPr>
            <p:spPr bwMode="auto">
              <a:xfrm>
                <a:off x="450482" y="27060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2" name="Line 31">
                <a:extLst>
                  <a:ext uri="{FF2B5EF4-FFF2-40B4-BE49-F238E27FC236}">
                    <a16:creationId xmlns:a16="http://schemas.microsoft.com/office/drawing/2014/main" id="{29D0852D-C183-46B2-8E54-F25A1883942B}"/>
                  </a:ext>
                </a:extLst>
              </p:cNvPr>
              <p:cNvSpPr>
                <a:spLocks noChangeShapeType="1"/>
              </p:cNvSpPr>
              <p:nvPr userDrawn="1"/>
            </p:nvSpPr>
            <p:spPr bwMode="auto">
              <a:xfrm>
                <a:off x="450482" y="25615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3" name="Line 32">
                <a:extLst>
                  <a:ext uri="{FF2B5EF4-FFF2-40B4-BE49-F238E27FC236}">
                    <a16:creationId xmlns:a16="http://schemas.microsoft.com/office/drawing/2014/main" id="{C2272E7F-489E-4925-B790-23EB1E4D28A9}"/>
                  </a:ext>
                </a:extLst>
              </p:cNvPr>
              <p:cNvSpPr>
                <a:spLocks noChangeShapeType="1"/>
              </p:cNvSpPr>
              <p:nvPr userDrawn="1"/>
            </p:nvSpPr>
            <p:spPr bwMode="auto">
              <a:xfrm>
                <a:off x="450482" y="2418670"/>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4" name="Line 33">
                <a:extLst>
                  <a:ext uri="{FF2B5EF4-FFF2-40B4-BE49-F238E27FC236}">
                    <a16:creationId xmlns:a16="http://schemas.microsoft.com/office/drawing/2014/main" id="{BAC9BCB8-98B4-45A8-85C2-B54CACC12BB8}"/>
                  </a:ext>
                </a:extLst>
              </p:cNvPr>
              <p:cNvSpPr>
                <a:spLocks noChangeShapeType="1"/>
              </p:cNvSpPr>
              <p:nvPr userDrawn="1"/>
            </p:nvSpPr>
            <p:spPr bwMode="auto">
              <a:xfrm>
                <a:off x="450482" y="22742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5" name="Line 34">
                <a:extLst>
                  <a:ext uri="{FF2B5EF4-FFF2-40B4-BE49-F238E27FC236}">
                    <a16:creationId xmlns:a16="http://schemas.microsoft.com/office/drawing/2014/main" id="{E2F6F5E4-D1B4-4726-9A6E-131DE98F91D2}"/>
                  </a:ext>
                </a:extLst>
              </p:cNvPr>
              <p:cNvSpPr>
                <a:spLocks noChangeShapeType="1"/>
              </p:cNvSpPr>
              <p:nvPr userDrawn="1"/>
            </p:nvSpPr>
            <p:spPr bwMode="auto">
              <a:xfrm>
                <a:off x="450482" y="21297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6" name="Line 35">
                <a:extLst>
                  <a:ext uri="{FF2B5EF4-FFF2-40B4-BE49-F238E27FC236}">
                    <a16:creationId xmlns:a16="http://schemas.microsoft.com/office/drawing/2014/main" id="{225B55C8-426A-4F22-82B9-EAFB0F1FC277}"/>
                  </a:ext>
                </a:extLst>
              </p:cNvPr>
              <p:cNvSpPr>
                <a:spLocks noChangeShapeType="1"/>
              </p:cNvSpPr>
              <p:nvPr userDrawn="1"/>
            </p:nvSpPr>
            <p:spPr bwMode="auto">
              <a:xfrm>
                <a:off x="450482" y="19852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7" name="Line 36">
                <a:extLst>
                  <a:ext uri="{FF2B5EF4-FFF2-40B4-BE49-F238E27FC236}">
                    <a16:creationId xmlns:a16="http://schemas.microsoft.com/office/drawing/2014/main" id="{6672C5D8-CEE1-4BB4-8393-0A109D728CE1}"/>
                  </a:ext>
                </a:extLst>
              </p:cNvPr>
              <p:cNvSpPr>
                <a:spLocks noChangeShapeType="1"/>
              </p:cNvSpPr>
              <p:nvPr userDrawn="1"/>
            </p:nvSpPr>
            <p:spPr bwMode="auto">
              <a:xfrm>
                <a:off x="450482" y="18424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8" name="Line 37">
                <a:extLst>
                  <a:ext uri="{FF2B5EF4-FFF2-40B4-BE49-F238E27FC236}">
                    <a16:creationId xmlns:a16="http://schemas.microsoft.com/office/drawing/2014/main" id="{BE2BB503-7643-46A6-B898-80793E19C9AA}"/>
                  </a:ext>
                </a:extLst>
              </p:cNvPr>
              <p:cNvSpPr>
                <a:spLocks noChangeShapeType="1"/>
              </p:cNvSpPr>
              <p:nvPr userDrawn="1"/>
            </p:nvSpPr>
            <p:spPr bwMode="auto">
              <a:xfrm>
                <a:off x="450482" y="1697945"/>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9" name="Line 38">
                <a:extLst>
                  <a:ext uri="{FF2B5EF4-FFF2-40B4-BE49-F238E27FC236}">
                    <a16:creationId xmlns:a16="http://schemas.microsoft.com/office/drawing/2014/main" id="{120079D5-6DC1-414D-8C06-85ED429B0B06}"/>
                  </a:ext>
                </a:extLst>
              </p:cNvPr>
              <p:cNvSpPr>
                <a:spLocks noChangeShapeType="1"/>
              </p:cNvSpPr>
              <p:nvPr userDrawn="1"/>
            </p:nvSpPr>
            <p:spPr bwMode="auto">
              <a:xfrm>
                <a:off x="450482" y="155348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3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410607"/>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31" name="Line 102">
                <a:extLst>
                  <a:ext uri="{FF2B5EF4-FFF2-40B4-BE49-F238E27FC236}">
                    <a16:creationId xmlns:a16="http://schemas.microsoft.com/office/drawing/2014/main" id="{1D7A3248-BBD6-40A0-BA60-BC571CDD9017}"/>
                  </a:ext>
                </a:extLst>
              </p:cNvPr>
              <p:cNvSpPr>
                <a:spLocks noChangeShapeType="1"/>
              </p:cNvSpPr>
              <p:nvPr userDrawn="1"/>
            </p:nvSpPr>
            <p:spPr bwMode="auto">
              <a:xfrm>
                <a:off x="450482" y="4002994"/>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33" name="Line 4">
                <a:extLst>
                  <a:ext uri="{FF2B5EF4-FFF2-40B4-BE49-F238E27FC236}">
                    <a16:creationId xmlns:a16="http://schemas.microsoft.com/office/drawing/2014/main" id="{402903CB-B507-4066-9134-C1D5CFC21091}"/>
                  </a:ext>
                </a:extLst>
              </p:cNvPr>
              <p:cNvSpPr>
                <a:spLocks noChangeShapeType="1"/>
              </p:cNvSpPr>
              <p:nvPr userDrawn="1"/>
            </p:nvSpPr>
            <p:spPr bwMode="auto">
              <a:xfrm>
                <a:off x="450482" y="6738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34" name="Line 4">
                <a:extLst>
                  <a:ext uri="{FF2B5EF4-FFF2-40B4-BE49-F238E27FC236}">
                    <a16:creationId xmlns:a16="http://schemas.microsoft.com/office/drawing/2014/main" id="{1D7F0395-EBA2-44A0-824B-34FA283DDE7B}"/>
                  </a:ext>
                </a:extLst>
              </p:cNvPr>
              <p:cNvSpPr>
                <a:spLocks noChangeShapeType="1"/>
              </p:cNvSpPr>
              <p:nvPr userDrawn="1"/>
            </p:nvSpPr>
            <p:spPr bwMode="auto">
              <a:xfrm>
                <a:off x="450482" y="6882719"/>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60" name="Line 39">
                <a:extLst>
                  <a:ext uri="{FF2B5EF4-FFF2-40B4-BE49-F238E27FC236}">
                    <a16:creationId xmlns:a16="http://schemas.microsoft.com/office/drawing/2014/main" id="{7B2ECEF7-0CF9-4C5D-A3E9-55A137860632}"/>
                  </a:ext>
                </a:extLst>
              </p:cNvPr>
              <p:cNvSpPr>
                <a:spLocks noChangeShapeType="1"/>
              </p:cNvSpPr>
              <p:nvPr userDrawn="1"/>
            </p:nvSpPr>
            <p:spPr bwMode="auto">
              <a:xfrm>
                <a:off x="450482" y="1266143"/>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8" name="Line 4">
                <a:extLst>
                  <a:ext uri="{FF2B5EF4-FFF2-40B4-BE49-F238E27FC236}">
                    <a16:creationId xmlns:a16="http://schemas.microsoft.com/office/drawing/2014/main" id="{F2FBD333-817F-4507-AA65-B8782F96EB24}"/>
                  </a:ext>
                </a:extLst>
              </p:cNvPr>
              <p:cNvSpPr>
                <a:spLocks noChangeShapeType="1"/>
              </p:cNvSpPr>
              <p:nvPr userDrawn="1"/>
            </p:nvSpPr>
            <p:spPr bwMode="auto">
              <a:xfrm>
                <a:off x="450482" y="7314142"/>
                <a:ext cx="10080000"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grpSp>
    </p:spTree>
    <p:extLst>
      <p:ext uri="{BB962C8B-B14F-4D97-AF65-F5344CB8AC3E}">
        <p14:creationId xmlns:p14="http://schemas.microsoft.com/office/powerpoint/2010/main" val="1264194564"/>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Lst>
  <p:hf hdr="0" ftr="0" dt="0"/>
  <p:txStyles>
    <p:titleStyle>
      <a:lvl1pPr algn="l" defTabSz="782014" rtl="0" eaLnBrk="1" latinLnBrk="0" hangingPunct="1">
        <a:lnSpc>
          <a:spcPct val="90000"/>
        </a:lnSpc>
        <a:spcBef>
          <a:spcPct val="0"/>
        </a:spcBef>
        <a:buNone/>
        <a:defRPr kumimoji="1" sz="3764" kern="1200">
          <a:solidFill>
            <a:schemeClr val="tx1"/>
          </a:solidFill>
          <a:latin typeface="+mj-lt"/>
          <a:ea typeface="+mj-ea"/>
          <a:cs typeface="+mj-cs"/>
        </a:defRPr>
      </a:lvl1pPr>
    </p:titleStyle>
    <p:bodyStyle>
      <a:lvl1pPr marL="195504" indent="-195504" algn="l" defTabSz="782014" rtl="0" eaLnBrk="1" latinLnBrk="0" hangingPunct="1">
        <a:lnSpc>
          <a:spcPct val="90000"/>
        </a:lnSpc>
        <a:spcBef>
          <a:spcPts val="855"/>
        </a:spcBef>
        <a:buFont typeface="Arial" panose="020B0604020202020204" pitchFamily="34" charset="0"/>
        <a:buChar char="•"/>
        <a:defRPr kumimoji="1" sz="2395" kern="1200">
          <a:solidFill>
            <a:schemeClr val="tx1"/>
          </a:solidFill>
          <a:latin typeface="+mn-lt"/>
          <a:ea typeface="+mn-ea"/>
          <a:cs typeface="+mn-cs"/>
        </a:defRPr>
      </a:lvl1pPr>
      <a:lvl2pPr marL="586510" indent="-195504" algn="l" defTabSz="782014" rtl="0" eaLnBrk="1" latinLnBrk="0" hangingPunct="1">
        <a:lnSpc>
          <a:spcPct val="90000"/>
        </a:lnSpc>
        <a:spcBef>
          <a:spcPts val="428"/>
        </a:spcBef>
        <a:buFont typeface="Arial" panose="020B0604020202020204" pitchFamily="34" charset="0"/>
        <a:buChar char="•"/>
        <a:defRPr kumimoji="1" sz="2052" kern="1200">
          <a:solidFill>
            <a:schemeClr val="tx1"/>
          </a:solidFill>
          <a:latin typeface="+mn-lt"/>
          <a:ea typeface="+mn-ea"/>
          <a:cs typeface="+mn-cs"/>
        </a:defRPr>
      </a:lvl2pPr>
      <a:lvl3pPr marL="977519" indent="-195504" algn="l" defTabSz="782014" rtl="0" eaLnBrk="1" latinLnBrk="0" hangingPunct="1">
        <a:lnSpc>
          <a:spcPct val="90000"/>
        </a:lnSpc>
        <a:spcBef>
          <a:spcPts val="428"/>
        </a:spcBef>
        <a:buFont typeface="Arial" panose="020B0604020202020204" pitchFamily="34" charset="0"/>
        <a:buChar char="•"/>
        <a:defRPr kumimoji="1" sz="1710" kern="1200">
          <a:solidFill>
            <a:schemeClr val="tx1"/>
          </a:solidFill>
          <a:latin typeface="+mn-lt"/>
          <a:ea typeface="+mn-ea"/>
          <a:cs typeface="+mn-cs"/>
        </a:defRPr>
      </a:lvl3pPr>
      <a:lvl4pPr marL="1368525" indent="-195504" algn="l" defTabSz="782014"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4pPr>
      <a:lvl5pPr marL="1759532" indent="-195504" algn="l" defTabSz="782014"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5pPr>
      <a:lvl6pPr marL="2150540" indent="-195504" algn="l" defTabSz="782014"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6pPr>
      <a:lvl7pPr marL="2541546" indent="-195504" algn="l" defTabSz="782014"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7pPr>
      <a:lvl8pPr marL="2932555" indent="-195504" algn="l" defTabSz="782014"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8pPr>
      <a:lvl9pPr marL="3323561" indent="-195504" algn="l" defTabSz="782014" rtl="0" eaLnBrk="1" latinLnBrk="0" hangingPunct="1">
        <a:lnSpc>
          <a:spcPct val="90000"/>
        </a:lnSpc>
        <a:spcBef>
          <a:spcPts val="428"/>
        </a:spcBef>
        <a:buFont typeface="Arial" panose="020B0604020202020204" pitchFamily="34" charset="0"/>
        <a:buChar char="•"/>
        <a:defRPr kumimoji="1" sz="1539" kern="1200">
          <a:solidFill>
            <a:schemeClr val="tx1"/>
          </a:solidFill>
          <a:latin typeface="+mn-lt"/>
          <a:ea typeface="+mn-ea"/>
          <a:cs typeface="+mn-cs"/>
        </a:defRPr>
      </a:lvl9pPr>
    </p:bodyStyle>
    <p:otherStyle>
      <a:defPPr>
        <a:defRPr lang="ja-JP"/>
      </a:defPPr>
      <a:lvl1pPr marL="0" algn="l" defTabSz="782014" rtl="0" eaLnBrk="1" latinLnBrk="0" hangingPunct="1">
        <a:defRPr kumimoji="1" sz="1539" kern="1200">
          <a:solidFill>
            <a:schemeClr val="tx1"/>
          </a:solidFill>
          <a:latin typeface="+mn-lt"/>
          <a:ea typeface="+mn-ea"/>
          <a:cs typeface="+mn-cs"/>
        </a:defRPr>
      </a:lvl1pPr>
      <a:lvl2pPr marL="391007" algn="l" defTabSz="782014" rtl="0" eaLnBrk="1" latinLnBrk="0" hangingPunct="1">
        <a:defRPr kumimoji="1" sz="1539" kern="1200">
          <a:solidFill>
            <a:schemeClr val="tx1"/>
          </a:solidFill>
          <a:latin typeface="+mn-lt"/>
          <a:ea typeface="+mn-ea"/>
          <a:cs typeface="+mn-cs"/>
        </a:defRPr>
      </a:lvl2pPr>
      <a:lvl3pPr marL="782014" algn="l" defTabSz="782014" rtl="0" eaLnBrk="1" latinLnBrk="0" hangingPunct="1">
        <a:defRPr kumimoji="1" sz="1539" kern="1200">
          <a:solidFill>
            <a:schemeClr val="tx1"/>
          </a:solidFill>
          <a:latin typeface="+mn-lt"/>
          <a:ea typeface="+mn-ea"/>
          <a:cs typeface="+mn-cs"/>
        </a:defRPr>
      </a:lvl3pPr>
      <a:lvl4pPr marL="1173022" algn="l" defTabSz="782014" rtl="0" eaLnBrk="1" latinLnBrk="0" hangingPunct="1">
        <a:defRPr kumimoji="1" sz="1539" kern="1200">
          <a:solidFill>
            <a:schemeClr val="tx1"/>
          </a:solidFill>
          <a:latin typeface="+mn-lt"/>
          <a:ea typeface="+mn-ea"/>
          <a:cs typeface="+mn-cs"/>
        </a:defRPr>
      </a:lvl4pPr>
      <a:lvl5pPr marL="1564029" algn="l" defTabSz="782014" rtl="0" eaLnBrk="1" latinLnBrk="0" hangingPunct="1">
        <a:defRPr kumimoji="1" sz="1539" kern="1200">
          <a:solidFill>
            <a:schemeClr val="tx1"/>
          </a:solidFill>
          <a:latin typeface="+mn-lt"/>
          <a:ea typeface="+mn-ea"/>
          <a:cs typeface="+mn-cs"/>
        </a:defRPr>
      </a:lvl5pPr>
      <a:lvl6pPr marL="1955036" algn="l" defTabSz="782014" rtl="0" eaLnBrk="1" latinLnBrk="0" hangingPunct="1">
        <a:defRPr kumimoji="1" sz="1539" kern="1200">
          <a:solidFill>
            <a:schemeClr val="tx1"/>
          </a:solidFill>
          <a:latin typeface="+mn-lt"/>
          <a:ea typeface="+mn-ea"/>
          <a:cs typeface="+mn-cs"/>
        </a:defRPr>
      </a:lvl6pPr>
      <a:lvl7pPr marL="2346043" algn="l" defTabSz="782014" rtl="0" eaLnBrk="1" latinLnBrk="0" hangingPunct="1">
        <a:defRPr kumimoji="1" sz="1539" kern="1200">
          <a:solidFill>
            <a:schemeClr val="tx1"/>
          </a:solidFill>
          <a:latin typeface="+mn-lt"/>
          <a:ea typeface="+mn-ea"/>
          <a:cs typeface="+mn-cs"/>
        </a:defRPr>
      </a:lvl7pPr>
      <a:lvl8pPr marL="2737050" algn="l" defTabSz="782014" rtl="0" eaLnBrk="1" latinLnBrk="0" hangingPunct="1">
        <a:defRPr kumimoji="1" sz="1539" kern="1200">
          <a:solidFill>
            <a:schemeClr val="tx1"/>
          </a:solidFill>
          <a:latin typeface="+mn-lt"/>
          <a:ea typeface="+mn-ea"/>
          <a:cs typeface="+mn-cs"/>
        </a:defRPr>
      </a:lvl8pPr>
      <a:lvl9pPr marL="3128058" algn="l" defTabSz="782014" rtl="0" eaLnBrk="1" latinLnBrk="0" hangingPunct="1">
        <a:defRPr kumimoji="1" sz="153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608" userDrawn="1">
          <p15:clr>
            <a:srgbClr val="F26B43"/>
          </p15:clr>
        </p15:guide>
        <p15:guide id="2" pos="3367" userDrawn="1">
          <p15:clr>
            <a:srgbClr val="F26B43"/>
          </p15:clr>
        </p15:guide>
        <p15:guide id="3" pos="192" userDrawn="1">
          <p15:clr>
            <a:srgbClr val="F26B43"/>
          </p15:clr>
        </p15:guide>
        <p15:guide id="4" pos="6543" userDrawn="1">
          <p15:clr>
            <a:srgbClr val="F26B43"/>
          </p15:clr>
        </p15:guide>
        <p15:guide id="5" orient="horz" pos="793" userDrawn="1">
          <p15:clr>
            <a:srgbClr val="F26B43"/>
          </p15:clr>
        </p15:guide>
        <p15:guide id="6" orient="horz" pos="4604" userDrawn="1">
          <p15:clr>
            <a:srgbClr val="F26B43"/>
          </p15:clr>
        </p15:guide>
        <p15:guide id="7" orient="horz" pos="3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Object 123" hidden="1">
            <a:extLst>
              <a:ext uri="{FF2B5EF4-FFF2-40B4-BE49-F238E27FC236}">
                <a16:creationId xmlns:a16="http://schemas.microsoft.com/office/drawing/2014/main" id="{0C219908-86E4-437C-BF2D-BAF1F435AB0B}"/>
              </a:ext>
            </a:extLst>
          </p:cNvPr>
          <p:cNvGraphicFramePr>
            <a:graphicFrameLocks noChangeAspect="1"/>
          </p:cNvGraphicFramePr>
          <p:nvPr userDrawn="1">
            <p:custDataLst>
              <p:tags r:id="rId20"/>
            </p:custDataLst>
            <p:extLst>
              <p:ext uri="{D42A27DB-BD31-4B8C-83A1-F6EECF244321}">
                <p14:modId xmlns:p14="http://schemas.microsoft.com/office/powerpoint/2010/main" val="2830660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1" imgW="592" imgH="591" progId="TCLayout.ActiveDocument.1">
                  <p:embed/>
                </p:oleObj>
              </mc:Choice>
              <mc:Fallback>
                <p:oleObj name="think-cell スライド" r:id="rId21" imgW="592" imgH="591" progId="TCLayout.ActiveDocument.1">
                  <p:embed/>
                  <p:pic>
                    <p:nvPicPr>
                      <p:cNvPr id="124" name="Object 123" hidden="1">
                        <a:extLst>
                          <a:ext uri="{FF2B5EF4-FFF2-40B4-BE49-F238E27FC236}">
                            <a16:creationId xmlns:a16="http://schemas.microsoft.com/office/drawing/2014/main" id="{0C219908-86E4-437C-BF2D-BAF1F435AB0B}"/>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40"/>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3401199906"/>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 id="2147483789" r:id="rId13"/>
    <p:sldLayoutId id="2147483791" r:id="rId14"/>
    <p:sldLayoutId id="2147483792" r:id="rId15"/>
    <p:sldLayoutId id="2147483796" r:id="rId16"/>
    <p:sldLayoutId id="2147483798" r:id="rId17"/>
    <p:sldLayoutId id="2147483800" r:id="rId18"/>
  </p:sldLayoutIdLst>
  <p:hf hdr="0" ftr="0" dt="0"/>
  <p:txStyles>
    <p:titleStyle>
      <a:lvl1pPr algn="ctr" defTabSz="914429" rtl="0" eaLnBrk="1" latinLnBrk="0" hangingPunct="1">
        <a:lnSpc>
          <a:spcPct val="90000"/>
        </a:lnSpc>
        <a:spcBef>
          <a:spcPct val="0"/>
        </a:spcBef>
        <a:buNone/>
        <a:defRPr kumimoji="1" sz="4401" kern="1200">
          <a:solidFill>
            <a:schemeClr val="tx1"/>
          </a:solidFill>
          <a:latin typeface="+mj-lt"/>
          <a:ea typeface="+mj-ea"/>
          <a:cs typeface="+mj-cs"/>
        </a:defRPr>
      </a:lvl1pPr>
    </p:titleStyle>
    <p:bodyStyle>
      <a:lvl1pPr marL="0" indent="0" algn="ctr" defTabSz="914429"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29"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29"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29"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29"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80"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93"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109"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322"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29" rtl="0" eaLnBrk="1" latinLnBrk="0" hangingPunct="1">
        <a:defRPr kumimoji="1" sz="1800" kern="1200">
          <a:solidFill>
            <a:schemeClr val="tx1"/>
          </a:solidFill>
          <a:latin typeface="+mn-lt"/>
          <a:ea typeface="+mn-ea"/>
          <a:cs typeface="+mn-cs"/>
        </a:defRPr>
      </a:lvl1pPr>
      <a:lvl2pPr marL="457214" algn="l" defTabSz="914429" rtl="0" eaLnBrk="1" latinLnBrk="0" hangingPunct="1">
        <a:defRPr kumimoji="1" sz="1800" kern="1200">
          <a:solidFill>
            <a:schemeClr val="tx1"/>
          </a:solidFill>
          <a:latin typeface="+mn-lt"/>
          <a:ea typeface="+mn-ea"/>
          <a:cs typeface="+mn-cs"/>
        </a:defRPr>
      </a:lvl2pPr>
      <a:lvl3pPr marL="914429" algn="l" defTabSz="914429" rtl="0" eaLnBrk="1" latinLnBrk="0" hangingPunct="1">
        <a:defRPr kumimoji="1" sz="1800" kern="1200">
          <a:solidFill>
            <a:schemeClr val="tx1"/>
          </a:solidFill>
          <a:latin typeface="+mn-lt"/>
          <a:ea typeface="+mn-ea"/>
          <a:cs typeface="+mn-cs"/>
        </a:defRPr>
      </a:lvl3pPr>
      <a:lvl4pPr marL="1371643" algn="l" defTabSz="914429" rtl="0" eaLnBrk="1" latinLnBrk="0" hangingPunct="1">
        <a:defRPr kumimoji="1" sz="1800" kern="1200">
          <a:solidFill>
            <a:schemeClr val="tx1"/>
          </a:solidFill>
          <a:latin typeface="+mn-lt"/>
          <a:ea typeface="+mn-ea"/>
          <a:cs typeface="+mn-cs"/>
        </a:defRPr>
      </a:lvl4pPr>
      <a:lvl5pPr marL="1828858" algn="l" defTabSz="914429" rtl="0" eaLnBrk="1" latinLnBrk="0" hangingPunct="1">
        <a:defRPr kumimoji="1" sz="1800" kern="1200">
          <a:solidFill>
            <a:schemeClr val="tx1"/>
          </a:solidFill>
          <a:latin typeface="+mn-lt"/>
          <a:ea typeface="+mn-ea"/>
          <a:cs typeface="+mn-cs"/>
        </a:defRPr>
      </a:lvl5pPr>
      <a:lvl6pPr marL="2286072" algn="l" defTabSz="914429" rtl="0" eaLnBrk="1" latinLnBrk="0" hangingPunct="1">
        <a:defRPr kumimoji="1" sz="1800" kern="1200">
          <a:solidFill>
            <a:schemeClr val="tx1"/>
          </a:solidFill>
          <a:latin typeface="+mn-lt"/>
          <a:ea typeface="+mn-ea"/>
          <a:cs typeface="+mn-cs"/>
        </a:defRPr>
      </a:lvl6pPr>
      <a:lvl7pPr marL="2743287" algn="l" defTabSz="914429" rtl="0" eaLnBrk="1" latinLnBrk="0" hangingPunct="1">
        <a:defRPr kumimoji="1" sz="1800" kern="1200">
          <a:solidFill>
            <a:schemeClr val="tx1"/>
          </a:solidFill>
          <a:latin typeface="+mn-lt"/>
          <a:ea typeface="+mn-ea"/>
          <a:cs typeface="+mn-cs"/>
        </a:defRPr>
      </a:lvl7pPr>
      <a:lvl8pPr marL="3200501" algn="l" defTabSz="914429" rtl="0" eaLnBrk="1" latinLnBrk="0" hangingPunct="1">
        <a:defRPr kumimoji="1" sz="1800" kern="1200">
          <a:solidFill>
            <a:schemeClr val="tx1"/>
          </a:solidFill>
          <a:latin typeface="+mn-lt"/>
          <a:ea typeface="+mn-ea"/>
          <a:cs typeface="+mn-cs"/>
        </a:defRPr>
      </a:lvl8pPr>
      <a:lvl9pPr marL="3657716" algn="l" defTabSz="914429"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Object 123" hidden="1">
            <a:extLst>
              <a:ext uri="{FF2B5EF4-FFF2-40B4-BE49-F238E27FC236}">
                <a16:creationId xmlns:a16="http://schemas.microsoft.com/office/drawing/2014/main" id="{EF3C2355-95EB-4F92-884D-AA3C5C749752}"/>
              </a:ext>
            </a:extLst>
          </p:cNvPr>
          <p:cNvGraphicFramePr>
            <a:graphicFrameLocks noChangeAspect="1"/>
          </p:cNvGraphicFramePr>
          <p:nvPr userDrawn="1">
            <p:custDataLst>
              <p:tags r:id="rId20"/>
            </p:custDataLst>
            <p:extLst>
              <p:ext uri="{D42A27DB-BD31-4B8C-83A1-F6EECF244321}">
                <p14:modId xmlns:p14="http://schemas.microsoft.com/office/powerpoint/2010/main" val="1411016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1" imgW="592" imgH="591" progId="TCLayout.ActiveDocument.1">
                  <p:embed/>
                </p:oleObj>
              </mc:Choice>
              <mc:Fallback>
                <p:oleObj name="think-cell スライド" r:id="rId21" imgW="592" imgH="591" progId="TCLayout.ActiveDocument.1">
                  <p:embed/>
                  <p:pic>
                    <p:nvPicPr>
                      <p:cNvPr id="124" name="Object 123" hidden="1">
                        <a:extLst>
                          <a:ext uri="{FF2B5EF4-FFF2-40B4-BE49-F238E27FC236}">
                            <a16:creationId xmlns:a16="http://schemas.microsoft.com/office/drawing/2014/main" id="{EF3C2355-95EB-4F92-884D-AA3C5C749752}"/>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4" y="945840"/>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7"/>
              </a:p>
            </p:txBody>
          </p:sp>
        </p:grpSp>
      </p:grpSp>
    </p:spTree>
    <p:extLst>
      <p:ext uri="{BB962C8B-B14F-4D97-AF65-F5344CB8AC3E}">
        <p14:creationId xmlns:p14="http://schemas.microsoft.com/office/powerpoint/2010/main" val="2406248240"/>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6" r:id="rId14"/>
    <p:sldLayoutId id="2147483817" r:id="rId15"/>
    <p:sldLayoutId id="2147483821" r:id="rId16"/>
    <p:sldLayoutId id="2147483823" r:id="rId17"/>
    <p:sldLayoutId id="2147483825" r:id="rId18"/>
  </p:sldLayoutIdLst>
  <p:hf hdr="0" ftr="0" dt="0"/>
  <p:txStyles>
    <p:titleStyle>
      <a:lvl1pPr algn="ctr" defTabSz="844110" rtl="0" eaLnBrk="1" latinLnBrk="0" hangingPunct="1">
        <a:lnSpc>
          <a:spcPct val="90000"/>
        </a:lnSpc>
        <a:spcBef>
          <a:spcPct val="0"/>
        </a:spcBef>
        <a:buNone/>
        <a:defRPr kumimoji="1" sz="4063" kern="1200">
          <a:solidFill>
            <a:schemeClr val="tx1"/>
          </a:solidFill>
          <a:latin typeface="+mj-lt"/>
          <a:ea typeface="+mj-ea"/>
          <a:cs typeface="+mj-cs"/>
        </a:defRPr>
      </a:lvl1pPr>
    </p:titleStyle>
    <p:bodyStyle>
      <a:lvl1pPr marL="0" indent="0" algn="ctr" defTabSz="844110" rtl="0" eaLnBrk="1" latinLnBrk="0" hangingPunct="1">
        <a:lnSpc>
          <a:spcPct val="90000"/>
        </a:lnSpc>
        <a:spcBef>
          <a:spcPts val="923"/>
        </a:spcBef>
        <a:buFontTx/>
        <a:buNone/>
        <a:defRPr kumimoji="1" sz="2585" kern="1200">
          <a:solidFill>
            <a:schemeClr val="tx1"/>
          </a:solidFill>
          <a:latin typeface="+mn-lt"/>
          <a:ea typeface="+mn-ea"/>
          <a:cs typeface="+mn-cs"/>
        </a:defRPr>
      </a:lvl1pPr>
      <a:lvl2pPr marL="0" indent="0" algn="l" defTabSz="844110" rtl="0" eaLnBrk="1" latinLnBrk="0" hangingPunct="1">
        <a:lnSpc>
          <a:spcPct val="90000"/>
        </a:lnSpc>
        <a:spcBef>
          <a:spcPts val="462"/>
        </a:spcBef>
        <a:buFontTx/>
        <a:buNone/>
        <a:defRPr kumimoji="1" sz="2215" kern="1200">
          <a:solidFill>
            <a:schemeClr val="tx1"/>
          </a:solidFill>
          <a:latin typeface="+mn-lt"/>
          <a:ea typeface="+mn-ea"/>
          <a:cs typeface="+mn-cs"/>
        </a:defRPr>
      </a:lvl2pPr>
      <a:lvl3pPr marL="0" indent="0" algn="l" defTabSz="844110" rtl="0" eaLnBrk="1" latinLnBrk="0" hangingPunct="1">
        <a:lnSpc>
          <a:spcPct val="90000"/>
        </a:lnSpc>
        <a:spcBef>
          <a:spcPts val="462"/>
        </a:spcBef>
        <a:buFontTx/>
        <a:buNone/>
        <a:defRPr kumimoji="1" sz="1846" kern="1200">
          <a:solidFill>
            <a:schemeClr val="tx1"/>
          </a:solidFill>
          <a:latin typeface="+mn-lt"/>
          <a:ea typeface="+mn-ea"/>
          <a:cs typeface="+mn-cs"/>
        </a:defRPr>
      </a:lvl3pPr>
      <a:lvl4pPr marL="0" indent="0" algn="l" defTabSz="844110" rtl="0" eaLnBrk="1" latinLnBrk="0" hangingPunct="1">
        <a:lnSpc>
          <a:spcPct val="90000"/>
        </a:lnSpc>
        <a:spcBef>
          <a:spcPts val="462"/>
        </a:spcBef>
        <a:buFontTx/>
        <a:buNone/>
        <a:defRPr kumimoji="1" sz="1662" kern="1200">
          <a:solidFill>
            <a:schemeClr val="tx1"/>
          </a:solidFill>
          <a:latin typeface="+mn-lt"/>
          <a:ea typeface="+mn-ea"/>
          <a:cs typeface="+mn-cs"/>
        </a:defRPr>
      </a:lvl4pPr>
      <a:lvl5pPr marL="0" indent="0" algn="l" defTabSz="844110" rtl="0" eaLnBrk="1" latinLnBrk="0" hangingPunct="1">
        <a:lnSpc>
          <a:spcPct val="90000"/>
        </a:lnSpc>
        <a:spcBef>
          <a:spcPts val="462"/>
        </a:spcBef>
        <a:buFontTx/>
        <a:buNone/>
        <a:defRPr kumimoji="1" sz="1662" kern="1200">
          <a:solidFill>
            <a:schemeClr val="tx1"/>
          </a:solidFill>
          <a:latin typeface="+mn-lt"/>
          <a:ea typeface="+mn-ea"/>
          <a:cs typeface="+mn-cs"/>
        </a:defRPr>
      </a:lvl5pPr>
      <a:lvl6pPr marL="2321301" indent="-211028" algn="l" defTabSz="844110"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6pPr>
      <a:lvl7pPr marL="2743354" indent="-211028" algn="l" defTabSz="844110"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7pPr>
      <a:lvl8pPr marL="3165410" indent="-211028" algn="l" defTabSz="844110"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8pPr>
      <a:lvl9pPr marL="3587464" indent="-211028" algn="l" defTabSz="844110" rtl="0" eaLnBrk="1" latinLnBrk="0" hangingPunct="1">
        <a:lnSpc>
          <a:spcPct val="90000"/>
        </a:lnSpc>
        <a:spcBef>
          <a:spcPts val="462"/>
        </a:spcBef>
        <a:buFont typeface="Arial" panose="020B0604020202020204" pitchFamily="34" charset="0"/>
        <a:buChar char="•"/>
        <a:defRPr kumimoji="1" sz="1662" kern="1200">
          <a:solidFill>
            <a:schemeClr val="tx1"/>
          </a:solidFill>
          <a:latin typeface="+mn-lt"/>
          <a:ea typeface="+mn-ea"/>
          <a:cs typeface="+mn-cs"/>
        </a:defRPr>
      </a:lvl9pPr>
    </p:bodyStyle>
    <p:otherStyle>
      <a:defPPr>
        <a:defRPr lang="ja-JP"/>
      </a:defPPr>
      <a:lvl1pPr marL="0" algn="l" defTabSz="844110" rtl="0" eaLnBrk="1" latinLnBrk="0" hangingPunct="1">
        <a:defRPr kumimoji="1" sz="1662" kern="1200">
          <a:solidFill>
            <a:schemeClr val="tx1"/>
          </a:solidFill>
          <a:latin typeface="+mn-lt"/>
          <a:ea typeface="+mn-ea"/>
          <a:cs typeface="+mn-cs"/>
        </a:defRPr>
      </a:lvl1pPr>
      <a:lvl2pPr marL="422055" algn="l" defTabSz="844110" rtl="0" eaLnBrk="1" latinLnBrk="0" hangingPunct="1">
        <a:defRPr kumimoji="1" sz="1662" kern="1200">
          <a:solidFill>
            <a:schemeClr val="tx1"/>
          </a:solidFill>
          <a:latin typeface="+mn-lt"/>
          <a:ea typeface="+mn-ea"/>
          <a:cs typeface="+mn-cs"/>
        </a:defRPr>
      </a:lvl2pPr>
      <a:lvl3pPr marL="844110" algn="l" defTabSz="844110" rtl="0" eaLnBrk="1" latinLnBrk="0" hangingPunct="1">
        <a:defRPr kumimoji="1" sz="1662" kern="1200">
          <a:solidFill>
            <a:schemeClr val="tx1"/>
          </a:solidFill>
          <a:latin typeface="+mn-lt"/>
          <a:ea typeface="+mn-ea"/>
          <a:cs typeface="+mn-cs"/>
        </a:defRPr>
      </a:lvl3pPr>
      <a:lvl4pPr marL="1266163" algn="l" defTabSz="844110" rtl="0" eaLnBrk="1" latinLnBrk="0" hangingPunct="1">
        <a:defRPr kumimoji="1" sz="1662" kern="1200">
          <a:solidFill>
            <a:schemeClr val="tx1"/>
          </a:solidFill>
          <a:latin typeface="+mn-lt"/>
          <a:ea typeface="+mn-ea"/>
          <a:cs typeface="+mn-cs"/>
        </a:defRPr>
      </a:lvl4pPr>
      <a:lvl5pPr marL="1688218" algn="l" defTabSz="844110" rtl="0" eaLnBrk="1" latinLnBrk="0" hangingPunct="1">
        <a:defRPr kumimoji="1" sz="1662" kern="1200">
          <a:solidFill>
            <a:schemeClr val="tx1"/>
          </a:solidFill>
          <a:latin typeface="+mn-lt"/>
          <a:ea typeface="+mn-ea"/>
          <a:cs typeface="+mn-cs"/>
        </a:defRPr>
      </a:lvl5pPr>
      <a:lvl6pPr marL="2110273" algn="l" defTabSz="844110" rtl="0" eaLnBrk="1" latinLnBrk="0" hangingPunct="1">
        <a:defRPr kumimoji="1" sz="1662" kern="1200">
          <a:solidFill>
            <a:schemeClr val="tx1"/>
          </a:solidFill>
          <a:latin typeface="+mn-lt"/>
          <a:ea typeface="+mn-ea"/>
          <a:cs typeface="+mn-cs"/>
        </a:defRPr>
      </a:lvl6pPr>
      <a:lvl7pPr marL="2532329" algn="l" defTabSz="844110" rtl="0" eaLnBrk="1" latinLnBrk="0" hangingPunct="1">
        <a:defRPr kumimoji="1" sz="1662" kern="1200">
          <a:solidFill>
            <a:schemeClr val="tx1"/>
          </a:solidFill>
          <a:latin typeface="+mn-lt"/>
          <a:ea typeface="+mn-ea"/>
          <a:cs typeface="+mn-cs"/>
        </a:defRPr>
      </a:lvl7pPr>
      <a:lvl8pPr marL="2954383" algn="l" defTabSz="844110" rtl="0" eaLnBrk="1" latinLnBrk="0" hangingPunct="1">
        <a:defRPr kumimoji="1" sz="1662" kern="1200">
          <a:solidFill>
            <a:schemeClr val="tx1"/>
          </a:solidFill>
          <a:latin typeface="+mn-lt"/>
          <a:ea typeface="+mn-ea"/>
          <a:cs typeface="+mn-cs"/>
        </a:defRPr>
      </a:lvl8pPr>
      <a:lvl9pPr marL="3376437" algn="l" defTabSz="844110" rtl="0" eaLnBrk="1" latinLnBrk="0" hangingPunct="1">
        <a:defRPr kumimoji="1" sz="166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Object 123" hidden="1">
            <a:extLst>
              <a:ext uri="{FF2B5EF4-FFF2-40B4-BE49-F238E27FC236}">
                <a16:creationId xmlns:a16="http://schemas.microsoft.com/office/drawing/2014/main" id="{AC09F39B-8988-4300-B552-8FF30233590E}"/>
              </a:ext>
            </a:extLst>
          </p:cNvPr>
          <p:cNvGraphicFramePr>
            <a:graphicFrameLocks noChangeAspect="1"/>
          </p:cNvGraphicFramePr>
          <p:nvPr userDrawn="1">
            <p:custDataLst>
              <p:tags r:id="rId13"/>
            </p:custDataLst>
            <p:extLst>
              <p:ext uri="{D42A27DB-BD31-4B8C-83A1-F6EECF244321}">
                <p14:modId xmlns:p14="http://schemas.microsoft.com/office/powerpoint/2010/main" val="846413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592" imgH="591" progId="TCLayout.ActiveDocument.1">
                  <p:embed/>
                </p:oleObj>
              </mc:Choice>
              <mc:Fallback>
                <p:oleObj name="think-cell スライド" r:id="rId14" imgW="592" imgH="591" progId="TCLayout.ActiveDocument.1">
                  <p:embed/>
                  <p:pic>
                    <p:nvPicPr>
                      <p:cNvPr id="124" name="Object 123" hidden="1">
                        <a:extLst>
                          <a:ext uri="{FF2B5EF4-FFF2-40B4-BE49-F238E27FC236}">
                            <a16:creationId xmlns:a16="http://schemas.microsoft.com/office/drawing/2014/main" id="{AC09F39B-8988-4300-B552-8FF30233590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40"/>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39"/>
              </a:p>
            </p:txBody>
          </p:sp>
        </p:grpSp>
      </p:grpSp>
    </p:spTree>
    <p:extLst>
      <p:ext uri="{BB962C8B-B14F-4D97-AF65-F5344CB8AC3E}">
        <p14:creationId xmlns:p14="http://schemas.microsoft.com/office/powerpoint/2010/main" val="1284248882"/>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55" r:id="rId9"/>
    <p:sldLayoutId id="2147483856" r:id="rId10"/>
    <p:sldLayoutId id="2147483893" r:id="rId11"/>
  </p:sldLayoutIdLst>
  <p:hf hdr="0" ftr="0" dt="0"/>
  <p:txStyles>
    <p:titleStyle>
      <a:lvl1pPr algn="ctr" defTabSz="862015" rtl="0" eaLnBrk="1" latinLnBrk="0" hangingPunct="1">
        <a:lnSpc>
          <a:spcPct val="90000"/>
        </a:lnSpc>
        <a:spcBef>
          <a:spcPct val="0"/>
        </a:spcBef>
        <a:buNone/>
        <a:defRPr kumimoji="1" sz="4148" kern="1200">
          <a:solidFill>
            <a:schemeClr val="tx1"/>
          </a:solidFill>
          <a:latin typeface="+mj-lt"/>
          <a:ea typeface="+mj-ea"/>
          <a:cs typeface="+mj-cs"/>
        </a:defRPr>
      </a:lvl1pPr>
    </p:titleStyle>
    <p:bodyStyle>
      <a:lvl1pPr marL="0" indent="0" algn="ctr" defTabSz="862015" rtl="0" eaLnBrk="1" latinLnBrk="0" hangingPunct="1">
        <a:lnSpc>
          <a:spcPct val="90000"/>
        </a:lnSpc>
        <a:spcBef>
          <a:spcPts val="942"/>
        </a:spcBef>
        <a:buFontTx/>
        <a:buNone/>
        <a:defRPr kumimoji="1" sz="2639" kern="1200">
          <a:solidFill>
            <a:schemeClr val="tx1"/>
          </a:solidFill>
          <a:latin typeface="+mn-lt"/>
          <a:ea typeface="+mn-ea"/>
          <a:cs typeface="+mn-cs"/>
        </a:defRPr>
      </a:lvl1pPr>
      <a:lvl2pPr marL="0" indent="0" algn="l" defTabSz="862015" rtl="0" eaLnBrk="1" latinLnBrk="0" hangingPunct="1">
        <a:lnSpc>
          <a:spcPct val="90000"/>
        </a:lnSpc>
        <a:spcBef>
          <a:spcPts val="471"/>
        </a:spcBef>
        <a:buFontTx/>
        <a:buNone/>
        <a:defRPr kumimoji="1" sz="2263" kern="1200">
          <a:solidFill>
            <a:schemeClr val="tx1"/>
          </a:solidFill>
          <a:latin typeface="+mn-lt"/>
          <a:ea typeface="+mn-ea"/>
          <a:cs typeface="+mn-cs"/>
        </a:defRPr>
      </a:lvl2pPr>
      <a:lvl3pPr marL="0" indent="0" algn="l" defTabSz="862015" rtl="0" eaLnBrk="1" latinLnBrk="0" hangingPunct="1">
        <a:lnSpc>
          <a:spcPct val="90000"/>
        </a:lnSpc>
        <a:spcBef>
          <a:spcPts val="471"/>
        </a:spcBef>
        <a:buFontTx/>
        <a:buNone/>
        <a:defRPr kumimoji="1" sz="1886" kern="1200">
          <a:solidFill>
            <a:schemeClr val="tx1"/>
          </a:solidFill>
          <a:latin typeface="+mn-lt"/>
          <a:ea typeface="+mn-ea"/>
          <a:cs typeface="+mn-cs"/>
        </a:defRPr>
      </a:lvl3pPr>
      <a:lvl4pPr marL="0" indent="0" algn="l" defTabSz="862015" rtl="0" eaLnBrk="1" latinLnBrk="0" hangingPunct="1">
        <a:lnSpc>
          <a:spcPct val="90000"/>
        </a:lnSpc>
        <a:spcBef>
          <a:spcPts val="471"/>
        </a:spcBef>
        <a:buFontTx/>
        <a:buNone/>
        <a:defRPr kumimoji="1" sz="1697" kern="1200">
          <a:solidFill>
            <a:schemeClr val="tx1"/>
          </a:solidFill>
          <a:latin typeface="+mn-lt"/>
          <a:ea typeface="+mn-ea"/>
          <a:cs typeface="+mn-cs"/>
        </a:defRPr>
      </a:lvl4pPr>
      <a:lvl5pPr marL="0" indent="0" algn="l" defTabSz="862015" rtl="0" eaLnBrk="1" latinLnBrk="0" hangingPunct="1">
        <a:lnSpc>
          <a:spcPct val="90000"/>
        </a:lnSpc>
        <a:spcBef>
          <a:spcPts val="471"/>
        </a:spcBef>
        <a:buFontTx/>
        <a:buNone/>
        <a:defRPr kumimoji="1" sz="1697" kern="1200">
          <a:solidFill>
            <a:schemeClr val="tx1"/>
          </a:solidFill>
          <a:latin typeface="+mn-lt"/>
          <a:ea typeface="+mn-ea"/>
          <a:cs typeface="+mn-cs"/>
        </a:defRPr>
      </a:lvl5pPr>
      <a:lvl6pPr marL="2370540" indent="-215503" algn="l" defTabSz="862015"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6pPr>
      <a:lvl7pPr marL="2801547" indent="-215503" algn="l" defTabSz="862015"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7pPr>
      <a:lvl8pPr marL="3232555" indent="-215503" algn="l" defTabSz="862015"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8pPr>
      <a:lvl9pPr marL="3663562" indent="-215503" algn="l" defTabSz="862015" rtl="0" eaLnBrk="1" latinLnBrk="0" hangingPunct="1">
        <a:lnSpc>
          <a:spcPct val="90000"/>
        </a:lnSpc>
        <a:spcBef>
          <a:spcPts val="471"/>
        </a:spcBef>
        <a:buFont typeface="Arial" panose="020B0604020202020204" pitchFamily="34" charset="0"/>
        <a:buChar char="•"/>
        <a:defRPr kumimoji="1" sz="1697" kern="1200">
          <a:solidFill>
            <a:schemeClr val="tx1"/>
          </a:solidFill>
          <a:latin typeface="+mn-lt"/>
          <a:ea typeface="+mn-ea"/>
          <a:cs typeface="+mn-cs"/>
        </a:defRPr>
      </a:lvl9pPr>
    </p:bodyStyle>
    <p:otherStyle>
      <a:defPPr>
        <a:defRPr lang="ja-JP"/>
      </a:defPPr>
      <a:lvl1pPr marL="0" algn="l" defTabSz="862015" rtl="0" eaLnBrk="1" latinLnBrk="0" hangingPunct="1">
        <a:defRPr kumimoji="1" sz="1697" kern="1200">
          <a:solidFill>
            <a:schemeClr val="tx1"/>
          </a:solidFill>
          <a:latin typeface="+mn-lt"/>
          <a:ea typeface="+mn-ea"/>
          <a:cs typeface="+mn-cs"/>
        </a:defRPr>
      </a:lvl1pPr>
      <a:lvl2pPr marL="431008" algn="l" defTabSz="862015" rtl="0" eaLnBrk="1" latinLnBrk="0" hangingPunct="1">
        <a:defRPr kumimoji="1" sz="1697" kern="1200">
          <a:solidFill>
            <a:schemeClr val="tx1"/>
          </a:solidFill>
          <a:latin typeface="+mn-lt"/>
          <a:ea typeface="+mn-ea"/>
          <a:cs typeface="+mn-cs"/>
        </a:defRPr>
      </a:lvl2pPr>
      <a:lvl3pPr marL="862015" algn="l" defTabSz="862015" rtl="0" eaLnBrk="1" latinLnBrk="0" hangingPunct="1">
        <a:defRPr kumimoji="1" sz="1697" kern="1200">
          <a:solidFill>
            <a:schemeClr val="tx1"/>
          </a:solidFill>
          <a:latin typeface="+mn-lt"/>
          <a:ea typeface="+mn-ea"/>
          <a:cs typeface="+mn-cs"/>
        </a:defRPr>
      </a:lvl3pPr>
      <a:lvl4pPr marL="1293022" algn="l" defTabSz="862015" rtl="0" eaLnBrk="1" latinLnBrk="0" hangingPunct="1">
        <a:defRPr kumimoji="1" sz="1697" kern="1200">
          <a:solidFill>
            <a:schemeClr val="tx1"/>
          </a:solidFill>
          <a:latin typeface="+mn-lt"/>
          <a:ea typeface="+mn-ea"/>
          <a:cs typeface="+mn-cs"/>
        </a:defRPr>
      </a:lvl4pPr>
      <a:lvl5pPr marL="1724029" algn="l" defTabSz="862015" rtl="0" eaLnBrk="1" latinLnBrk="0" hangingPunct="1">
        <a:defRPr kumimoji="1" sz="1697" kern="1200">
          <a:solidFill>
            <a:schemeClr val="tx1"/>
          </a:solidFill>
          <a:latin typeface="+mn-lt"/>
          <a:ea typeface="+mn-ea"/>
          <a:cs typeface="+mn-cs"/>
        </a:defRPr>
      </a:lvl5pPr>
      <a:lvl6pPr marL="2155037" algn="l" defTabSz="862015" rtl="0" eaLnBrk="1" latinLnBrk="0" hangingPunct="1">
        <a:defRPr kumimoji="1" sz="1697" kern="1200">
          <a:solidFill>
            <a:schemeClr val="tx1"/>
          </a:solidFill>
          <a:latin typeface="+mn-lt"/>
          <a:ea typeface="+mn-ea"/>
          <a:cs typeface="+mn-cs"/>
        </a:defRPr>
      </a:lvl6pPr>
      <a:lvl7pPr marL="2586044" algn="l" defTabSz="862015" rtl="0" eaLnBrk="1" latinLnBrk="0" hangingPunct="1">
        <a:defRPr kumimoji="1" sz="1697" kern="1200">
          <a:solidFill>
            <a:schemeClr val="tx1"/>
          </a:solidFill>
          <a:latin typeface="+mn-lt"/>
          <a:ea typeface="+mn-ea"/>
          <a:cs typeface="+mn-cs"/>
        </a:defRPr>
      </a:lvl7pPr>
      <a:lvl8pPr marL="3017051" algn="l" defTabSz="862015" rtl="0" eaLnBrk="1" latinLnBrk="0" hangingPunct="1">
        <a:defRPr kumimoji="1" sz="1697" kern="1200">
          <a:solidFill>
            <a:schemeClr val="tx1"/>
          </a:solidFill>
          <a:latin typeface="+mn-lt"/>
          <a:ea typeface="+mn-ea"/>
          <a:cs typeface="+mn-cs"/>
        </a:defRPr>
      </a:lvl8pPr>
      <a:lvl9pPr marL="3448057" algn="l" defTabSz="862015" rtl="0" eaLnBrk="1" latinLnBrk="0" hangingPunct="1">
        <a:defRPr kumimoji="1" sz="1697"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4" name="Object 123" hidden="1">
            <a:extLst>
              <a:ext uri="{FF2B5EF4-FFF2-40B4-BE49-F238E27FC236}">
                <a16:creationId xmlns:a16="http://schemas.microsoft.com/office/drawing/2014/main" id="{3AD0714E-496B-46AE-BF02-3C033C9F7137}"/>
              </a:ext>
            </a:extLst>
          </p:cNvPr>
          <p:cNvGraphicFramePr>
            <a:graphicFrameLocks noChangeAspect="1"/>
          </p:cNvGraphicFramePr>
          <p:nvPr userDrawn="1">
            <p:custDataLst>
              <p:tags r:id="rId21"/>
            </p:custDataLst>
            <p:extLst>
              <p:ext uri="{D42A27DB-BD31-4B8C-83A1-F6EECF244321}">
                <p14:modId xmlns:p14="http://schemas.microsoft.com/office/powerpoint/2010/main" val="3783216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592" imgH="591" progId="TCLayout.ActiveDocument.1">
                  <p:embed/>
                </p:oleObj>
              </mc:Choice>
              <mc:Fallback>
                <p:oleObj name="think-cell スライド" r:id="rId22" imgW="592" imgH="591" progId="TCLayout.ActiveDocument.1">
                  <p:embed/>
                  <p:pic>
                    <p:nvPicPr>
                      <p:cNvPr id="124" name="Object 123" hidden="1">
                        <a:extLst>
                          <a:ext uri="{FF2B5EF4-FFF2-40B4-BE49-F238E27FC236}">
                            <a16:creationId xmlns:a16="http://schemas.microsoft.com/office/drawing/2014/main" id="{3AD0714E-496B-46AE-BF02-3C033C9F7137}"/>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40"/>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633"/>
              </a:p>
            </p:txBody>
          </p:sp>
        </p:grpSp>
      </p:grpSp>
    </p:spTree>
    <p:extLst>
      <p:ext uri="{BB962C8B-B14F-4D97-AF65-F5344CB8AC3E}">
        <p14:creationId xmlns:p14="http://schemas.microsoft.com/office/powerpoint/2010/main" val="1890018214"/>
      </p:ext>
    </p:extLst>
  </p:cSld>
  <p:clrMap bg1="lt1" tx1="dk1" bg2="lt2" tx2="dk2" accent1="accent1" accent2="accent2" accent3="accent3" accent4="accent4" accent5="accent5" accent6="accent6" hlink="hlink" folHlink="folHlink"/>
  <p:sldLayoutIdLst>
    <p:sldLayoutId id="2147483836" r:id="rId1"/>
    <p:sldLayoutId id="2147483837" r:id="rId2"/>
    <p:sldLayoutId id="2147483838" r:id="rId3"/>
    <p:sldLayoutId id="2147483839" r:id="rId4"/>
    <p:sldLayoutId id="2147483840" r:id="rId5"/>
    <p:sldLayoutId id="2147483841" r:id="rId6"/>
    <p:sldLayoutId id="2147483842" r:id="rId7"/>
    <p:sldLayoutId id="2147483843" r:id="rId8"/>
    <p:sldLayoutId id="2147483844"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Lst>
  <p:hf hdr="0" ftr="0" dt="0"/>
  <p:txStyles>
    <p:titleStyle>
      <a:lvl1pPr algn="ctr" defTabSz="914429" rtl="0" eaLnBrk="1" latinLnBrk="0" hangingPunct="1">
        <a:lnSpc>
          <a:spcPct val="90000"/>
        </a:lnSpc>
        <a:spcBef>
          <a:spcPct val="0"/>
        </a:spcBef>
        <a:buNone/>
        <a:defRPr kumimoji="1" sz="4401" kern="1200">
          <a:solidFill>
            <a:schemeClr val="tx1"/>
          </a:solidFill>
          <a:latin typeface="+mj-lt"/>
          <a:ea typeface="+mj-ea"/>
          <a:cs typeface="+mj-cs"/>
        </a:defRPr>
      </a:lvl1pPr>
    </p:titleStyle>
    <p:bodyStyle>
      <a:lvl1pPr marL="0" indent="0" algn="ctr" defTabSz="914429"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29"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29"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29"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29"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80"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93"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109"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322"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29" rtl="0" eaLnBrk="1" latinLnBrk="0" hangingPunct="1">
        <a:defRPr kumimoji="1" sz="1800" kern="1200">
          <a:solidFill>
            <a:schemeClr val="tx1"/>
          </a:solidFill>
          <a:latin typeface="+mn-lt"/>
          <a:ea typeface="+mn-ea"/>
          <a:cs typeface="+mn-cs"/>
        </a:defRPr>
      </a:lvl1pPr>
      <a:lvl2pPr marL="457214" algn="l" defTabSz="914429" rtl="0" eaLnBrk="1" latinLnBrk="0" hangingPunct="1">
        <a:defRPr kumimoji="1" sz="1800" kern="1200">
          <a:solidFill>
            <a:schemeClr val="tx1"/>
          </a:solidFill>
          <a:latin typeface="+mn-lt"/>
          <a:ea typeface="+mn-ea"/>
          <a:cs typeface="+mn-cs"/>
        </a:defRPr>
      </a:lvl2pPr>
      <a:lvl3pPr marL="914429" algn="l" defTabSz="914429" rtl="0" eaLnBrk="1" latinLnBrk="0" hangingPunct="1">
        <a:defRPr kumimoji="1" sz="1800" kern="1200">
          <a:solidFill>
            <a:schemeClr val="tx1"/>
          </a:solidFill>
          <a:latin typeface="+mn-lt"/>
          <a:ea typeface="+mn-ea"/>
          <a:cs typeface="+mn-cs"/>
        </a:defRPr>
      </a:lvl3pPr>
      <a:lvl4pPr marL="1371643" algn="l" defTabSz="914429" rtl="0" eaLnBrk="1" latinLnBrk="0" hangingPunct="1">
        <a:defRPr kumimoji="1" sz="1800" kern="1200">
          <a:solidFill>
            <a:schemeClr val="tx1"/>
          </a:solidFill>
          <a:latin typeface="+mn-lt"/>
          <a:ea typeface="+mn-ea"/>
          <a:cs typeface="+mn-cs"/>
        </a:defRPr>
      </a:lvl4pPr>
      <a:lvl5pPr marL="1828858" algn="l" defTabSz="914429" rtl="0" eaLnBrk="1" latinLnBrk="0" hangingPunct="1">
        <a:defRPr kumimoji="1" sz="1800" kern="1200">
          <a:solidFill>
            <a:schemeClr val="tx1"/>
          </a:solidFill>
          <a:latin typeface="+mn-lt"/>
          <a:ea typeface="+mn-ea"/>
          <a:cs typeface="+mn-cs"/>
        </a:defRPr>
      </a:lvl5pPr>
      <a:lvl6pPr marL="2286072" algn="l" defTabSz="914429" rtl="0" eaLnBrk="1" latinLnBrk="0" hangingPunct="1">
        <a:defRPr kumimoji="1" sz="1800" kern="1200">
          <a:solidFill>
            <a:schemeClr val="tx1"/>
          </a:solidFill>
          <a:latin typeface="+mn-lt"/>
          <a:ea typeface="+mn-ea"/>
          <a:cs typeface="+mn-cs"/>
        </a:defRPr>
      </a:lvl6pPr>
      <a:lvl7pPr marL="2743287" algn="l" defTabSz="914429" rtl="0" eaLnBrk="1" latinLnBrk="0" hangingPunct="1">
        <a:defRPr kumimoji="1" sz="1800" kern="1200">
          <a:solidFill>
            <a:schemeClr val="tx1"/>
          </a:solidFill>
          <a:latin typeface="+mn-lt"/>
          <a:ea typeface="+mn-ea"/>
          <a:cs typeface="+mn-cs"/>
        </a:defRPr>
      </a:lvl7pPr>
      <a:lvl8pPr marL="3200501" algn="l" defTabSz="914429" rtl="0" eaLnBrk="1" latinLnBrk="0" hangingPunct="1">
        <a:defRPr kumimoji="1" sz="1800" kern="1200">
          <a:solidFill>
            <a:schemeClr val="tx1"/>
          </a:solidFill>
          <a:latin typeface="+mn-lt"/>
          <a:ea typeface="+mn-ea"/>
          <a:cs typeface="+mn-cs"/>
        </a:defRPr>
      </a:lvl8pPr>
      <a:lvl9pPr marL="3657716" algn="l" defTabSz="914429"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67" userDrawn="1">
          <p15:clr>
            <a:srgbClr val="F26B43"/>
          </p15:clr>
        </p15:guide>
        <p15:guide id="2" orient="horz" pos="2381" userDrawn="1">
          <p15:clr>
            <a:srgbClr val="F26B43"/>
          </p15:clr>
        </p15:guide>
        <p15:guide id="3" orient="horz" pos="22" userDrawn="1">
          <p15:clr>
            <a:srgbClr val="F26B43"/>
          </p15:clr>
        </p15:guide>
        <p15:guide id="4" orient="horz" pos="4649" userDrawn="1">
          <p15:clr>
            <a:srgbClr val="F26B43"/>
          </p15:clr>
        </p15:guide>
        <p15:guide id="5" pos="6633" userDrawn="1">
          <p15:clr>
            <a:srgbClr val="F26B43"/>
          </p15:clr>
        </p15:guide>
        <p15:guide id="6" pos="1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1.xml"/><Relationship Id="rId1" Type="http://schemas.openxmlformats.org/officeDocument/2006/relationships/tags" Target="../tags/tag10.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83.xml"/><Relationship Id="rId1" Type="http://schemas.openxmlformats.org/officeDocument/2006/relationships/tags" Target="../tags/tag31.xml"/><Relationship Id="rId4" Type="http://schemas.openxmlformats.org/officeDocument/2006/relationships/image" Target="../media/image52.emf"/></Relationships>
</file>

<file path=ppt/slides/_rels/slide1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oleObject" Target="../embeddings/oleObject15.bin"/><Relationship Id="rId7" Type="http://schemas.openxmlformats.org/officeDocument/2006/relationships/image" Target="../media/image55.jpeg"/><Relationship Id="rId2" Type="http://schemas.openxmlformats.org/officeDocument/2006/relationships/slideLayout" Target="../slideLayouts/slideLayout83.xml"/><Relationship Id="rId1" Type="http://schemas.openxmlformats.org/officeDocument/2006/relationships/tags" Target="../tags/tag32.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1.emf"/><Relationship Id="rId9" Type="http://schemas.openxmlformats.org/officeDocument/2006/relationships/hyperlink" Target="https://ondankataisaku.env.go.jp/decokatsu/" TargetMode="Externa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94.xml"/><Relationship Id="rId1" Type="http://schemas.openxmlformats.org/officeDocument/2006/relationships/tags" Target="../tags/tag33.xml"/><Relationship Id="rId4" Type="http://schemas.openxmlformats.org/officeDocument/2006/relationships/image" Target="../media/image57.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7.bin"/><Relationship Id="rId7" Type="http://schemas.openxmlformats.org/officeDocument/2006/relationships/image" Target="../media/image60.png"/><Relationship Id="rId2" Type="http://schemas.openxmlformats.org/officeDocument/2006/relationships/slideLayout" Target="../slideLayouts/slideLayout94.xml"/><Relationship Id="rId1" Type="http://schemas.openxmlformats.org/officeDocument/2006/relationships/tags" Target="../tags/tag34.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2.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63.jpeg"/><Relationship Id="rId2" Type="http://schemas.openxmlformats.org/officeDocument/2006/relationships/slideLayout" Target="../slideLayouts/slideLayout83.xml"/><Relationship Id="rId1" Type="http://schemas.openxmlformats.org/officeDocument/2006/relationships/tags" Target="../tags/tag35.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52.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83.xml"/><Relationship Id="rId1" Type="http://schemas.openxmlformats.org/officeDocument/2006/relationships/tags" Target="../tags/tag36.xml"/><Relationship Id="rId5" Type="http://schemas.openxmlformats.org/officeDocument/2006/relationships/image" Target="../media/image64.png"/><Relationship Id="rId4" Type="http://schemas.openxmlformats.org/officeDocument/2006/relationships/image" Target="../media/image52.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88.xml"/><Relationship Id="rId1" Type="http://schemas.openxmlformats.org/officeDocument/2006/relationships/tags" Target="../tags/tag37.xml"/><Relationship Id="rId6" Type="http://schemas.openxmlformats.org/officeDocument/2006/relationships/image" Target="../media/image66.jpeg"/><Relationship Id="rId5" Type="http://schemas.openxmlformats.org/officeDocument/2006/relationships/image" Target="../media/image65.png"/><Relationship Id="rId4" Type="http://schemas.openxmlformats.org/officeDocument/2006/relationships/image" Target="../media/image52.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88.xml"/><Relationship Id="rId1" Type="http://schemas.openxmlformats.org/officeDocument/2006/relationships/tags" Target="../tags/tag38.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52.emf"/></Relationships>
</file>

<file path=ppt/slides/_rels/slide18.xml.rels><?xml version="1.0" encoding="UTF-8" standalone="yes"?>
<Relationships xmlns="http://schemas.openxmlformats.org/package/2006/relationships"><Relationship Id="rId8" Type="http://schemas.openxmlformats.org/officeDocument/2006/relationships/hyperlink" Target="https://ondankataisaku.env.go.jp/decokatsu/" TargetMode="External"/><Relationship Id="rId3" Type="http://schemas.openxmlformats.org/officeDocument/2006/relationships/oleObject" Target="../embeddings/oleObject22.bin"/><Relationship Id="rId7" Type="http://schemas.openxmlformats.org/officeDocument/2006/relationships/image" Target="../media/image71.png"/><Relationship Id="rId2" Type="http://schemas.openxmlformats.org/officeDocument/2006/relationships/slideLayout" Target="../slideLayouts/slideLayout83.xml"/><Relationship Id="rId1" Type="http://schemas.openxmlformats.org/officeDocument/2006/relationships/tags" Target="../tags/tag39.xml"/><Relationship Id="rId6" Type="http://schemas.openxmlformats.org/officeDocument/2006/relationships/image" Target="../media/image70.png"/><Relationship Id="rId5" Type="http://schemas.openxmlformats.org/officeDocument/2006/relationships/image" Target="../media/image69.png"/><Relationship Id="rId4" Type="http://schemas.openxmlformats.org/officeDocument/2006/relationships/image" Target="../media/image52.emf"/></Relationships>
</file>

<file path=ppt/slides/_rels/slide19.xml.rels><?xml version="1.0" encoding="UTF-8" standalone="yes"?>
<Relationships xmlns="http://schemas.openxmlformats.org/package/2006/relationships"><Relationship Id="rId8" Type="http://schemas.openxmlformats.org/officeDocument/2006/relationships/image" Target="../media/image890.png"/><Relationship Id="rId3" Type="http://schemas.openxmlformats.org/officeDocument/2006/relationships/notesSlide" Target="../notesSlides/notesSlide2.xml"/><Relationship Id="rId2" Type="http://schemas.openxmlformats.org/officeDocument/2006/relationships/slideLayout" Target="../slideLayouts/slideLayout94.xml"/><Relationship Id="rId1" Type="http://schemas.openxmlformats.org/officeDocument/2006/relationships/tags" Target="../tags/tag40.xml"/><Relationship Id="rId6" Type="http://schemas.openxmlformats.org/officeDocument/2006/relationships/customXml" Target="../ink/ink1.xml"/><Relationship Id="rId5" Type="http://schemas.openxmlformats.org/officeDocument/2006/relationships/image" Target="../media/image72.emf"/><Relationship Id="rId4" Type="http://schemas.openxmlformats.org/officeDocument/2006/relationships/oleObject" Target="../embeddings/oleObject23.bin"/><Relationship Id="rId9" Type="http://schemas.openxmlformats.org/officeDocument/2006/relationships/customXml" Target="../ink/ink2.xml"/></Relationships>
</file>

<file path=ppt/slides/_rels/slide2.xml.rels><?xml version="1.0" encoding="UTF-8" standalone="yes"?>
<Relationships xmlns="http://schemas.openxmlformats.org/package/2006/relationships"><Relationship Id="rId3" Type="http://schemas.openxmlformats.org/officeDocument/2006/relationships/hyperlink" Target="https://www.youtube.com/watch?v=GcjtJ9frl8w" TargetMode="External"/><Relationship Id="rId2" Type="http://schemas.openxmlformats.org/officeDocument/2006/relationships/image" Target="../media/image35.png"/><Relationship Id="rId1" Type="http://schemas.openxmlformats.org/officeDocument/2006/relationships/slideLayout" Target="../slideLayouts/slideLayout83.xml"/></Relationships>
</file>

<file path=ppt/slides/_rels/slide2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3" Type="http://schemas.openxmlformats.org/officeDocument/2006/relationships/hyperlink" Target="https://ondankataisaku.env.go.jp/decokatsu/" TargetMode="External"/><Relationship Id="rId2" Type="http://schemas.openxmlformats.org/officeDocument/2006/relationships/image" Target="../media/image74.png"/><Relationship Id="rId1" Type="http://schemas.openxmlformats.org/officeDocument/2006/relationships/slideLayout" Target="../slideLayouts/slideLayout88.xml"/></Relationships>
</file>

<file path=ppt/slides/_rels/slide2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xml"/><Relationship Id="rId1" Type="http://schemas.openxmlformats.org/officeDocument/2006/relationships/slideLayout" Target="../slideLayouts/slideLayout8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83.xml"/><Relationship Id="rId1" Type="http://schemas.openxmlformats.org/officeDocument/2006/relationships/tags" Target="../tags/tag11.xml"/><Relationship Id="rId5" Type="http://schemas.openxmlformats.org/officeDocument/2006/relationships/image" Target="../media/image36.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slideLayout" Target="../slideLayouts/slideLayout83.xml"/><Relationship Id="rId3" Type="http://schemas.openxmlformats.org/officeDocument/2006/relationships/tags" Target="../tags/tag14.xml"/><Relationship Id="rId21" Type="http://schemas.openxmlformats.org/officeDocument/2006/relationships/chart" Target="../charts/chart1.xml"/><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image" Target="../media/image1.emf"/><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tags" Target="../tags/tag26.xml"/><Relationship Id="rId10" Type="http://schemas.openxmlformats.org/officeDocument/2006/relationships/tags" Target="../tags/tag21.xml"/><Relationship Id="rId19" Type="http://schemas.openxmlformats.org/officeDocument/2006/relationships/oleObject" Target="../embeddings/oleObject11.bin"/><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90.xml"/></Relationships>
</file>

<file path=ppt/slides/_rels/slide6.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90.xml"/></Relationships>
</file>

<file path=ppt/slides/_rels/slide7.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oleObject" Target="../embeddings/oleObject12.bin"/><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slideLayout" Target="../slideLayouts/slideLayout14.xml"/><Relationship Id="rId16" Type="http://schemas.openxmlformats.org/officeDocument/2006/relationships/image" Target="../media/image48.png"/><Relationship Id="rId1" Type="http://schemas.openxmlformats.org/officeDocument/2006/relationships/tags" Target="../tags/tag29.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1.emf"/><Relationship Id="rId9" Type="http://schemas.openxmlformats.org/officeDocument/2006/relationships/image" Target="../media/image41.png"/><Relationship Id="rId14" Type="http://schemas.openxmlformats.org/officeDocument/2006/relationships/image" Target="../media/image46.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50.png"/><Relationship Id="rId2" Type="http://schemas.openxmlformats.org/officeDocument/2006/relationships/slideLayout" Target="../slideLayouts/slideLayout14.xml"/><Relationship Id="rId1" Type="http://schemas.openxmlformats.org/officeDocument/2006/relationships/tags" Target="../tags/tag30.xml"/><Relationship Id="rId6" Type="http://schemas.openxmlformats.org/officeDocument/2006/relationships/hyperlink" Target="https://ondankataisaku.env.go.jp/decokatsu/" TargetMode="Externa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1.jpeg"/><Relationship Id="rId1" Type="http://schemas.openxmlformats.org/officeDocument/2006/relationships/slideLayout" Target="../slideLayouts/slideLayout8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3C3D0A-C99F-441F-81D5-91E4C8ED6F24}"/>
              </a:ext>
            </a:extLst>
          </p:cNvPr>
          <p:cNvGraphicFramePr>
            <a:graphicFrameLocks noChangeAspect="1"/>
          </p:cNvGraphicFramePr>
          <p:nvPr>
            <p:custDataLst>
              <p:tags r:id="rId1"/>
            </p:custDataLst>
            <p:extLst>
              <p:ext uri="{D42A27DB-BD31-4B8C-83A1-F6EECF244321}">
                <p14:modId xmlns:p14="http://schemas.microsoft.com/office/powerpoint/2010/main" val="339423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92" imgH="591" progId="TCLayout.ActiveDocument.1">
                  <p:embed/>
                </p:oleObj>
              </mc:Choice>
              <mc:Fallback>
                <p:oleObj name="think-cell スライド" r:id="rId3" imgW="592" imgH="591" progId="TCLayout.ActiveDocument.1">
                  <p:embed/>
                  <p:pic>
                    <p:nvPicPr>
                      <p:cNvPr id="3" name="Object 2" hidden="1">
                        <a:extLst>
                          <a:ext uri="{FF2B5EF4-FFF2-40B4-BE49-F238E27FC236}">
                            <a16:creationId xmlns:a16="http://schemas.microsoft.com/office/drawing/2014/main" id="{D53C3D0A-C99F-441F-81D5-91E4C8ED6F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958479" y="2485544"/>
            <a:ext cx="8207557" cy="1690806"/>
          </a:xfrm>
        </p:spPr>
        <p:txBody>
          <a:bodyPr vert="horz">
            <a:normAutofit/>
          </a:bodyPr>
          <a:lstStyle/>
          <a:p>
            <a:pPr>
              <a:lnSpc>
                <a:spcPct val="150000"/>
              </a:lnSpc>
              <a:spcBef>
                <a:spcPts val="0"/>
              </a:spcBef>
            </a:pPr>
            <a:r>
              <a:rPr lang="ja-JP" altLang="en-US" sz="3600" dirty="0"/>
              <a:t>デコ活</a:t>
            </a:r>
            <a:br>
              <a:rPr lang="en-US" altLang="ja-JP" sz="3600" dirty="0"/>
            </a:br>
            <a:r>
              <a:rPr lang="ja-JP" altLang="en-US" sz="2800" dirty="0"/>
              <a:t>脱炭素につながる新しい豊かな暮らしを創る国民運動</a:t>
            </a:r>
          </a:p>
        </p:txBody>
      </p:sp>
      <p:sp>
        <p:nvSpPr>
          <p:cNvPr id="4" name="コンテンツ プレースホルダー 3"/>
          <p:cNvSpPr>
            <a:spLocks noGrp="1"/>
          </p:cNvSpPr>
          <p:nvPr>
            <p:ph sz="quarter" idx="15"/>
          </p:nvPr>
        </p:nvSpPr>
        <p:spPr>
          <a:xfrm>
            <a:off x="1950720" y="4551680"/>
            <a:ext cx="6004560" cy="928938"/>
          </a:xfrm>
        </p:spPr>
        <p:txBody>
          <a:bodyPr/>
          <a:lstStyle/>
          <a:p>
            <a:r>
              <a:rPr lang="zh-TW" altLang="en-US" sz="2000" dirty="0"/>
              <a:t>環境省 近畿地方環境事務所</a:t>
            </a:r>
            <a:endParaRPr lang="en-US" altLang="zh-TW" sz="2000" dirty="0"/>
          </a:p>
          <a:p>
            <a:r>
              <a:rPr lang="zh-TW" altLang="en-US" sz="2000" dirty="0"/>
              <a:t>阪本 悠佑</a:t>
            </a:r>
          </a:p>
        </p:txBody>
      </p:sp>
      <p:sp>
        <p:nvSpPr>
          <p:cNvPr id="5" name="コンテンツ プレースホルダー 4">
            <a:extLst>
              <a:ext uri="{FF2B5EF4-FFF2-40B4-BE49-F238E27FC236}">
                <a16:creationId xmlns:a16="http://schemas.microsoft.com/office/drawing/2014/main" id="{FE5B1EE3-0514-B027-1C01-3CA9B813CF02}"/>
              </a:ext>
            </a:extLst>
          </p:cNvPr>
          <p:cNvSpPr txBox="1">
            <a:spLocks/>
          </p:cNvSpPr>
          <p:nvPr/>
        </p:nvSpPr>
        <p:spPr>
          <a:xfrm>
            <a:off x="7046782" y="470818"/>
            <a:ext cx="2595417" cy="280086"/>
          </a:xfrm>
          <a:prstGeom prst="rect">
            <a:avLst/>
          </a:prstGeom>
        </p:spPr>
        <p:txBody>
          <a:bodyPr lIns="0" tIns="0" rIns="0" bIns="0" anchor="ctr" anchorCtr="0"/>
          <a:lstStyle>
            <a:lvl1pPr marL="0" indent="0" algn="ctr" defTabSz="914429" rtl="0" eaLnBrk="1" latinLnBrk="0" hangingPunct="1">
              <a:lnSpc>
                <a:spcPct val="90000"/>
              </a:lnSpc>
              <a:spcBef>
                <a:spcPts val="1000"/>
              </a:spcBef>
              <a:buFontTx/>
              <a:buNone/>
              <a:defRPr kumimoji="1" sz="1633" b="0" kern="1200">
                <a:solidFill>
                  <a:schemeClr val="tx1"/>
                </a:solidFill>
                <a:latin typeface="Meiryo UI" panose="020B0604030504040204" pitchFamily="50" charset="-128"/>
                <a:ea typeface="Meiryo UI" panose="020B0604030504040204" pitchFamily="50" charset="-128"/>
                <a:cs typeface="+mn-cs"/>
              </a:defRPr>
            </a:lvl1pPr>
            <a:lvl2pPr marL="0" indent="0" algn="l" defTabSz="914429"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29"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29"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29"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80"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93"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109"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322"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2177"/>
              <a:t>2024</a:t>
            </a:r>
            <a:r>
              <a:rPr lang="ja-JP" altLang="en-US" sz="2177"/>
              <a:t>年２月</a:t>
            </a:r>
            <a:r>
              <a:rPr lang="en-US" altLang="ja-JP" sz="2177"/>
              <a:t>20</a:t>
            </a:r>
            <a:r>
              <a:rPr lang="ja-JP" altLang="en-US" sz="2177"/>
              <a:t>日</a:t>
            </a:r>
            <a:endParaRPr lang="ja-JP" altLang="en-US" sz="2177" dirty="0"/>
          </a:p>
        </p:txBody>
      </p:sp>
      <p:sp>
        <p:nvSpPr>
          <p:cNvPr id="6" name="コンテンツ プレースホルダー 4">
            <a:extLst>
              <a:ext uri="{FF2B5EF4-FFF2-40B4-BE49-F238E27FC236}">
                <a16:creationId xmlns:a16="http://schemas.microsoft.com/office/drawing/2014/main" id="{0B1DE99B-2889-4740-D3A5-BDD42300508A}"/>
              </a:ext>
            </a:extLst>
          </p:cNvPr>
          <p:cNvSpPr txBox="1">
            <a:spLocks/>
          </p:cNvSpPr>
          <p:nvPr/>
        </p:nvSpPr>
        <p:spPr>
          <a:xfrm>
            <a:off x="500354" y="476168"/>
            <a:ext cx="5241023" cy="772340"/>
          </a:xfrm>
          <a:prstGeom prst="rect">
            <a:avLst/>
          </a:prstGeom>
        </p:spPr>
        <p:txBody>
          <a:bodyPr lIns="0" tIns="0" rIns="0" bIns="0" anchor="ctr" anchorCtr="0"/>
          <a:lstStyle>
            <a:lvl1pPr marL="0" indent="0" algn="ctr" defTabSz="914406" rtl="0" eaLnBrk="1" latinLnBrk="0" hangingPunct="1">
              <a:lnSpc>
                <a:spcPct val="90000"/>
              </a:lnSpc>
              <a:spcBef>
                <a:spcPts val="1000"/>
              </a:spcBef>
              <a:buFontTx/>
              <a:buNone/>
              <a:defRPr kumimoji="1" sz="1633" b="0" kern="1200">
                <a:solidFill>
                  <a:schemeClr val="tx1"/>
                </a:solidFill>
                <a:latin typeface="Meiryo UI" panose="020B0604030504040204" pitchFamily="50" charset="-128"/>
                <a:ea typeface="Meiryo UI" panose="020B0604030504040204" pitchFamily="50" charset="-128"/>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l"/>
            <a:r>
              <a:rPr lang="ja-JP" altLang="en-US" sz="2177" dirty="0"/>
              <a:t>脱炭素社会の早期実現に向けたシンポジウム</a:t>
            </a:r>
          </a:p>
          <a:p>
            <a:pPr algn="l"/>
            <a:r>
              <a:rPr lang="ja-JP" altLang="en-US" sz="2177" dirty="0"/>
              <a:t>ゼロカーボンおおさかを目指して</a:t>
            </a:r>
          </a:p>
        </p:txBody>
      </p:sp>
    </p:spTree>
    <p:extLst>
      <p:ext uri="{BB962C8B-B14F-4D97-AF65-F5344CB8AC3E}">
        <p14:creationId xmlns:p14="http://schemas.microsoft.com/office/powerpoint/2010/main" val="356158531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E129463-D383-45C7-90B4-FE4C235D2624}"/>
              </a:ext>
            </a:extLst>
          </p:cNvPr>
          <p:cNvGraphicFramePr>
            <a:graphicFrameLocks noChangeAspect="1"/>
          </p:cNvGraphicFramePr>
          <p:nvPr>
            <p:custDataLst>
              <p:tags r:id="rId1"/>
            </p:custDataLst>
            <p:extLst>
              <p:ext uri="{D42A27DB-BD31-4B8C-83A1-F6EECF244321}">
                <p14:modId xmlns:p14="http://schemas.microsoft.com/office/powerpoint/2010/main" val="76952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4" name="オブジェクト 3" hidden="1">
                        <a:extLst>
                          <a:ext uri="{FF2B5EF4-FFF2-40B4-BE49-F238E27FC236}">
                            <a16:creationId xmlns:a16="http://schemas.microsoft.com/office/drawing/2014/main" id="{3E129463-D383-45C7-90B4-FE4C235D26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0" name="Title 59">
            <a:extLst>
              <a:ext uri="{FF2B5EF4-FFF2-40B4-BE49-F238E27FC236}">
                <a16:creationId xmlns:a16="http://schemas.microsoft.com/office/drawing/2014/main" id="{0DDBD210-AFE3-2FAB-D913-77ED7C3E46E6}"/>
              </a:ext>
            </a:extLst>
          </p:cNvPr>
          <p:cNvSpPr>
            <a:spLocks noGrp="1"/>
          </p:cNvSpPr>
          <p:nvPr>
            <p:ph type="title"/>
          </p:nvPr>
        </p:nvSpPr>
        <p:spPr/>
        <p:txBody>
          <a:bodyPr vert="horz"/>
          <a:lstStyle/>
          <a:p>
            <a:r>
              <a:rPr lang="ja-JP" altLang="en-US" dirty="0"/>
              <a:t>デコ活の内容</a:t>
            </a:r>
            <a:endParaRPr lang="en-US" dirty="0"/>
          </a:p>
        </p:txBody>
      </p:sp>
      <p:sp>
        <p:nvSpPr>
          <p:cNvPr id="62" name="正方形/長方形 9">
            <a:extLst>
              <a:ext uri="{FF2B5EF4-FFF2-40B4-BE49-F238E27FC236}">
                <a16:creationId xmlns:a16="http://schemas.microsoft.com/office/drawing/2014/main" id="{156ADFCD-A429-C944-B387-961653AA01E4}"/>
              </a:ext>
            </a:extLst>
          </p:cNvPr>
          <p:cNvSpPr/>
          <p:nvPr/>
        </p:nvSpPr>
        <p:spPr>
          <a:xfrm>
            <a:off x="412507" y="1038379"/>
            <a:ext cx="9080986" cy="393959"/>
          </a:xfrm>
          <a:prstGeom prst="rect">
            <a:avLst/>
          </a:prstGeom>
          <a:noFill/>
          <a:ln w="28575">
            <a:solidFill>
              <a:srgbClr val="00584E"/>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265120" indent="-176217"/>
            <a:r>
              <a:rPr lang="ja-JP" altLang="en-US" sz="1600" dirty="0">
                <a:solidFill>
                  <a:prstClr val="black"/>
                </a:solidFill>
                <a:latin typeface="Meiryo UI"/>
                <a:ea typeface="Meiryo UI"/>
              </a:rPr>
              <a:t>○国、自治体、企業、団体、消費者等の主体が、国民・消費者の新しい暮らしを後押しします。</a:t>
            </a:r>
          </a:p>
        </p:txBody>
      </p:sp>
      <p:sp>
        <p:nvSpPr>
          <p:cNvPr id="51" name="四角形: 1 つの角を丸める 50">
            <a:extLst>
              <a:ext uri="{FF2B5EF4-FFF2-40B4-BE49-F238E27FC236}">
                <a16:creationId xmlns:a16="http://schemas.microsoft.com/office/drawing/2014/main" id="{D6882BAD-5609-A523-650A-1B661F45FEDB}"/>
              </a:ext>
            </a:extLst>
          </p:cNvPr>
          <p:cNvSpPr/>
          <p:nvPr/>
        </p:nvSpPr>
        <p:spPr>
          <a:xfrm flipH="1">
            <a:off x="412509" y="1848365"/>
            <a:ext cx="2821233" cy="2291967"/>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endParaRPr>
          </a:p>
        </p:txBody>
      </p:sp>
      <p:sp>
        <p:nvSpPr>
          <p:cNvPr id="58" name="四角形: 1 つの角を丸める 57">
            <a:extLst>
              <a:ext uri="{FF2B5EF4-FFF2-40B4-BE49-F238E27FC236}">
                <a16:creationId xmlns:a16="http://schemas.microsoft.com/office/drawing/2014/main" id="{E9BE06AD-38E8-2FF1-F12D-B43D821864EB}"/>
              </a:ext>
            </a:extLst>
          </p:cNvPr>
          <p:cNvSpPr/>
          <p:nvPr/>
        </p:nvSpPr>
        <p:spPr>
          <a:xfrm>
            <a:off x="3323311" y="1848365"/>
            <a:ext cx="2821233" cy="2291967"/>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endParaRPr>
          </a:p>
        </p:txBody>
      </p:sp>
      <p:sp>
        <p:nvSpPr>
          <p:cNvPr id="59" name="四角形: 1 つの角を丸める 58">
            <a:extLst>
              <a:ext uri="{FF2B5EF4-FFF2-40B4-BE49-F238E27FC236}">
                <a16:creationId xmlns:a16="http://schemas.microsoft.com/office/drawing/2014/main" id="{CEE69429-62E9-3CCA-46C8-EF7BDDFC97DE}"/>
              </a:ext>
            </a:extLst>
          </p:cNvPr>
          <p:cNvSpPr/>
          <p:nvPr/>
        </p:nvSpPr>
        <p:spPr>
          <a:xfrm flipV="1">
            <a:off x="3323311" y="4212904"/>
            <a:ext cx="2821233" cy="2291967"/>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endParaRPr>
          </a:p>
        </p:txBody>
      </p:sp>
      <p:sp>
        <p:nvSpPr>
          <p:cNvPr id="63" name="四角形: 1 つの角を丸める 62">
            <a:extLst>
              <a:ext uri="{FF2B5EF4-FFF2-40B4-BE49-F238E27FC236}">
                <a16:creationId xmlns:a16="http://schemas.microsoft.com/office/drawing/2014/main" id="{E5CA15D3-FC2D-F2C7-2908-870B5C8B3E43}"/>
              </a:ext>
            </a:extLst>
          </p:cNvPr>
          <p:cNvSpPr/>
          <p:nvPr/>
        </p:nvSpPr>
        <p:spPr>
          <a:xfrm flipH="1" flipV="1">
            <a:off x="412509" y="4212904"/>
            <a:ext cx="2821233" cy="2291967"/>
          </a:xfrm>
          <a:prstGeom prst="round1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endParaRPr>
          </a:p>
        </p:txBody>
      </p:sp>
      <p:sp>
        <p:nvSpPr>
          <p:cNvPr id="64" name="四角形: 1 つの角を丸める 63">
            <a:extLst>
              <a:ext uri="{FF2B5EF4-FFF2-40B4-BE49-F238E27FC236}">
                <a16:creationId xmlns:a16="http://schemas.microsoft.com/office/drawing/2014/main" id="{F9BE773E-4D76-0476-C534-974139047182}"/>
              </a:ext>
            </a:extLst>
          </p:cNvPr>
          <p:cNvSpPr/>
          <p:nvPr/>
        </p:nvSpPr>
        <p:spPr>
          <a:xfrm>
            <a:off x="3463431" y="1962199"/>
            <a:ext cx="2540988" cy="2064296"/>
          </a:xfrm>
          <a:prstGeom prst="round1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endParaRPr>
          </a:p>
        </p:txBody>
      </p:sp>
      <p:sp>
        <p:nvSpPr>
          <p:cNvPr id="65" name="四角形: 1 つの角を丸める 64">
            <a:extLst>
              <a:ext uri="{FF2B5EF4-FFF2-40B4-BE49-F238E27FC236}">
                <a16:creationId xmlns:a16="http://schemas.microsoft.com/office/drawing/2014/main" id="{978910DA-606C-C924-59E7-562A60542396}"/>
              </a:ext>
            </a:extLst>
          </p:cNvPr>
          <p:cNvSpPr/>
          <p:nvPr/>
        </p:nvSpPr>
        <p:spPr>
          <a:xfrm flipH="1">
            <a:off x="552629" y="1962199"/>
            <a:ext cx="2540986" cy="2064296"/>
          </a:xfrm>
          <a:prstGeom prst="round1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endParaRPr>
          </a:p>
        </p:txBody>
      </p:sp>
      <p:sp>
        <p:nvSpPr>
          <p:cNvPr id="66" name="四角形: 1 つの角を丸める 65">
            <a:extLst>
              <a:ext uri="{FF2B5EF4-FFF2-40B4-BE49-F238E27FC236}">
                <a16:creationId xmlns:a16="http://schemas.microsoft.com/office/drawing/2014/main" id="{32879719-4717-A79A-73F5-F625EABB30E0}"/>
              </a:ext>
            </a:extLst>
          </p:cNvPr>
          <p:cNvSpPr/>
          <p:nvPr/>
        </p:nvSpPr>
        <p:spPr>
          <a:xfrm flipV="1">
            <a:off x="3463431" y="4326738"/>
            <a:ext cx="2540988" cy="2064296"/>
          </a:xfrm>
          <a:prstGeom prst="round1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endParaRPr>
          </a:p>
        </p:txBody>
      </p:sp>
      <p:sp>
        <p:nvSpPr>
          <p:cNvPr id="67" name="四角形: 1 つの角を丸める 66">
            <a:extLst>
              <a:ext uri="{FF2B5EF4-FFF2-40B4-BE49-F238E27FC236}">
                <a16:creationId xmlns:a16="http://schemas.microsoft.com/office/drawing/2014/main" id="{F75A3139-2FBE-B6F5-950E-B621E184C72F}"/>
              </a:ext>
            </a:extLst>
          </p:cNvPr>
          <p:cNvSpPr/>
          <p:nvPr/>
        </p:nvSpPr>
        <p:spPr>
          <a:xfrm flipH="1" flipV="1">
            <a:off x="552629" y="4326738"/>
            <a:ext cx="2540986" cy="2064296"/>
          </a:xfrm>
          <a:prstGeom prst="round1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endParaRPr>
          </a:p>
        </p:txBody>
      </p:sp>
      <p:sp>
        <p:nvSpPr>
          <p:cNvPr id="68" name="正方形/長方形 67">
            <a:extLst>
              <a:ext uri="{FF2B5EF4-FFF2-40B4-BE49-F238E27FC236}">
                <a16:creationId xmlns:a16="http://schemas.microsoft.com/office/drawing/2014/main" id="{6B7E4264-DCF0-93BB-EAC6-6C982BD5073E}"/>
              </a:ext>
            </a:extLst>
          </p:cNvPr>
          <p:cNvSpPr/>
          <p:nvPr/>
        </p:nvSpPr>
        <p:spPr>
          <a:xfrm>
            <a:off x="3524924" y="1962199"/>
            <a:ext cx="2418004" cy="1205074"/>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r>
              <a:rPr lang="ja-JP" altLang="en-US" sz="1600" dirty="0">
                <a:solidFill>
                  <a:schemeClr val="bg2"/>
                </a:solidFill>
              </a:rPr>
              <a:t>脱炭素につながる新たな暮らしを支える</a:t>
            </a:r>
            <a:r>
              <a:rPr lang="ja-JP" altLang="en-US" b="1" dirty="0">
                <a:solidFill>
                  <a:schemeClr val="bg2"/>
                </a:solidFill>
              </a:rPr>
              <a:t>製品・サービス</a:t>
            </a:r>
            <a:r>
              <a:rPr lang="ja-JP" altLang="en-US" sz="1600" dirty="0">
                <a:solidFill>
                  <a:schemeClr val="bg2"/>
                </a:solidFill>
              </a:rPr>
              <a:t>を提供・提案</a:t>
            </a:r>
          </a:p>
        </p:txBody>
      </p:sp>
      <p:sp>
        <p:nvSpPr>
          <p:cNvPr id="69" name="正方形/長方形 68">
            <a:extLst>
              <a:ext uri="{FF2B5EF4-FFF2-40B4-BE49-F238E27FC236}">
                <a16:creationId xmlns:a16="http://schemas.microsoft.com/office/drawing/2014/main" id="{9A021842-28C9-2F3C-B047-004E161E02C6}"/>
              </a:ext>
            </a:extLst>
          </p:cNvPr>
          <p:cNvSpPr/>
          <p:nvPr/>
        </p:nvSpPr>
        <p:spPr>
          <a:xfrm>
            <a:off x="614121" y="1962199"/>
            <a:ext cx="2418004" cy="1205074"/>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108000" rIns="0" bIns="0" rtlCol="0" anchor="t"/>
          <a:lstStyle/>
          <a:p>
            <a:r>
              <a:rPr lang="ja-JP" altLang="en-US" sz="1600" dirty="0">
                <a:solidFill>
                  <a:schemeClr val="bg2"/>
                </a:solidFill>
              </a:rPr>
              <a:t>デジタルも駆使して、多様で</a:t>
            </a:r>
            <a:br>
              <a:rPr lang="en-US" altLang="ja-JP" sz="1600" dirty="0">
                <a:solidFill>
                  <a:schemeClr val="bg2"/>
                </a:solidFill>
              </a:rPr>
            </a:br>
            <a:r>
              <a:rPr lang="ja-JP" altLang="en-US" sz="1600" dirty="0">
                <a:solidFill>
                  <a:schemeClr val="bg2"/>
                </a:solidFill>
              </a:rPr>
              <a:t>快適な </a:t>
            </a:r>
            <a:r>
              <a:rPr lang="ja-JP" altLang="en-US" b="1" dirty="0">
                <a:solidFill>
                  <a:schemeClr val="bg2"/>
                </a:solidFill>
              </a:rPr>
              <a:t>働き方、暮らし方 </a:t>
            </a:r>
            <a:r>
              <a:rPr lang="ja-JP" altLang="en-US" sz="1600" dirty="0">
                <a:solidFill>
                  <a:schemeClr val="bg2"/>
                </a:solidFill>
              </a:rPr>
              <a:t>を後押し</a:t>
            </a:r>
            <a:r>
              <a:rPr lang="ja-JP" altLang="en-US" sz="1400" dirty="0">
                <a:solidFill>
                  <a:schemeClr val="bg2"/>
                </a:solidFill>
              </a:rPr>
              <a:t>（テレワーク、地方移住、</a:t>
            </a:r>
            <a:br>
              <a:rPr lang="en-US" altLang="ja-JP" sz="1400" dirty="0">
                <a:solidFill>
                  <a:schemeClr val="bg2"/>
                </a:solidFill>
              </a:rPr>
            </a:br>
            <a:r>
              <a:rPr lang="ja-JP" altLang="en-US" sz="1400" dirty="0">
                <a:solidFill>
                  <a:schemeClr val="bg2"/>
                </a:solidFill>
              </a:rPr>
              <a:t>ワーケーションなど</a:t>
            </a:r>
            <a:r>
              <a:rPr lang="en-US" altLang="ja-JP" sz="1400" dirty="0">
                <a:solidFill>
                  <a:schemeClr val="bg2"/>
                </a:solidFill>
              </a:rPr>
              <a:t>) </a:t>
            </a:r>
            <a:endParaRPr lang="ja-JP" altLang="en-US" sz="1400" dirty="0">
              <a:solidFill>
                <a:schemeClr val="bg2"/>
              </a:solidFill>
            </a:endParaRPr>
          </a:p>
        </p:txBody>
      </p:sp>
      <p:sp>
        <p:nvSpPr>
          <p:cNvPr id="70" name="正方形/長方形 69">
            <a:extLst>
              <a:ext uri="{FF2B5EF4-FFF2-40B4-BE49-F238E27FC236}">
                <a16:creationId xmlns:a16="http://schemas.microsoft.com/office/drawing/2014/main" id="{075BAC6E-42CC-DAEC-8390-AE72173EF69B}"/>
              </a:ext>
            </a:extLst>
          </p:cNvPr>
          <p:cNvSpPr/>
          <p:nvPr/>
        </p:nvSpPr>
        <p:spPr>
          <a:xfrm>
            <a:off x="3524924" y="5308935"/>
            <a:ext cx="2418004" cy="99965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ja-JP" altLang="en-US" b="1" dirty="0">
                <a:solidFill>
                  <a:schemeClr val="bg2"/>
                </a:solidFill>
              </a:rPr>
              <a:t>地域 </a:t>
            </a:r>
            <a:r>
              <a:rPr lang="ja-JP" altLang="en-US" sz="1600" dirty="0">
                <a:solidFill>
                  <a:schemeClr val="bg2"/>
                </a:solidFill>
              </a:rPr>
              <a:t>独自の </a:t>
            </a:r>
            <a:r>
              <a:rPr lang="en-US" altLang="ja-JP" sz="1600" dirty="0">
                <a:solidFill>
                  <a:schemeClr val="bg2"/>
                </a:solidFill>
              </a:rPr>
              <a:t>(</a:t>
            </a:r>
            <a:r>
              <a:rPr lang="ja-JP" altLang="en-US" sz="1600" dirty="0">
                <a:solidFill>
                  <a:schemeClr val="bg2"/>
                </a:solidFill>
              </a:rPr>
              <a:t>気候、文化等に応じた</a:t>
            </a:r>
            <a:r>
              <a:rPr lang="en-US" altLang="ja-JP" sz="1600" dirty="0">
                <a:solidFill>
                  <a:schemeClr val="bg2"/>
                </a:solidFill>
              </a:rPr>
              <a:t>) </a:t>
            </a:r>
            <a:r>
              <a:rPr lang="ja-JP" altLang="en-US" sz="1600" dirty="0">
                <a:solidFill>
                  <a:schemeClr val="bg2"/>
                </a:solidFill>
              </a:rPr>
              <a:t>暮らし方の提案、支援</a:t>
            </a:r>
          </a:p>
        </p:txBody>
      </p:sp>
      <p:sp>
        <p:nvSpPr>
          <p:cNvPr id="71" name="正方形/長方形 70">
            <a:extLst>
              <a:ext uri="{FF2B5EF4-FFF2-40B4-BE49-F238E27FC236}">
                <a16:creationId xmlns:a16="http://schemas.microsoft.com/office/drawing/2014/main" id="{DC405C7A-77F9-36DA-2C4A-F4278397A892}"/>
              </a:ext>
            </a:extLst>
          </p:cNvPr>
          <p:cNvSpPr/>
          <p:nvPr/>
        </p:nvSpPr>
        <p:spPr>
          <a:xfrm>
            <a:off x="614121" y="5308935"/>
            <a:ext cx="2418004" cy="999651"/>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r>
              <a:rPr lang="ja-JP" altLang="en-US" b="1" dirty="0">
                <a:solidFill>
                  <a:schemeClr val="bg2"/>
                </a:solidFill>
              </a:rPr>
              <a:t>インセンティブ </a:t>
            </a:r>
            <a:r>
              <a:rPr lang="ja-JP" altLang="en-US" sz="1600" dirty="0">
                <a:solidFill>
                  <a:schemeClr val="bg2"/>
                </a:solidFill>
              </a:rPr>
              <a:t>や効果的な</a:t>
            </a:r>
            <a:br>
              <a:rPr lang="en-US" altLang="ja-JP" sz="1600" dirty="0">
                <a:solidFill>
                  <a:schemeClr val="bg2"/>
                </a:solidFill>
              </a:rPr>
            </a:br>
            <a:r>
              <a:rPr lang="ja-JP" altLang="en-US" sz="1600" dirty="0">
                <a:solidFill>
                  <a:schemeClr val="bg2"/>
                </a:solidFill>
              </a:rPr>
              <a:t>情報発信 </a:t>
            </a:r>
            <a:r>
              <a:rPr lang="en-US" altLang="ja-JP" sz="1600" dirty="0">
                <a:solidFill>
                  <a:schemeClr val="bg2"/>
                </a:solidFill>
              </a:rPr>
              <a:t>(</a:t>
            </a:r>
            <a:r>
              <a:rPr lang="ja-JP" altLang="en-US" sz="1600" dirty="0">
                <a:solidFill>
                  <a:schemeClr val="bg2"/>
                </a:solidFill>
              </a:rPr>
              <a:t>気づき、ナッジ</a:t>
            </a:r>
            <a:r>
              <a:rPr lang="en-US" altLang="ja-JP" sz="1600" dirty="0">
                <a:solidFill>
                  <a:schemeClr val="bg2"/>
                </a:solidFill>
              </a:rPr>
              <a:t>) </a:t>
            </a:r>
            <a:r>
              <a:rPr lang="ja-JP" altLang="en-US" sz="1600" dirty="0">
                <a:solidFill>
                  <a:schemeClr val="bg2"/>
                </a:solidFill>
              </a:rPr>
              <a:t>を通じた行動変容の後押し</a:t>
            </a:r>
            <a:br>
              <a:rPr lang="en-US" altLang="ja-JP" sz="1600" dirty="0">
                <a:solidFill>
                  <a:schemeClr val="bg2"/>
                </a:solidFill>
              </a:rPr>
            </a:br>
            <a:r>
              <a:rPr lang="ja-JP" altLang="en-US" sz="1600" dirty="0">
                <a:solidFill>
                  <a:schemeClr val="bg2"/>
                </a:solidFill>
              </a:rPr>
              <a:t>　　　</a:t>
            </a:r>
            <a:r>
              <a:rPr lang="en-US" altLang="ja-JP" sz="1400" dirty="0">
                <a:solidFill>
                  <a:schemeClr val="bg2"/>
                </a:solidFill>
              </a:rPr>
              <a:t>(</a:t>
            </a:r>
            <a:r>
              <a:rPr lang="ja-JP" altLang="en-US" sz="1400" dirty="0">
                <a:solidFill>
                  <a:schemeClr val="bg2"/>
                </a:solidFill>
              </a:rPr>
              <a:t>消費者からの発信も含め</a:t>
            </a:r>
            <a:r>
              <a:rPr lang="en-US" altLang="ja-JP" sz="1400" dirty="0">
                <a:solidFill>
                  <a:schemeClr val="bg2"/>
                </a:solidFill>
              </a:rPr>
              <a:t>)</a:t>
            </a:r>
            <a:endParaRPr lang="ja-JP" altLang="en-US" sz="1400" dirty="0">
              <a:solidFill>
                <a:schemeClr val="bg2"/>
              </a:solidFill>
            </a:endParaRPr>
          </a:p>
        </p:txBody>
      </p:sp>
      <p:grpSp>
        <p:nvGrpSpPr>
          <p:cNvPr id="72" name="bcgIcons_Digital ">
            <a:extLst>
              <a:ext uri="{FF2B5EF4-FFF2-40B4-BE49-F238E27FC236}">
                <a16:creationId xmlns:a16="http://schemas.microsoft.com/office/drawing/2014/main" id="{3B254F63-563F-84AA-CD9E-BC80D18E9C0C}"/>
              </a:ext>
            </a:extLst>
          </p:cNvPr>
          <p:cNvGrpSpPr>
            <a:grpSpLocks noChangeAspect="1"/>
          </p:cNvGrpSpPr>
          <p:nvPr/>
        </p:nvGrpSpPr>
        <p:grpSpPr bwMode="auto">
          <a:xfrm>
            <a:off x="1477335" y="4558679"/>
            <a:ext cx="793153" cy="793887"/>
            <a:chOff x="1682" y="0"/>
            <a:chExt cx="4316" cy="4320"/>
          </a:xfrm>
        </p:grpSpPr>
        <p:sp>
          <p:nvSpPr>
            <p:cNvPr id="73" name="AutoShape 8">
              <a:extLst>
                <a:ext uri="{FF2B5EF4-FFF2-40B4-BE49-F238E27FC236}">
                  <a16:creationId xmlns:a16="http://schemas.microsoft.com/office/drawing/2014/main" id="{1AB3309F-882E-E883-9A08-6806FD7F3779}"/>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0">
              <a:extLst>
                <a:ext uri="{FF2B5EF4-FFF2-40B4-BE49-F238E27FC236}">
                  <a16:creationId xmlns:a16="http://schemas.microsoft.com/office/drawing/2014/main" id="{4BACF3BC-D275-A1C9-8BD3-E7FFF0DF868C}"/>
                </a:ext>
              </a:extLst>
            </p:cNvPr>
            <p:cNvSpPr>
              <a:spLocks noEditPoints="1"/>
            </p:cNvSpPr>
            <p:nvPr/>
          </p:nvSpPr>
          <p:spPr bwMode="auto">
            <a:xfrm>
              <a:off x="2727" y="919"/>
              <a:ext cx="2797" cy="2512"/>
            </a:xfrm>
            <a:custGeom>
              <a:avLst/>
              <a:gdLst>
                <a:gd name="T0" fmla="*/ 263 w 1493"/>
                <a:gd name="T1" fmla="*/ 1282 h 1340"/>
                <a:gd name="T2" fmla="*/ 379 w 1493"/>
                <a:gd name="T3" fmla="*/ 1282 h 1340"/>
                <a:gd name="T4" fmla="*/ 469 w 1493"/>
                <a:gd name="T5" fmla="*/ 22 h 1340"/>
                <a:gd name="T6" fmla="*/ 195 w 1493"/>
                <a:gd name="T7" fmla="*/ 0 h 1340"/>
                <a:gd name="T8" fmla="*/ 195 w 1493"/>
                <a:gd name="T9" fmla="*/ 44 h 1340"/>
                <a:gd name="T10" fmla="*/ 469 w 1493"/>
                <a:gd name="T11" fmla="*/ 22 h 1340"/>
                <a:gd name="T12" fmla="*/ 390 w 1493"/>
                <a:gd name="T13" fmla="*/ 564 h 1340"/>
                <a:gd name="T14" fmla="*/ 368 w 1493"/>
                <a:gd name="T15" fmla="*/ 701 h 1340"/>
                <a:gd name="T16" fmla="*/ 504 w 1493"/>
                <a:gd name="T17" fmla="*/ 723 h 1340"/>
                <a:gd name="T18" fmla="*/ 526 w 1493"/>
                <a:gd name="T19" fmla="*/ 586 h 1340"/>
                <a:gd name="T20" fmla="*/ 758 w 1493"/>
                <a:gd name="T21" fmla="*/ 347 h 1340"/>
                <a:gd name="T22" fmla="*/ 578 w 1493"/>
                <a:gd name="T23" fmla="*/ 369 h 1340"/>
                <a:gd name="T24" fmla="*/ 600 w 1493"/>
                <a:gd name="T25" fmla="*/ 549 h 1340"/>
                <a:gd name="T26" fmla="*/ 780 w 1493"/>
                <a:gd name="T27" fmla="*/ 527 h 1340"/>
                <a:gd name="T28" fmla="*/ 758 w 1493"/>
                <a:gd name="T29" fmla="*/ 347 h 1340"/>
                <a:gd name="T30" fmla="*/ 570 w 1493"/>
                <a:gd name="T31" fmla="*/ 586 h 1340"/>
                <a:gd name="T32" fmla="*/ 570 w 1493"/>
                <a:gd name="T33" fmla="*/ 701 h 1340"/>
                <a:gd name="T34" fmla="*/ 390 w 1493"/>
                <a:gd name="T35" fmla="*/ 767 h 1340"/>
                <a:gd name="T36" fmla="*/ 324 w 1493"/>
                <a:gd name="T37" fmla="*/ 586 h 1340"/>
                <a:gd name="T38" fmla="*/ 504 w 1493"/>
                <a:gd name="T39" fmla="*/ 520 h 1340"/>
                <a:gd name="T40" fmla="*/ 534 w 1493"/>
                <a:gd name="T41" fmla="*/ 527 h 1340"/>
                <a:gd name="T42" fmla="*/ 600 w 1493"/>
                <a:gd name="T43" fmla="*/ 303 h 1340"/>
                <a:gd name="T44" fmla="*/ 638 w 1493"/>
                <a:gd name="T45" fmla="*/ 115 h 1340"/>
                <a:gd name="T46" fmla="*/ 10 w 1493"/>
                <a:gd name="T47" fmla="*/ 105 h 1340"/>
                <a:gd name="T48" fmla="*/ 0 w 1493"/>
                <a:gd name="T49" fmla="*/ 1092 h 1340"/>
                <a:gd name="T50" fmla="*/ 628 w 1493"/>
                <a:gd name="T51" fmla="*/ 1102 h 1340"/>
                <a:gd name="T52" fmla="*/ 638 w 1493"/>
                <a:gd name="T53" fmla="*/ 593 h 1340"/>
                <a:gd name="T54" fmla="*/ 1095 w 1493"/>
                <a:gd name="T55" fmla="*/ 105 h 1340"/>
                <a:gd name="T56" fmla="*/ 874 w 1493"/>
                <a:gd name="T57" fmla="*/ 127 h 1340"/>
                <a:gd name="T58" fmla="*/ 896 w 1493"/>
                <a:gd name="T59" fmla="*/ 348 h 1340"/>
                <a:gd name="T60" fmla="*/ 1117 w 1493"/>
                <a:gd name="T61" fmla="*/ 326 h 1340"/>
                <a:gd name="T62" fmla="*/ 1095 w 1493"/>
                <a:gd name="T63" fmla="*/ 105 h 1340"/>
                <a:gd name="T64" fmla="*/ 1493 w 1493"/>
                <a:gd name="T65" fmla="*/ 222 h 1340"/>
                <a:gd name="T66" fmla="*/ 1197 w 1493"/>
                <a:gd name="T67" fmla="*/ 200 h 1340"/>
                <a:gd name="T68" fmla="*/ 1175 w 1493"/>
                <a:gd name="T69" fmla="*/ 496 h 1340"/>
                <a:gd name="T70" fmla="*/ 1471 w 1493"/>
                <a:gd name="T71" fmla="*/ 518 h 1340"/>
                <a:gd name="T72" fmla="*/ 1117 w 1493"/>
                <a:gd name="T73" fmla="*/ 667 h 1340"/>
                <a:gd name="T74" fmla="*/ 1095 w 1493"/>
                <a:gd name="T75" fmla="*/ 409 h 1340"/>
                <a:gd name="T76" fmla="*/ 838 w 1493"/>
                <a:gd name="T77" fmla="*/ 431 h 1340"/>
                <a:gd name="T78" fmla="*/ 860 w 1493"/>
                <a:gd name="T79" fmla="*/ 689 h 1340"/>
                <a:gd name="T80" fmla="*/ 1117 w 1493"/>
                <a:gd name="T81" fmla="*/ 667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93" h="1340">
                  <a:moveTo>
                    <a:pt x="321" y="1340"/>
                  </a:moveTo>
                  <a:cubicBezTo>
                    <a:pt x="289" y="1340"/>
                    <a:pt x="263" y="1314"/>
                    <a:pt x="263" y="1282"/>
                  </a:cubicBezTo>
                  <a:cubicBezTo>
                    <a:pt x="263" y="1250"/>
                    <a:pt x="289" y="1224"/>
                    <a:pt x="321" y="1224"/>
                  </a:cubicBezTo>
                  <a:cubicBezTo>
                    <a:pt x="353" y="1224"/>
                    <a:pt x="379" y="1250"/>
                    <a:pt x="379" y="1282"/>
                  </a:cubicBezTo>
                  <a:cubicBezTo>
                    <a:pt x="379" y="1314"/>
                    <a:pt x="353" y="1340"/>
                    <a:pt x="321" y="1340"/>
                  </a:cubicBezTo>
                  <a:close/>
                  <a:moveTo>
                    <a:pt x="469" y="22"/>
                  </a:moveTo>
                  <a:cubicBezTo>
                    <a:pt x="469" y="10"/>
                    <a:pt x="459" y="0"/>
                    <a:pt x="447" y="0"/>
                  </a:cubicBezTo>
                  <a:cubicBezTo>
                    <a:pt x="195" y="0"/>
                    <a:pt x="195" y="0"/>
                    <a:pt x="195" y="0"/>
                  </a:cubicBezTo>
                  <a:cubicBezTo>
                    <a:pt x="183" y="0"/>
                    <a:pt x="173" y="10"/>
                    <a:pt x="173" y="22"/>
                  </a:cubicBezTo>
                  <a:cubicBezTo>
                    <a:pt x="173" y="34"/>
                    <a:pt x="183" y="44"/>
                    <a:pt x="195" y="44"/>
                  </a:cubicBezTo>
                  <a:cubicBezTo>
                    <a:pt x="447" y="44"/>
                    <a:pt x="447" y="44"/>
                    <a:pt x="447" y="44"/>
                  </a:cubicBezTo>
                  <a:cubicBezTo>
                    <a:pt x="459" y="44"/>
                    <a:pt x="469" y="34"/>
                    <a:pt x="469" y="22"/>
                  </a:cubicBezTo>
                  <a:close/>
                  <a:moveTo>
                    <a:pt x="504" y="564"/>
                  </a:moveTo>
                  <a:cubicBezTo>
                    <a:pt x="390" y="564"/>
                    <a:pt x="390" y="564"/>
                    <a:pt x="390" y="564"/>
                  </a:cubicBezTo>
                  <a:cubicBezTo>
                    <a:pt x="377" y="564"/>
                    <a:pt x="368" y="574"/>
                    <a:pt x="368" y="586"/>
                  </a:cubicBezTo>
                  <a:cubicBezTo>
                    <a:pt x="368" y="701"/>
                    <a:pt x="368" y="701"/>
                    <a:pt x="368" y="701"/>
                  </a:cubicBezTo>
                  <a:cubicBezTo>
                    <a:pt x="368" y="713"/>
                    <a:pt x="377" y="723"/>
                    <a:pt x="390" y="723"/>
                  </a:cubicBezTo>
                  <a:cubicBezTo>
                    <a:pt x="504" y="723"/>
                    <a:pt x="504" y="723"/>
                    <a:pt x="504" y="723"/>
                  </a:cubicBezTo>
                  <a:cubicBezTo>
                    <a:pt x="516" y="723"/>
                    <a:pt x="526" y="713"/>
                    <a:pt x="526" y="701"/>
                  </a:cubicBezTo>
                  <a:cubicBezTo>
                    <a:pt x="526" y="586"/>
                    <a:pt x="526" y="586"/>
                    <a:pt x="526" y="586"/>
                  </a:cubicBezTo>
                  <a:cubicBezTo>
                    <a:pt x="526" y="574"/>
                    <a:pt x="516" y="564"/>
                    <a:pt x="504" y="564"/>
                  </a:cubicBezTo>
                  <a:moveTo>
                    <a:pt x="758" y="347"/>
                  </a:moveTo>
                  <a:cubicBezTo>
                    <a:pt x="600" y="347"/>
                    <a:pt x="600" y="347"/>
                    <a:pt x="600" y="347"/>
                  </a:cubicBezTo>
                  <a:cubicBezTo>
                    <a:pt x="588" y="347"/>
                    <a:pt x="578" y="357"/>
                    <a:pt x="578" y="369"/>
                  </a:cubicBezTo>
                  <a:cubicBezTo>
                    <a:pt x="578" y="527"/>
                    <a:pt x="578" y="527"/>
                    <a:pt x="578" y="527"/>
                  </a:cubicBezTo>
                  <a:cubicBezTo>
                    <a:pt x="578" y="539"/>
                    <a:pt x="588" y="549"/>
                    <a:pt x="600" y="549"/>
                  </a:cubicBezTo>
                  <a:cubicBezTo>
                    <a:pt x="758" y="549"/>
                    <a:pt x="758" y="549"/>
                    <a:pt x="758" y="549"/>
                  </a:cubicBezTo>
                  <a:cubicBezTo>
                    <a:pt x="770" y="549"/>
                    <a:pt x="780" y="539"/>
                    <a:pt x="780" y="527"/>
                  </a:cubicBezTo>
                  <a:cubicBezTo>
                    <a:pt x="780" y="369"/>
                    <a:pt x="780" y="369"/>
                    <a:pt x="780" y="369"/>
                  </a:cubicBezTo>
                  <a:cubicBezTo>
                    <a:pt x="780" y="357"/>
                    <a:pt x="770" y="347"/>
                    <a:pt x="758" y="347"/>
                  </a:cubicBezTo>
                  <a:moveTo>
                    <a:pt x="600" y="593"/>
                  </a:moveTo>
                  <a:cubicBezTo>
                    <a:pt x="589" y="593"/>
                    <a:pt x="579" y="590"/>
                    <a:pt x="570" y="586"/>
                  </a:cubicBezTo>
                  <a:cubicBezTo>
                    <a:pt x="570" y="586"/>
                    <a:pt x="570" y="586"/>
                    <a:pt x="570" y="586"/>
                  </a:cubicBezTo>
                  <a:cubicBezTo>
                    <a:pt x="570" y="701"/>
                    <a:pt x="570" y="701"/>
                    <a:pt x="570" y="701"/>
                  </a:cubicBezTo>
                  <a:cubicBezTo>
                    <a:pt x="570" y="737"/>
                    <a:pt x="541" y="767"/>
                    <a:pt x="504" y="767"/>
                  </a:cubicBezTo>
                  <a:cubicBezTo>
                    <a:pt x="390" y="767"/>
                    <a:pt x="390" y="767"/>
                    <a:pt x="390" y="767"/>
                  </a:cubicBezTo>
                  <a:cubicBezTo>
                    <a:pt x="353" y="767"/>
                    <a:pt x="324" y="737"/>
                    <a:pt x="324" y="701"/>
                  </a:cubicBezTo>
                  <a:cubicBezTo>
                    <a:pt x="324" y="586"/>
                    <a:pt x="324" y="586"/>
                    <a:pt x="324" y="586"/>
                  </a:cubicBezTo>
                  <a:cubicBezTo>
                    <a:pt x="324" y="550"/>
                    <a:pt x="353" y="520"/>
                    <a:pt x="390" y="520"/>
                  </a:cubicBezTo>
                  <a:cubicBezTo>
                    <a:pt x="504" y="520"/>
                    <a:pt x="504" y="520"/>
                    <a:pt x="504" y="520"/>
                  </a:cubicBezTo>
                  <a:cubicBezTo>
                    <a:pt x="515" y="520"/>
                    <a:pt x="525" y="523"/>
                    <a:pt x="534" y="528"/>
                  </a:cubicBezTo>
                  <a:cubicBezTo>
                    <a:pt x="534" y="527"/>
                    <a:pt x="534" y="527"/>
                    <a:pt x="534" y="527"/>
                  </a:cubicBezTo>
                  <a:cubicBezTo>
                    <a:pt x="534" y="369"/>
                    <a:pt x="534" y="369"/>
                    <a:pt x="534" y="369"/>
                  </a:cubicBezTo>
                  <a:cubicBezTo>
                    <a:pt x="534" y="333"/>
                    <a:pt x="564" y="303"/>
                    <a:pt x="600" y="303"/>
                  </a:cubicBezTo>
                  <a:cubicBezTo>
                    <a:pt x="638" y="303"/>
                    <a:pt x="638" y="303"/>
                    <a:pt x="638" y="303"/>
                  </a:cubicBezTo>
                  <a:cubicBezTo>
                    <a:pt x="638" y="115"/>
                    <a:pt x="638" y="115"/>
                    <a:pt x="638" y="115"/>
                  </a:cubicBezTo>
                  <a:cubicBezTo>
                    <a:pt x="638" y="110"/>
                    <a:pt x="634" y="105"/>
                    <a:pt x="628" y="105"/>
                  </a:cubicBezTo>
                  <a:cubicBezTo>
                    <a:pt x="10" y="105"/>
                    <a:pt x="10" y="105"/>
                    <a:pt x="10" y="105"/>
                  </a:cubicBezTo>
                  <a:cubicBezTo>
                    <a:pt x="4" y="105"/>
                    <a:pt x="0" y="110"/>
                    <a:pt x="0" y="115"/>
                  </a:cubicBezTo>
                  <a:cubicBezTo>
                    <a:pt x="0" y="1092"/>
                    <a:pt x="0" y="1092"/>
                    <a:pt x="0" y="1092"/>
                  </a:cubicBezTo>
                  <a:cubicBezTo>
                    <a:pt x="0" y="1098"/>
                    <a:pt x="4" y="1102"/>
                    <a:pt x="10" y="1102"/>
                  </a:cubicBezTo>
                  <a:cubicBezTo>
                    <a:pt x="628" y="1102"/>
                    <a:pt x="628" y="1102"/>
                    <a:pt x="628" y="1102"/>
                  </a:cubicBezTo>
                  <a:cubicBezTo>
                    <a:pt x="634" y="1102"/>
                    <a:pt x="638" y="1098"/>
                    <a:pt x="638" y="1092"/>
                  </a:cubicBezTo>
                  <a:cubicBezTo>
                    <a:pt x="638" y="593"/>
                    <a:pt x="638" y="593"/>
                    <a:pt x="638" y="593"/>
                  </a:cubicBezTo>
                  <a:lnTo>
                    <a:pt x="600" y="593"/>
                  </a:lnTo>
                  <a:close/>
                  <a:moveTo>
                    <a:pt x="1095" y="105"/>
                  </a:moveTo>
                  <a:cubicBezTo>
                    <a:pt x="896" y="105"/>
                    <a:pt x="896" y="105"/>
                    <a:pt x="896" y="105"/>
                  </a:cubicBezTo>
                  <a:cubicBezTo>
                    <a:pt x="884" y="105"/>
                    <a:pt x="874" y="115"/>
                    <a:pt x="874" y="127"/>
                  </a:cubicBezTo>
                  <a:cubicBezTo>
                    <a:pt x="874" y="326"/>
                    <a:pt x="874" y="326"/>
                    <a:pt x="874" y="326"/>
                  </a:cubicBezTo>
                  <a:cubicBezTo>
                    <a:pt x="874" y="338"/>
                    <a:pt x="884" y="348"/>
                    <a:pt x="896" y="348"/>
                  </a:cubicBezTo>
                  <a:cubicBezTo>
                    <a:pt x="1095" y="348"/>
                    <a:pt x="1095" y="348"/>
                    <a:pt x="1095" y="348"/>
                  </a:cubicBezTo>
                  <a:cubicBezTo>
                    <a:pt x="1107" y="348"/>
                    <a:pt x="1117" y="338"/>
                    <a:pt x="1117" y="326"/>
                  </a:cubicBezTo>
                  <a:cubicBezTo>
                    <a:pt x="1117" y="127"/>
                    <a:pt x="1117" y="127"/>
                    <a:pt x="1117" y="127"/>
                  </a:cubicBezTo>
                  <a:cubicBezTo>
                    <a:pt x="1117" y="115"/>
                    <a:pt x="1107" y="105"/>
                    <a:pt x="1095" y="105"/>
                  </a:cubicBezTo>
                  <a:moveTo>
                    <a:pt x="1493" y="496"/>
                  </a:moveTo>
                  <a:cubicBezTo>
                    <a:pt x="1493" y="222"/>
                    <a:pt x="1493" y="222"/>
                    <a:pt x="1493" y="222"/>
                  </a:cubicBezTo>
                  <a:cubicBezTo>
                    <a:pt x="1493" y="210"/>
                    <a:pt x="1483" y="200"/>
                    <a:pt x="1471" y="200"/>
                  </a:cubicBezTo>
                  <a:cubicBezTo>
                    <a:pt x="1197" y="200"/>
                    <a:pt x="1197" y="200"/>
                    <a:pt x="1197" y="200"/>
                  </a:cubicBezTo>
                  <a:cubicBezTo>
                    <a:pt x="1185" y="200"/>
                    <a:pt x="1175" y="210"/>
                    <a:pt x="1175" y="222"/>
                  </a:cubicBezTo>
                  <a:cubicBezTo>
                    <a:pt x="1175" y="496"/>
                    <a:pt x="1175" y="496"/>
                    <a:pt x="1175" y="496"/>
                  </a:cubicBezTo>
                  <a:cubicBezTo>
                    <a:pt x="1175" y="508"/>
                    <a:pt x="1185" y="518"/>
                    <a:pt x="1197" y="518"/>
                  </a:cubicBezTo>
                  <a:cubicBezTo>
                    <a:pt x="1471" y="518"/>
                    <a:pt x="1471" y="518"/>
                    <a:pt x="1471" y="518"/>
                  </a:cubicBezTo>
                  <a:cubicBezTo>
                    <a:pt x="1483" y="518"/>
                    <a:pt x="1493" y="508"/>
                    <a:pt x="1493" y="496"/>
                  </a:cubicBezTo>
                  <a:close/>
                  <a:moveTo>
                    <a:pt x="1117" y="667"/>
                  </a:moveTo>
                  <a:cubicBezTo>
                    <a:pt x="1117" y="431"/>
                    <a:pt x="1117" y="431"/>
                    <a:pt x="1117" y="431"/>
                  </a:cubicBezTo>
                  <a:cubicBezTo>
                    <a:pt x="1117" y="419"/>
                    <a:pt x="1107" y="409"/>
                    <a:pt x="1095" y="409"/>
                  </a:cubicBezTo>
                  <a:cubicBezTo>
                    <a:pt x="860" y="409"/>
                    <a:pt x="860" y="409"/>
                    <a:pt x="860" y="409"/>
                  </a:cubicBezTo>
                  <a:cubicBezTo>
                    <a:pt x="848" y="409"/>
                    <a:pt x="838" y="419"/>
                    <a:pt x="838" y="431"/>
                  </a:cubicBezTo>
                  <a:cubicBezTo>
                    <a:pt x="838" y="667"/>
                    <a:pt x="838" y="667"/>
                    <a:pt x="838" y="667"/>
                  </a:cubicBezTo>
                  <a:cubicBezTo>
                    <a:pt x="838" y="679"/>
                    <a:pt x="848" y="689"/>
                    <a:pt x="860" y="689"/>
                  </a:cubicBezTo>
                  <a:cubicBezTo>
                    <a:pt x="1095" y="689"/>
                    <a:pt x="1095" y="689"/>
                    <a:pt x="1095" y="689"/>
                  </a:cubicBezTo>
                  <a:cubicBezTo>
                    <a:pt x="1107" y="689"/>
                    <a:pt x="1117" y="679"/>
                    <a:pt x="1117" y="667"/>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11">
              <a:extLst>
                <a:ext uri="{FF2B5EF4-FFF2-40B4-BE49-F238E27FC236}">
                  <a16:creationId xmlns:a16="http://schemas.microsoft.com/office/drawing/2014/main" id="{D7EF2C3D-67E5-E733-E223-A8703FE6B62E}"/>
                </a:ext>
              </a:extLst>
            </p:cNvPr>
            <p:cNvSpPr>
              <a:spLocks noEditPoints="1"/>
            </p:cNvSpPr>
            <p:nvPr/>
          </p:nvSpPr>
          <p:spPr bwMode="auto">
            <a:xfrm>
              <a:off x="2574" y="728"/>
              <a:ext cx="1509" cy="2865"/>
            </a:xfrm>
            <a:custGeom>
              <a:avLst/>
              <a:gdLst>
                <a:gd name="T0" fmla="*/ 762 w 806"/>
                <a:gd name="T1" fmla="*/ 695 h 1528"/>
                <a:gd name="T2" fmla="*/ 762 w 806"/>
                <a:gd name="T3" fmla="*/ 1252 h 1528"/>
                <a:gd name="T4" fmla="*/ 44 w 806"/>
                <a:gd name="T5" fmla="*/ 1252 h 1528"/>
                <a:gd name="T6" fmla="*/ 44 w 806"/>
                <a:gd name="T7" fmla="*/ 44 h 1528"/>
                <a:gd name="T8" fmla="*/ 762 w 806"/>
                <a:gd name="T9" fmla="*/ 44 h 1528"/>
                <a:gd name="T10" fmla="*/ 762 w 806"/>
                <a:gd name="T11" fmla="*/ 405 h 1528"/>
                <a:gd name="T12" fmla="*/ 806 w 806"/>
                <a:gd name="T13" fmla="*/ 405 h 1528"/>
                <a:gd name="T14" fmla="*/ 806 w 806"/>
                <a:gd name="T15" fmla="*/ 22 h 1528"/>
                <a:gd name="T16" fmla="*/ 784 w 806"/>
                <a:gd name="T17" fmla="*/ 0 h 1528"/>
                <a:gd name="T18" fmla="*/ 22 w 806"/>
                <a:gd name="T19" fmla="*/ 0 h 1528"/>
                <a:gd name="T20" fmla="*/ 0 w 806"/>
                <a:gd name="T21" fmla="*/ 22 h 1528"/>
                <a:gd name="T22" fmla="*/ 0 w 806"/>
                <a:gd name="T23" fmla="*/ 1252 h 1528"/>
                <a:gd name="T24" fmla="*/ 0 w 806"/>
                <a:gd name="T25" fmla="*/ 1296 h 1528"/>
                <a:gd name="T26" fmla="*/ 0 w 806"/>
                <a:gd name="T27" fmla="*/ 1506 h 1528"/>
                <a:gd name="T28" fmla="*/ 22 w 806"/>
                <a:gd name="T29" fmla="*/ 1528 h 1528"/>
                <a:gd name="T30" fmla="*/ 784 w 806"/>
                <a:gd name="T31" fmla="*/ 1528 h 1528"/>
                <a:gd name="T32" fmla="*/ 806 w 806"/>
                <a:gd name="T33" fmla="*/ 1506 h 1528"/>
                <a:gd name="T34" fmla="*/ 806 w 806"/>
                <a:gd name="T35" fmla="*/ 1296 h 1528"/>
                <a:gd name="T36" fmla="*/ 806 w 806"/>
                <a:gd name="T37" fmla="*/ 1252 h 1528"/>
                <a:gd name="T38" fmla="*/ 806 w 806"/>
                <a:gd name="T39" fmla="*/ 695 h 1528"/>
                <a:gd name="T40" fmla="*/ 762 w 806"/>
                <a:gd name="T41" fmla="*/ 695 h 1528"/>
                <a:gd name="T42" fmla="*/ 762 w 806"/>
                <a:gd name="T43" fmla="*/ 1484 h 1528"/>
                <a:gd name="T44" fmla="*/ 44 w 806"/>
                <a:gd name="T45" fmla="*/ 1484 h 1528"/>
                <a:gd name="T46" fmla="*/ 44 w 806"/>
                <a:gd name="T47" fmla="*/ 1296 h 1528"/>
                <a:gd name="T48" fmla="*/ 762 w 806"/>
                <a:gd name="T49" fmla="*/ 1296 h 1528"/>
                <a:gd name="T50" fmla="*/ 762 w 806"/>
                <a:gd name="T51" fmla="*/ 1484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6" h="1528">
                  <a:moveTo>
                    <a:pt x="762" y="695"/>
                  </a:moveTo>
                  <a:cubicBezTo>
                    <a:pt x="762" y="1252"/>
                    <a:pt x="762" y="1252"/>
                    <a:pt x="762" y="1252"/>
                  </a:cubicBezTo>
                  <a:cubicBezTo>
                    <a:pt x="44" y="1252"/>
                    <a:pt x="44" y="1252"/>
                    <a:pt x="44" y="1252"/>
                  </a:cubicBezTo>
                  <a:cubicBezTo>
                    <a:pt x="44" y="44"/>
                    <a:pt x="44" y="44"/>
                    <a:pt x="44" y="44"/>
                  </a:cubicBezTo>
                  <a:cubicBezTo>
                    <a:pt x="762" y="44"/>
                    <a:pt x="762" y="44"/>
                    <a:pt x="762" y="44"/>
                  </a:cubicBezTo>
                  <a:cubicBezTo>
                    <a:pt x="762" y="405"/>
                    <a:pt x="762" y="405"/>
                    <a:pt x="762" y="405"/>
                  </a:cubicBezTo>
                  <a:cubicBezTo>
                    <a:pt x="806" y="405"/>
                    <a:pt x="806" y="405"/>
                    <a:pt x="806" y="405"/>
                  </a:cubicBezTo>
                  <a:cubicBezTo>
                    <a:pt x="806" y="22"/>
                    <a:pt x="806" y="22"/>
                    <a:pt x="806" y="22"/>
                  </a:cubicBezTo>
                  <a:cubicBezTo>
                    <a:pt x="806" y="10"/>
                    <a:pt x="796" y="0"/>
                    <a:pt x="784" y="0"/>
                  </a:cubicBezTo>
                  <a:cubicBezTo>
                    <a:pt x="22" y="0"/>
                    <a:pt x="22" y="0"/>
                    <a:pt x="22" y="0"/>
                  </a:cubicBezTo>
                  <a:cubicBezTo>
                    <a:pt x="10" y="0"/>
                    <a:pt x="0" y="10"/>
                    <a:pt x="0" y="22"/>
                  </a:cubicBezTo>
                  <a:cubicBezTo>
                    <a:pt x="0" y="1252"/>
                    <a:pt x="0" y="1252"/>
                    <a:pt x="0" y="1252"/>
                  </a:cubicBezTo>
                  <a:cubicBezTo>
                    <a:pt x="0" y="1296"/>
                    <a:pt x="0" y="1296"/>
                    <a:pt x="0" y="1296"/>
                  </a:cubicBezTo>
                  <a:cubicBezTo>
                    <a:pt x="0" y="1506"/>
                    <a:pt x="0" y="1506"/>
                    <a:pt x="0" y="1506"/>
                  </a:cubicBezTo>
                  <a:cubicBezTo>
                    <a:pt x="0" y="1518"/>
                    <a:pt x="10" y="1528"/>
                    <a:pt x="22" y="1528"/>
                  </a:cubicBezTo>
                  <a:cubicBezTo>
                    <a:pt x="784" y="1528"/>
                    <a:pt x="784" y="1528"/>
                    <a:pt x="784" y="1528"/>
                  </a:cubicBezTo>
                  <a:cubicBezTo>
                    <a:pt x="796" y="1528"/>
                    <a:pt x="806" y="1518"/>
                    <a:pt x="806" y="1506"/>
                  </a:cubicBezTo>
                  <a:cubicBezTo>
                    <a:pt x="806" y="1296"/>
                    <a:pt x="806" y="1296"/>
                    <a:pt x="806" y="1296"/>
                  </a:cubicBezTo>
                  <a:cubicBezTo>
                    <a:pt x="806" y="1252"/>
                    <a:pt x="806" y="1252"/>
                    <a:pt x="806" y="1252"/>
                  </a:cubicBezTo>
                  <a:cubicBezTo>
                    <a:pt x="806" y="695"/>
                    <a:pt x="806" y="695"/>
                    <a:pt x="806" y="695"/>
                  </a:cubicBezTo>
                  <a:lnTo>
                    <a:pt x="762" y="695"/>
                  </a:lnTo>
                  <a:close/>
                  <a:moveTo>
                    <a:pt x="762" y="1484"/>
                  </a:moveTo>
                  <a:cubicBezTo>
                    <a:pt x="44" y="1484"/>
                    <a:pt x="44" y="1484"/>
                    <a:pt x="44" y="1484"/>
                  </a:cubicBezTo>
                  <a:cubicBezTo>
                    <a:pt x="44" y="1296"/>
                    <a:pt x="44" y="1296"/>
                    <a:pt x="44" y="1296"/>
                  </a:cubicBezTo>
                  <a:cubicBezTo>
                    <a:pt x="762" y="1296"/>
                    <a:pt x="762" y="1296"/>
                    <a:pt x="762" y="1296"/>
                  </a:cubicBezTo>
                  <a:lnTo>
                    <a:pt x="762" y="1484"/>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76" name="直線矢印コネクタ 33">
            <a:extLst>
              <a:ext uri="{FF2B5EF4-FFF2-40B4-BE49-F238E27FC236}">
                <a16:creationId xmlns:a16="http://schemas.microsoft.com/office/drawing/2014/main" id="{2BD87FA5-998C-2370-118F-4F5370ADB131}"/>
              </a:ext>
            </a:extLst>
          </p:cNvPr>
          <p:cNvCxnSpPr>
            <a:cxnSpLocks/>
          </p:cNvCxnSpPr>
          <p:nvPr/>
        </p:nvCxnSpPr>
        <p:spPr>
          <a:xfrm flipH="1">
            <a:off x="6266780" y="4197037"/>
            <a:ext cx="504000" cy="0"/>
          </a:xfrm>
          <a:prstGeom prst="straightConnector1">
            <a:avLst/>
          </a:prstGeom>
          <a:noFill/>
          <a:ln w="19050" cap="flat" cmpd="sng" algn="ctr">
            <a:solidFill>
              <a:srgbClr val="808080"/>
            </a:solidFill>
            <a:prstDash val="solid"/>
            <a:round/>
            <a:headEnd type="none" w="med" len="med"/>
            <a:tailEnd type="oval" w="med" len="med"/>
          </a:ln>
        </p:spPr>
        <p:style>
          <a:lnRef idx="2">
            <a:schemeClr val="accent1">
              <a:shade val="50000"/>
            </a:schemeClr>
          </a:lnRef>
          <a:fillRef idx="1">
            <a:schemeClr val="accent1"/>
          </a:fillRef>
          <a:effectRef idx="0">
            <a:schemeClr val="accent1"/>
          </a:effectRef>
          <a:fontRef idx="minor">
            <a:schemeClr val="lt1"/>
          </a:fontRef>
        </p:style>
      </p:cxnSp>
      <p:sp>
        <p:nvSpPr>
          <p:cNvPr id="77" name="正方形/長方形 76">
            <a:extLst>
              <a:ext uri="{FF2B5EF4-FFF2-40B4-BE49-F238E27FC236}">
                <a16:creationId xmlns:a16="http://schemas.microsoft.com/office/drawing/2014/main" id="{AF0E6171-9C20-05B0-93E6-029FD1BB4E97}"/>
              </a:ext>
            </a:extLst>
          </p:cNvPr>
          <p:cNvSpPr/>
          <p:nvPr/>
        </p:nvSpPr>
        <p:spPr>
          <a:xfrm>
            <a:off x="6935368" y="1897601"/>
            <a:ext cx="2543378" cy="4548518"/>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spcAft>
                <a:spcPts val="600"/>
              </a:spcAft>
            </a:pPr>
            <a:endParaRPr lang="en-US" altLang="ja-JP" sz="1600" dirty="0">
              <a:solidFill>
                <a:schemeClr val="tx1"/>
              </a:solidFill>
            </a:endParaRPr>
          </a:p>
          <a:p>
            <a:pPr>
              <a:spcAft>
                <a:spcPts val="600"/>
              </a:spcAft>
            </a:pPr>
            <a:endParaRPr lang="en-US" altLang="ja-JP" sz="1600" dirty="0">
              <a:solidFill>
                <a:schemeClr val="tx1"/>
              </a:solidFill>
            </a:endParaRPr>
          </a:p>
          <a:p>
            <a:pPr>
              <a:spcAft>
                <a:spcPts val="600"/>
              </a:spcAft>
            </a:pPr>
            <a:endParaRPr lang="en-US" altLang="ja-JP" sz="1600" dirty="0">
              <a:solidFill>
                <a:schemeClr val="tx1"/>
              </a:solidFill>
            </a:endParaRPr>
          </a:p>
          <a:p>
            <a:pPr>
              <a:spcAft>
                <a:spcPts val="600"/>
              </a:spcAft>
            </a:pPr>
            <a:r>
              <a:rPr lang="ja-JP" altLang="en-US" sz="1600" dirty="0">
                <a:solidFill>
                  <a:schemeClr val="tx1"/>
                </a:solidFill>
              </a:rPr>
              <a:t>脱炭素につながる新たな豊かな暮らしの全体像を</a:t>
            </a:r>
            <a:r>
              <a:rPr lang="ja-JP" altLang="en-US" sz="1600" b="1" dirty="0">
                <a:solidFill>
                  <a:schemeClr val="tx1"/>
                </a:solidFill>
              </a:rPr>
              <a:t>知り</a:t>
            </a:r>
            <a:r>
              <a:rPr lang="ja-JP" altLang="en-US" sz="1600" dirty="0">
                <a:solidFill>
                  <a:schemeClr val="tx1"/>
                </a:solidFill>
              </a:rPr>
              <a:t>、</a:t>
            </a:r>
            <a:r>
              <a:rPr lang="ja-JP" altLang="en-US" sz="1600" b="1" dirty="0">
                <a:solidFill>
                  <a:schemeClr val="tx1"/>
                </a:solidFill>
              </a:rPr>
              <a:t>触れ</a:t>
            </a:r>
            <a:r>
              <a:rPr lang="ja-JP" altLang="en-US" sz="1600" dirty="0">
                <a:solidFill>
                  <a:schemeClr val="tx1"/>
                </a:solidFill>
              </a:rPr>
              <a:t>、</a:t>
            </a:r>
            <a:r>
              <a:rPr lang="ja-JP" altLang="en-US" sz="1600" b="1" dirty="0">
                <a:solidFill>
                  <a:schemeClr val="tx1"/>
                </a:solidFill>
              </a:rPr>
              <a:t>体験・体感</a:t>
            </a:r>
            <a:r>
              <a:rPr lang="ja-JP" altLang="en-US" sz="1600" dirty="0">
                <a:solidFill>
                  <a:schemeClr val="tx1"/>
                </a:solidFill>
              </a:rPr>
              <a:t>してもらう様々な　</a:t>
            </a:r>
            <a:r>
              <a:rPr lang="ja-JP" altLang="en-US" b="1" dirty="0">
                <a:solidFill>
                  <a:schemeClr val="bg2"/>
                </a:solidFill>
              </a:rPr>
              <a:t>機会・場（応援拠点）</a:t>
            </a:r>
            <a:r>
              <a:rPr lang="ja-JP" altLang="en-US" sz="1600" dirty="0">
                <a:solidFill>
                  <a:schemeClr val="tx1"/>
                </a:solidFill>
              </a:rPr>
              <a:t>を</a:t>
            </a:r>
            <a:br>
              <a:rPr lang="en-US" altLang="ja-JP" sz="1600" dirty="0">
                <a:solidFill>
                  <a:schemeClr val="tx1"/>
                </a:solidFill>
              </a:rPr>
            </a:br>
            <a:r>
              <a:rPr lang="ja-JP" altLang="en-US" sz="1600" b="1" dirty="0">
                <a:solidFill>
                  <a:schemeClr val="tx1"/>
                </a:solidFill>
              </a:rPr>
              <a:t>アナログ・デジタル</a:t>
            </a:r>
            <a:r>
              <a:rPr lang="ja-JP" altLang="en-US" sz="1600" dirty="0">
                <a:solidFill>
                  <a:schemeClr val="tx1"/>
                </a:solidFill>
              </a:rPr>
              <a:t>問わず提供</a:t>
            </a:r>
            <a:endParaRPr lang="en-US" altLang="ja-JP" sz="1600" dirty="0">
              <a:solidFill>
                <a:schemeClr val="tx1"/>
              </a:solidFill>
            </a:endParaRPr>
          </a:p>
          <a:p>
            <a:pPr>
              <a:spcAft>
                <a:spcPts val="600"/>
              </a:spcAft>
            </a:pPr>
            <a:endParaRPr lang="en-US" altLang="ja-JP" sz="1600" dirty="0">
              <a:solidFill>
                <a:schemeClr val="tx1"/>
              </a:solidFill>
            </a:endParaRPr>
          </a:p>
          <a:p>
            <a:pPr>
              <a:spcAft>
                <a:spcPts val="600"/>
              </a:spcAft>
            </a:pPr>
            <a:endParaRPr lang="en-US" altLang="ja-JP" sz="1600" dirty="0">
              <a:solidFill>
                <a:schemeClr val="tx1"/>
              </a:solidFill>
            </a:endParaRPr>
          </a:p>
          <a:p>
            <a:pPr>
              <a:spcAft>
                <a:spcPts val="600"/>
              </a:spcAft>
            </a:pPr>
            <a:endParaRPr lang="en-US" altLang="ja-JP" sz="1600" dirty="0">
              <a:solidFill>
                <a:schemeClr val="tx1"/>
              </a:solidFill>
            </a:endParaRPr>
          </a:p>
          <a:p>
            <a:pPr>
              <a:spcAft>
                <a:spcPts val="600"/>
              </a:spcAft>
            </a:pPr>
            <a:endParaRPr lang="en-US" altLang="ja-JP" sz="1600" dirty="0">
              <a:solidFill>
                <a:schemeClr val="tx1"/>
              </a:solidFill>
            </a:endParaRPr>
          </a:p>
          <a:p>
            <a:pPr>
              <a:spcAft>
                <a:spcPts val="600"/>
              </a:spcAft>
            </a:pPr>
            <a:endParaRPr lang="en-US" altLang="ja-JP" sz="1600" dirty="0">
              <a:solidFill>
                <a:schemeClr val="tx1"/>
              </a:solidFill>
            </a:endParaRPr>
          </a:p>
          <a:p>
            <a:pPr>
              <a:spcAft>
                <a:spcPts val="600"/>
              </a:spcAft>
            </a:pPr>
            <a:endParaRPr lang="ja-JP" altLang="en-US" sz="1600" dirty="0">
              <a:solidFill>
                <a:schemeClr val="tx1"/>
              </a:solidFill>
            </a:endParaRPr>
          </a:p>
        </p:txBody>
      </p:sp>
      <p:cxnSp>
        <p:nvCxnSpPr>
          <p:cNvPr id="78" name="直線コネクタ 77">
            <a:extLst>
              <a:ext uri="{FF2B5EF4-FFF2-40B4-BE49-F238E27FC236}">
                <a16:creationId xmlns:a16="http://schemas.microsoft.com/office/drawing/2014/main" id="{B319FF3F-A780-D186-CEB8-FA365157387F}"/>
              </a:ext>
            </a:extLst>
          </p:cNvPr>
          <p:cNvCxnSpPr>
            <a:cxnSpLocks/>
          </p:cNvCxnSpPr>
          <p:nvPr/>
        </p:nvCxnSpPr>
        <p:spPr>
          <a:xfrm>
            <a:off x="6765961" y="2374710"/>
            <a:ext cx="0" cy="3600000"/>
          </a:xfrm>
          <a:prstGeom prst="line">
            <a:avLst/>
          </a:prstGeom>
          <a:ln w="19050" cap="flat" cmpd="sng" algn="ctr">
            <a:solidFill>
              <a:srgbClr val="808080"/>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9" name="bcgIcons_Demand centric growth ">
            <a:extLst>
              <a:ext uri="{FF2B5EF4-FFF2-40B4-BE49-F238E27FC236}">
                <a16:creationId xmlns:a16="http://schemas.microsoft.com/office/drawing/2014/main" id="{F4ECB45E-A30F-6249-6DFE-E230B8399160}"/>
              </a:ext>
            </a:extLst>
          </p:cNvPr>
          <p:cNvGrpSpPr>
            <a:grpSpLocks noChangeAspect="1"/>
          </p:cNvGrpSpPr>
          <p:nvPr/>
        </p:nvGrpSpPr>
        <p:grpSpPr>
          <a:xfrm>
            <a:off x="4259719" y="3085241"/>
            <a:ext cx="902837" cy="901966"/>
            <a:chOff x="6464300" y="2606675"/>
            <a:chExt cx="1646238" cy="1644650"/>
          </a:xfrm>
        </p:grpSpPr>
        <p:sp>
          <p:nvSpPr>
            <p:cNvPr id="80" name="AutoShape 3">
              <a:extLst>
                <a:ext uri="{FF2B5EF4-FFF2-40B4-BE49-F238E27FC236}">
                  <a16:creationId xmlns:a16="http://schemas.microsoft.com/office/drawing/2014/main" id="{1F79869C-F1BD-B7A7-1E07-4F2479AD3E37}"/>
                </a:ext>
              </a:extLst>
            </p:cNvPr>
            <p:cNvSpPr>
              <a:spLocks noChangeAspect="1" noChangeArrowheads="1" noTextEdit="1"/>
            </p:cNvSpPr>
            <p:nvPr/>
          </p:nvSpPr>
          <p:spPr bwMode="auto">
            <a:xfrm>
              <a:off x="6464300"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1" name="Group 15">
              <a:extLst>
                <a:ext uri="{FF2B5EF4-FFF2-40B4-BE49-F238E27FC236}">
                  <a16:creationId xmlns:a16="http://schemas.microsoft.com/office/drawing/2014/main" id="{3964917A-BC8F-F651-1A13-FA82BF3A2E86}"/>
                </a:ext>
              </a:extLst>
            </p:cNvPr>
            <p:cNvGrpSpPr/>
            <p:nvPr/>
          </p:nvGrpSpPr>
          <p:grpSpPr>
            <a:xfrm>
              <a:off x="6729413" y="2881313"/>
              <a:ext cx="1123838" cy="1125538"/>
              <a:chOff x="6729413" y="2881313"/>
              <a:chExt cx="1123838" cy="1125538"/>
            </a:xfrm>
          </p:grpSpPr>
          <p:sp>
            <p:nvSpPr>
              <p:cNvPr id="82" name="Freeform 16">
                <a:extLst>
                  <a:ext uri="{FF2B5EF4-FFF2-40B4-BE49-F238E27FC236}">
                    <a16:creationId xmlns:a16="http://schemas.microsoft.com/office/drawing/2014/main" id="{0124DE4F-A1EC-AD5B-7936-53AC4D872722}"/>
                  </a:ext>
                </a:extLst>
              </p:cNvPr>
              <p:cNvSpPr>
                <a:spLocks/>
              </p:cNvSpPr>
              <p:nvPr/>
            </p:nvSpPr>
            <p:spPr bwMode="auto">
              <a:xfrm>
                <a:off x="7073900" y="2881313"/>
                <a:ext cx="709613" cy="574675"/>
              </a:xfrm>
              <a:custGeom>
                <a:avLst/>
                <a:gdLst>
                  <a:gd name="T0" fmla="*/ 992 w 993"/>
                  <a:gd name="T1" fmla="*/ 8 h 805"/>
                  <a:gd name="T2" fmla="*/ 983 w 993"/>
                  <a:gd name="T3" fmla="*/ 0 h 805"/>
                  <a:gd name="T4" fmla="*/ 486 w 993"/>
                  <a:gd name="T5" fmla="*/ 429 h 805"/>
                  <a:gd name="T6" fmla="*/ 469 w 993"/>
                  <a:gd name="T7" fmla="*/ 433 h 805"/>
                  <a:gd name="T8" fmla="*/ 9 w 993"/>
                  <a:gd name="T9" fmla="*/ 255 h 805"/>
                  <a:gd name="T10" fmla="*/ 0 w 993"/>
                  <a:gd name="T11" fmla="*/ 264 h 805"/>
                  <a:gd name="T12" fmla="*/ 385 w 993"/>
                  <a:gd name="T13" fmla="*/ 649 h 805"/>
                  <a:gd name="T14" fmla="*/ 393 w 993"/>
                  <a:gd name="T15" fmla="*/ 641 h 805"/>
                  <a:gd name="T16" fmla="*/ 284 w 993"/>
                  <a:gd name="T17" fmla="*/ 426 h 805"/>
                  <a:gd name="T18" fmla="*/ 294 w 993"/>
                  <a:gd name="T19" fmla="*/ 412 h 805"/>
                  <a:gd name="T20" fmla="*/ 461 w 993"/>
                  <a:gd name="T21" fmla="*/ 766 h 805"/>
                  <a:gd name="T22" fmla="*/ 461 w 993"/>
                  <a:gd name="T23" fmla="*/ 794 h 805"/>
                  <a:gd name="T24" fmla="*/ 521 w 993"/>
                  <a:gd name="T25" fmla="*/ 797 h 805"/>
                  <a:gd name="T26" fmla="*/ 562 w 993"/>
                  <a:gd name="T27" fmla="*/ 805 h 805"/>
                  <a:gd name="T28" fmla="*/ 554 w 993"/>
                  <a:gd name="T29" fmla="*/ 681 h 805"/>
                  <a:gd name="T30" fmla="*/ 555 w 993"/>
                  <a:gd name="T31" fmla="*/ 524 h 805"/>
                  <a:gd name="T32" fmla="*/ 578 w 993"/>
                  <a:gd name="T33" fmla="*/ 391 h 805"/>
                  <a:gd name="T34" fmla="*/ 679 w 993"/>
                  <a:gd name="T35" fmla="*/ 227 h 805"/>
                  <a:gd name="T36" fmla="*/ 745 w 993"/>
                  <a:gd name="T37" fmla="*/ 180 h 805"/>
                  <a:gd name="T38" fmla="*/ 755 w 993"/>
                  <a:gd name="T39" fmla="*/ 194 h 805"/>
                  <a:gd name="T40" fmla="*/ 623 w 993"/>
                  <a:gd name="T41" fmla="*/ 477 h 805"/>
                  <a:gd name="T42" fmla="*/ 632 w 993"/>
                  <a:gd name="T43" fmla="*/ 487 h 805"/>
                  <a:gd name="T44" fmla="*/ 992 w 993"/>
                  <a:gd name="T45" fmla="*/ 8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93" h="805">
                    <a:moveTo>
                      <a:pt x="992" y="8"/>
                    </a:moveTo>
                    <a:cubicBezTo>
                      <a:pt x="992" y="3"/>
                      <a:pt x="988" y="0"/>
                      <a:pt x="983" y="0"/>
                    </a:cubicBezTo>
                    <a:cubicBezTo>
                      <a:pt x="559" y="3"/>
                      <a:pt x="495" y="259"/>
                      <a:pt x="486" y="429"/>
                    </a:cubicBezTo>
                    <a:cubicBezTo>
                      <a:pt x="486" y="438"/>
                      <a:pt x="474" y="441"/>
                      <a:pt x="469" y="433"/>
                    </a:cubicBezTo>
                    <a:cubicBezTo>
                      <a:pt x="417" y="327"/>
                      <a:pt x="293" y="242"/>
                      <a:pt x="9" y="255"/>
                    </a:cubicBezTo>
                    <a:cubicBezTo>
                      <a:pt x="4" y="255"/>
                      <a:pt x="0" y="259"/>
                      <a:pt x="0" y="264"/>
                    </a:cubicBezTo>
                    <a:cubicBezTo>
                      <a:pt x="3" y="321"/>
                      <a:pt x="35" y="645"/>
                      <a:pt x="385" y="649"/>
                    </a:cubicBezTo>
                    <a:cubicBezTo>
                      <a:pt x="389" y="649"/>
                      <a:pt x="393" y="645"/>
                      <a:pt x="393" y="641"/>
                    </a:cubicBezTo>
                    <a:cubicBezTo>
                      <a:pt x="395" y="614"/>
                      <a:pt x="392" y="523"/>
                      <a:pt x="284" y="426"/>
                    </a:cubicBezTo>
                    <a:cubicBezTo>
                      <a:pt x="276" y="420"/>
                      <a:pt x="284" y="408"/>
                      <a:pt x="294" y="412"/>
                    </a:cubicBezTo>
                    <a:cubicBezTo>
                      <a:pt x="427" y="475"/>
                      <a:pt x="467" y="630"/>
                      <a:pt x="461" y="766"/>
                    </a:cubicBezTo>
                    <a:cubicBezTo>
                      <a:pt x="460" y="772"/>
                      <a:pt x="460" y="782"/>
                      <a:pt x="461" y="794"/>
                    </a:cubicBezTo>
                    <a:cubicBezTo>
                      <a:pt x="521" y="797"/>
                      <a:pt x="521" y="797"/>
                      <a:pt x="521" y="797"/>
                    </a:cubicBezTo>
                    <a:cubicBezTo>
                      <a:pt x="535" y="798"/>
                      <a:pt x="549" y="801"/>
                      <a:pt x="562" y="805"/>
                    </a:cubicBezTo>
                    <a:cubicBezTo>
                      <a:pt x="565" y="763"/>
                      <a:pt x="557" y="710"/>
                      <a:pt x="554" y="681"/>
                    </a:cubicBezTo>
                    <a:cubicBezTo>
                      <a:pt x="551" y="628"/>
                      <a:pt x="552" y="576"/>
                      <a:pt x="555" y="524"/>
                    </a:cubicBezTo>
                    <a:cubicBezTo>
                      <a:pt x="557" y="479"/>
                      <a:pt x="564" y="434"/>
                      <a:pt x="578" y="391"/>
                    </a:cubicBezTo>
                    <a:cubicBezTo>
                      <a:pt x="597" y="329"/>
                      <a:pt x="632" y="272"/>
                      <a:pt x="679" y="227"/>
                    </a:cubicBezTo>
                    <a:cubicBezTo>
                      <a:pt x="699" y="209"/>
                      <a:pt x="721" y="193"/>
                      <a:pt x="745" y="180"/>
                    </a:cubicBezTo>
                    <a:cubicBezTo>
                      <a:pt x="753" y="175"/>
                      <a:pt x="761" y="186"/>
                      <a:pt x="755" y="194"/>
                    </a:cubicBezTo>
                    <a:cubicBezTo>
                      <a:pt x="643" y="322"/>
                      <a:pt x="626" y="444"/>
                      <a:pt x="623" y="477"/>
                    </a:cubicBezTo>
                    <a:cubicBezTo>
                      <a:pt x="623" y="482"/>
                      <a:pt x="627" y="487"/>
                      <a:pt x="632" y="487"/>
                    </a:cubicBezTo>
                    <a:cubicBezTo>
                      <a:pt x="984" y="480"/>
                      <a:pt x="993" y="73"/>
                      <a:pt x="992" y="8"/>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3" name="Freeform 17">
                <a:extLst>
                  <a:ext uri="{FF2B5EF4-FFF2-40B4-BE49-F238E27FC236}">
                    <a16:creationId xmlns:a16="http://schemas.microsoft.com/office/drawing/2014/main" id="{3E1F549D-13BC-90D4-5B93-FB47DE2866EB}"/>
                  </a:ext>
                </a:extLst>
              </p:cNvPr>
              <p:cNvSpPr>
                <a:spLocks/>
              </p:cNvSpPr>
              <p:nvPr/>
            </p:nvSpPr>
            <p:spPr bwMode="auto">
              <a:xfrm>
                <a:off x="6729413" y="3465513"/>
                <a:ext cx="1123838" cy="541338"/>
              </a:xfrm>
              <a:custGeom>
                <a:avLst/>
                <a:gdLst>
                  <a:gd name="connsiteX0" fmla="*/ 409739 w 1123838"/>
                  <a:gd name="connsiteY0" fmla="*/ 31591 h 541338"/>
                  <a:gd name="connsiteX1" fmla="*/ 326138 w 1123838"/>
                  <a:gd name="connsiteY1" fmla="*/ 51601 h 541338"/>
                  <a:gd name="connsiteX2" fmla="*/ 31750 w 1123838"/>
                  <a:gd name="connsiteY2" fmla="*/ 218820 h 541338"/>
                  <a:gd name="connsiteX3" fmla="*/ 31750 w 1123838"/>
                  <a:gd name="connsiteY3" fmla="*/ 503237 h 541338"/>
                  <a:gd name="connsiteX4" fmla="*/ 368296 w 1123838"/>
                  <a:gd name="connsiteY4" fmla="*/ 373177 h 541338"/>
                  <a:gd name="connsiteX5" fmla="*/ 419028 w 1123838"/>
                  <a:gd name="connsiteY5" fmla="*/ 365316 h 541338"/>
                  <a:gd name="connsiteX6" fmla="*/ 568366 w 1123838"/>
                  <a:gd name="connsiteY6" fmla="*/ 376036 h 541338"/>
                  <a:gd name="connsiteX7" fmla="*/ 797017 w 1123838"/>
                  <a:gd name="connsiteY7" fmla="*/ 349595 h 541338"/>
                  <a:gd name="connsiteX8" fmla="*/ 1047818 w 1123838"/>
                  <a:gd name="connsiteY8" fmla="*/ 183090 h 541338"/>
                  <a:gd name="connsiteX9" fmla="*/ 1079972 w 1123838"/>
                  <a:gd name="connsiteY9" fmla="*/ 145930 h 541338"/>
                  <a:gd name="connsiteX10" fmla="*/ 1074971 w 1123838"/>
                  <a:gd name="connsiteY10" fmla="*/ 71610 h 541338"/>
                  <a:gd name="connsiteX11" fmla="*/ 1036386 w 1123838"/>
                  <a:gd name="connsiteY11" fmla="*/ 58032 h 541338"/>
                  <a:gd name="connsiteX12" fmla="*/ 999230 w 1123838"/>
                  <a:gd name="connsiteY12" fmla="*/ 75897 h 541338"/>
                  <a:gd name="connsiteX13" fmla="*/ 951356 w 1123838"/>
                  <a:gd name="connsiteY13" fmla="*/ 129494 h 541338"/>
                  <a:gd name="connsiteX14" fmla="*/ 805591 w 1123838"/>
                  <a:gd name="connsiteY14" fmla="*/ 220964 h 541338"/>
                  <a:gd name="connsiteX15" fmla="*/ 608380 w 1123838"/>
                  <a:gd name="connsiteY15" fmla="*/ 210245 h 541338"/>
                  <a:gd name="connsiteX16" fmla="*/ 553360 w 1123838"/>
                  <a:gd name="connsiteY16" fmla="*/ 188092 h 541338"/>
                  <a:gd name="connsiteX17" fmla="*/ 544071 w 1123838"/>
                  <a:gd name="connsiteY17" fmla="*/ 171656 h 541338"/>
                  <a:gd name="connsiteX18" fmla="*/ 557648 w 1123838"/>
                  <a:gd name="connsiteY18" fmla="*/ 158078 h 541338"/>
                  <a:gd name="connsiteX19" fmla="*/ 715560 w 1123838"/>
                  <a:gd name="connsiteY19" fmla="*/ 142357 h 541338"/>
                  <a:gd name="connsiteX20" fmla="*/ 759146 w 1123838"/>
                  <a:gd name="connsiteY20" fmla="*/ 95192 h 541338"/>
                  <a:gd name="connsiteX21" fmla="*/ 713416 w 1123838"/>
                  <a:gd name="connsiteY21" fmla="*/ 47313 h 541338"/>
                  <a:gd name="connsiteX22" fmla="*/ 409739 w 1123838"/>
                  <a:gd name="connsiteY22" fmla="*/ 31591 h 541338"/>
                  <a:gd name="connsiteX23" fmla="*/ 390213 w 1123838"/>
                  <a:gd name="connsiteY23" fmla="*/ 0 h 541338"/>
                  <a:gd name="connsiteX24" fmla="*/ 393786 w 1123838"/>
                  <a:gd name="connsiteY24" fmla="*/ 0 h 541338"/>
                  <a:gd name="connsiteX25" fmla="*/ 396645 w 1123838"/>
                  <a:gd name="connsiteY25" fmla="*/ 0 h 541338"/>
                  <a:gd name="connsiteX26" fmla="*/ 399504 w 1123838"/>
                  <a:gd name="connsiteY26" fmla="*/ 0 h 541338"/>
                  <a:gd name="connsiteX27" fmla="*/ 403077 w 1123838"/>
                  <a:gd name="connsiteY27" fmla="*/ 0 h 541338"/>
                  <a:gd name="connsiteX28" fmla="*/ 410939 w 1123838"/>
                  <a:gd name="connsiteY28" fmla="*/ 0 h 541338"/>
                  <a:gd name="connsiteX29" fmla="*/ 715390 w 1123838"/>
                  <a:gd name="connsiteY29" fmla="*/ 15712 h 541338"/>
                  <a:gd name="connsiteX30" fmla="*/ 780426 w 1123838"/>
                  <a:gd name="connsiteY30" fmla="*/ 56419 h 541338"/>
                  <a:gd name="connsiteX31" fmla="*/ 782570 w 1123838"/>
                  <a:gd name="connsiteY31" fmla="*/ 60704 h 541338"/>
                  <a:gd name="connsiteX32" fmla="*/ 789002 w 1123838"/>
                  <a:gd name="connsiteY32" fmla="*/ 79273 h 541338"/>
                  <a:gd name="connsiteX33" fmla="*/ 790431 w 1123838"/>
                  <a:gd name="connsiteY33" fmla="*/ 94984 h 541338"/>
                  <a:gd name="connsiteX34" fmla="*/ 789716 w 1123838"/>
                  <a:gd name="connsiteY34" fmla="*/ 100698 h 541338"/>
                  <a:gd name="connsiteX35" fmla="*/ 789716 w 1123838"/>
                  <a:gd name="connsiteY35" fmla="*/ 101412 h 541338"/>
                  <a:gd name="connsiteX36" fmla="*/ 789002 w 1123838"/>
                  <a:gd name="connsiteY36" fmla="*/ 107125 h 541338"/>
                  <a:gd name="connsiteX37" fmla="*/ 763988 w 1123838"/>
                  <a:gd name="connsiteY37" fmla="*/ 154260 h 541338"/>
                  <a:gd name="connsiteX38" fmla="*/ 763273 w 1123838"/>
                  <a:gd name="connsiteY38" fmla="*/ 154260 h 541338"/>
                  <a:gd name="connsiteX39" fmla="*/ 758985 w 1123838"/>
                  <a:gd name="connsiteY39" fmla="*/ 157831 h 541338"/>
                  <a:gd name="connsiteX40" fmla="*/ 754697 w 1123838"/>
                  <a:gd name="connsiteY40" fmla="*/ 160688 h 541338"/>
                  <a:gd name="connsiteX41" fmla="*/ 753983 w 1123838"/>
                  <a:gd name="connsiteY41" fmla="*/ 161402 h 541338"/>
                  <a:gd name="connsiteX42" fmla="*/ 749695 w 1123838"/>
                  <a:gd name="connsiteY42" fmla="*/ 164258 h 541338"/>
                  <a:gd name="connsiteX43" fmla="*/ 748265 w 1123838"/>
                  <a:gd name="connsiteY43" fmla="*/ 164973 h 541338"/>
                  <a:gd name="connsiteX44" fmla="*/ 743263 w 1123838"/>
                  <a:gd name="connsiteY44" fmla="*/ 167115 h 541338"/>
                  <a:gd name="connsiteX45" fmla="*/ 742548 w 1123838"/>
                  <a:gd name="connsiteY45" fmla="*/ 167829 h 541338"/>
                  <a:gd name="connsiteX46" fmla="*/ 738260 w 1123838"/>
                  <a:gd name="connsiteY46" fmla="*/ 169258 h 541338"/>
                  <a:gd name="connsiteX47" fmla="*/ 718964 w 1123838"/>
                  <a:gd name="connsiteY47" fmla="*/ 173543 h 541338"/>
                  <a:gd name="connsiteX48" fmla="*/ 624626 w 1123838"/>
                  <a:gd name="connsiteY48" fmla="*/ 182827 h 541338"/>
                  <a:gd name="connsiteX49" fmla="*/ 743263 w 1123838"/>
                  <a:gd name="connsiteY49" fmla="*/ 199967 h 541338"/>
                  <a:gd name="connsiteX50" fmla="*/ 775423 w 1123838"/>
                  <a:gd name="connsiteY50" fmla="*/ 195682 h 541338"/>
                  <a:gd name="connsiteX51" fmla="*/ 785428 w 1123838"/>
                  <a:gd name="connsiteY51" fmla="*/ 193539 h 541338"/>
                  <a:gd name="connsiteX52" fmla="*/ 786858 w 1123838"/>
                  <a:gd name="connsiteY52" fmla="*/ 192825 h 541338"/>
                  <a:gd name="connsiteX53" fmla="*/ 796863 w 1123838"/>
                  <a:gd name="connsiteY53" fmla="*/ 190683 h 541338"/>
                  <a:gd name="connsiteX54" fmla="*/ 826880 w 1123838"/>
                  <a:gd name="connsiteY54" fmla="*/ 179970 h 541338"/>
                  <a:gd name="connsiteX55" fmla="*/ 909782 w 1123838"/>
                  <a:gd name="connsiteY55" fmla="*/ 127122 h 541338"/>
                  <a:gd name="connsiteX56" fmla="*/ 928363 w 1123838"/>
                  <a:gd name="connsiteY56" fmla="*/ 108553 h 541338"/>
                  <a:gd name="connsiteX57" fmla="*/ 975532 w 1123838"/>
                  <a:gd name="connsiteY57" fmla="*/ 54991 h 541338"/>
                  <a:gd name="connsiteX58" fmla="*/ 978391 w 1123838"/>
                  <a:gd name="connsiteY58" fmla="*/ 51420 h 541338"/>
                  <a:gd name="connsiteX59" fmla="*/ 979105 w 1123838"/>
                  <a:gd name="connsiteY59" fmla="*/ 51420 h 541338"/>
                  <a:gd name="connsiteX60" fmla="*/ 1034135 w 1123838"/>
                  <a:gd name="connsiteY60" fmla="*/ 26424 h 541338"/>
                  <a:gd name="connsiteX61" fmla="*/ 1034850 w 1123838"/>
                  <a:gd name="connsiteY61" fmla="*/ 26424 h 541338"/>
                  <a:gd name="connsiteX62" fmla="*/ 1039138 w 1123838"/>
                  <a:gd name="connsiteY62" fmla="*/ 26424 h 541338"/>
                  <a:gd name="connsiteX63" fmla="*/ 1040567 w 1123838"/>
                  <a:gd name="connsiteY63" fmla="*/ 26424 h 541338"/>
                  <a:gd name="connsiteX64" fmla="*/ 1079875 w 1123838"/>
                  <a:gd name="connsiteY64" fmla="*/ 37137 h 541338"/>
                  <a:gd name="connsiteX65" fmla="*/ 1083448 w 1123838"/>
                  <a:gd name="connsiteY65" fmla="*/ 39279 h 541338"/>
                  <a:gd name="connsiteX66" fmla="*/ 1086307 w 1123838"/>
                  <a:gd name="connsiteY66" fmla="*/ 40708 h 541338"/>
                  <a:gd name="connsiteX67" fmla="*/ 1087021 w 1123838"/>
                  <a:gd name="connsiteY67" fmla="*/ 41422 h 541338"/>
                  <a:gd name="connsiteX68" fmla="*/ 1089880 w 1123838"/>
                  <a:gd name="connsiteY68" fmla="*/ 43564 h 541338"/>
                  <a:gd name="connsiteX69" fmla="*/ 1090595 w 1123838"/>
                  <a:gd name="connsiteY69" fmla="*/ 44278 h 541338"/>
                  <a:gd name="connsiteX70" fmla="*/ 1092739 w 1123838"/>
                  <a:gd name="connsiteY70" fmla="*/ 45707 h 541338"/>
                  <a:gd name="connsiteX71" fmla="*/ 1095597 w 1123838"/>
                  <a:gd name="connsiteY71" fmla="*/ 47849 h 541338"/>
                  <a:gd name="connsiteX72" fmla="*/ 1095597 w 1123838"/>
                  <a:gd name="connsiteY72" fmla="*/ 48563 h 541338"/>
                  <a:gd name="connsiteX73" fmla="*/ 1103459 w 1123838"/>
                  <a:gd name="connsiteY73" fmla="*/ 165687 h 541338"/>
                  <a:gd name="connsiteX74" fmla="*/ 1072013 w 1123838"/>
                  <a:gd name="connsiteY74" fmla="*/ 203538 h 541338"/>
                  <a:gd name="connsiteX75" fmla="*/ 966241 w 1123838"/>
                  <a:gd name="connsiteY75" fmla="*/ 299950 h 541338"/>
                  <a:gd name="connsiteX76" fmla="*/ 956950 w 1123838"/>
                  <a:gd name="connsiteY76" fmla="*/ 306377 h 541338"/>
                  <a:gd name="connsiteX77" fmla="*/ 948374 w 1123838"/>
                  <a:gd name="connsiteY77" fmla="*/ 312091 h 541338"/>
                  <a:gd name="connsiteX78" fmla="*/ 806154 w 1123838"/>
                  <a:gd name="connsiteY78" fmla="*/ 379222 h 541338"/>
                  <a:gd name="connsiteX79" fmla="*/ 792575 w 1123838"/>
                  <a:gd name="connsiteY79" fmla="*/ 383507 h 541338"/>
                  <a:gd name="connsiteX80" fmla="*/ 788287 w 1123838"/>
                  <a:gd name="connsiteY80" fmla="*/ 384222 h 541338"/>
                  <a:gd name="connsiteX81" fmla="*/ 779711 w 1123838"/>
                  <a:gd name="connsiteY81" fmla="*/ 387078 h 541338"/>
                  <a:gd name="connsiteX82" fmla="*/ 773994 w 1123838"/>
                  <a:gd name="connsiteY82" fmla="*/ 388507 h 541338"/>
                  <a:gd name="connsiteX83" fmla="*/ 766132 w 1123838"/>
                  <a:gd name="connsiteY83" fmla="*/ 389935 h 541338"/>
                  <a:gd name="connsiteX84" fmla="*/ 759700 w 1123838"/>
                  <a:gd name="connsiteY84" fmla="*/ 392077 h 541338"/>
                  <a:gd name="connsiteX85" fmla="*/ 753983 w 1123838"/>
                  <a:gd name="connsiteY85" fmla="*/ 392792 h 541338"/>
                  <a:gd name="connsiteX86" fmla="*/ 724681 w 1123838"/>
                  <a:gd name="connsiteY86" fmla="*/ 399219 h 541338"/>
                  <a:gd name="connsiteX87" fmla="*/ 721822 w 1123838"/>
                  <a:gd name="connsiteY87" fmla="*/ 399219 h 541338"/>
                  <a:gd name="connsiteX88" fmla="*/ 711102 w 1123838"/>
                  <a:gd name="connsiteY88" fmla="*/ 401362 h 541338"/>
                  <a:gd name="connsiteX89" fmla="*/ 709673 w 1123838"/>
                  <a:gd name="connsiteY89" fmla="*/ 401362 h 541338"/>
                  <a:gd name="connsiteX90" fmla="*/ 650355 w 1123838"/>
                  <a:gd name="connsiteY90" fmla="*/ 407789 h 541338"/>
                  <a:gd name="connsiteX91" fmla="*/ 648211 w 1123838"/>
                  <a:gd name="connsiteY91" fmla="*/ 407789 h 541338"/>
                  <a:gd name="connsiteX92" fmla="*/ 637491 w 1123838"/>
                  <a:gd name="connsiteY92" fmla="*/ 408503 h 541338"/>
                  <a:gd name="connsiteX93" fmla="*/ 635347 w 1123838"/>
                  <a:gd name="connsiteY93" fmla="*/ 408503 h 541338"/>
                  <a:gd name="connsiteX94" fmla="*/ 621053 w 1123838"/>
                  <a:gd name="connsiteY94" fmla="*/ 408503 h 541338"/>
                  <a:gd name="connsiteX95" fmla="*/ 620338 w 1123838"/>
                  <a:gd name="connsiteY95" fmla="*/ 408503 h 541338"/>
                  <a:gd name="connsiteX96" fmla="*/ 612477 w 1123838"/>
                  <a:gd name="connsiteY96" fmla="*/ 408503 h 541338"/>
                  <a:gd name="connsiteX97" fmla="*/ 606045 w 1123838"/>
                  <a:gd name="connsiteY97" fmla="*/ 408503 h 541338"/>
                  <a:gd name="connsiteX98" fmla="*/ 598898 w 1123838"/>
                  <a:gd name="connsiteY98" fmla="*/ 408503 h 541338"/>
                  <a:gd name="connsiteX99" fmla="*/ 592466 w 1123838"/>
                  <a:gd name="connsiteY99" fmla="*/ 408503 h 541338"/>
                  <a:gd name="connsiteX100" fmla="*/ 584605 w 1123838"/>
                  <a:gd name="connsiteY100" fmla="*/ 407789 h 541338"/>
                  <a:gd name="connsiteX101" fmla="*/ 578887 w 1123838"/>
                  <a:gd name="connsiteY101" fmla="*/ 407789 h 541338"/>
                  <a:gd name="connsiteX102" fmla="*/ 566738 w 1123838"/>
                  <a:gd name="connsiteY102" fmla="*/ 407075 h 541338"/>
                  <a:gd name="connsiteX103" fmla="*/ 566023 w 1123838"/>
                  <a:gd name="connsiteY103" fmla="*/ 407075 h 541338"/>
                  <a:gd name="connsiteX104" fmla="*/ 485265 w 1123838"/>
                  <a:gd name="connsiteY104" fmla="*/ 401362 h 541338"/>
                  <a:gd name="connsiteX105" fmla="*/ 416656 w 1123838"/>
                  <a:gd name="connsiteY105" fmla="*/ 396362 h 541338"/>
                  <a:gd name="connsiteX106" fmla="*/ 410939 w 1123838"/>
                  <a:gd name="connsiteY106" fmla="*/ 396362 h 541338"/>
                  <a:gd name="connsiteX107" fmla="*/ 407365 w 1123838"/>
                  <a:gd name="connsiteY107" fmla="*/ 396362 h 541338"/>
                  <a:gd name="connsiteX108" fmla="*/ 393072 w 1123838"/>
                  <a:gd name="connsiteY108" fmla="*/ 397791 h 541338"/>
                  <a:gd name="connsiteX109" fmla="*/ 388784 w 1123838"/>
                  <a:gd name="connsiteY109" fmla="*/ 398505 h 541338"/>
                  <a:gd name="connsiteX110" fmla="*/ 388784 w 1123838"/>
                  <a:gd name="connsiteY110" fmla="*/ 399219 h 541338"/>
                  <a:gd name="connsiteX111" fmla="*/ 384496 w 1123838"/>
                  <a:gd name="connsiteY111" fmla="*/ 399933 h 541338"/>
                  <a:gd name="connsiteX112" fmla="*/ 383781 w 1123838"/>
                  <a:gd name="connsiteY112" fmla="*/ 400647 h 541338"/>
                  <a:gd name="connsiteX113" fmla="*/ 379493 w 1123838"/>
                  <a:gd name="connsiteY113" fmla="*/ 402076 h 541338"/>
                  <a:gd name="connsiteX114" fmla="*/ 21441 w 1123838"/>
                  <a:gd name="connsiteY114" fmla="*/ 540624 h 541338"/>
                  <a:gd name="connsiteX115" fmla="*/ 15723 w 1123838"/>
                  <a:gd name="connsiteY115" fmla="*/ 541338 h 541338"/>
                  <a:gd name="connsiteX116" fmla="*/ 7147 w 1123838"/>
                  <a:gd name="connsiteY116" fmla="*/ 538481 h 541338"/>
                  <a:gd name="connsiteX117" fmla="*/ 0 w 1123838"/>
                  <a:gd name="connsiteY117" fmla="*/ 525626 h 541338"/>
                  <a:gd name="connsiteX118" fmla="*/ 0 w 1123838"/>
                  <a:gd name="connsiteY118" fmla="*/ 209251 h 541338"/>
                  <a:gd name="connsiteX119" fmla="*/ 7862 w 1123838"/>
                  <a:gd name="connsiteY119" fmla="*/ 195682 h 541338"/>
                  <a:gd name="connsiteX120" fmla="*/ 310169 w 1123838"/>
                  <a:gd name="connsiteY120" fmla="*/ 24282 h 541338"/>
                  <a:gd name="connsiteX121" fmla="*/ 315887 w 1123838"/>
                  <a:gd name="connsiteY121" fmla="*/ 21425 h 541338"/>
                  <a:gd name="connsiteX122" fmla="*/ 318031 w 1123838"/>
                  <a:gd name="connsiteY122" fmla="*/ 19997 h 541338"/>
                  <a:gd name="connsiteX123" fmla="*/ 320889 w 1123838"/>
                  <a:gd name="connsiteY123" fmla="*/ 18568 h 541338"/>
                  <a:gd name="connsiteX124" fmla="*/ 324463 w 1123838"/>
                  <a:gd name="connsiteY124" fmla="*/ 17140 h 541338"/>
                  <a:gd name="connsiteX125" fmla="*/ 326607 w 1123838"/>
                  <a:gd name="connsiteY125" fmla="*/ 15712 h 541338"/>
                  <a:gd name="connsiteX126" fmla="*/ 330180 w 1123838"/>
                  <a:gd name="connsiteY126" fmla="*/ 14283 h 541338"/>
                  <a:gd name="connsiteX127" fmla="*/ 332324 w 1123838"/>
                  <a:gd name="connsiteY127" fmla="*/ 13569 h 541338"/>
                  <a:gd name="connsiteX128" fmla="*/ 336612 w 1123838"/>
                  <a:gd name="connsiteY128" fmla="*/ 12141 h 541338"/>
                  <a:gd name="connsiteX129" fmla="*/ 338042 w 1123838"/>
                  <a:gd name="connsiteY129" fmla="*/ 11427 h 541338"/>
                  <a:gd name="connsiteX130" fmla="*/ 342330 w 1123838"/>
                  <a:gd name="connsiteY130" fmla="*/ 9998 h 541338"/>
                  <a:gd name="connsiteX131" fmla="*/ 343044 w 1123838"/>
                  <a:gd name="connsiteY131" fmla="*/ 9284 h 541338"/>
                  <a:gd name="connsiteX132" fmla="*/ 348047 w 1123838"/>
                  <a:gd name="connsiteY132" fmla="*/ 7856 h 541338"/>
                  <a:gd name="connsiteX133" fmla="*/ 348762 w 1123838"/>
                  <a:gd name="connsiteY133" fmla="*/ 7856 h 541338"/>
                  <a:gd name="connsiteX134" fmla="*/ 382352 w 1123838"/>
                  <a:gd name="connsiteY134" fmla="*/ 714 h 541338"/>
                  <a:gd name="connsiteX135" fmla="*/ 383781 w 1123838"/>
                  <a:gd name="connsiteY135" fmla="*/ 714 h 541338"/>
                  <a:gd name="connsiteX136" fmla="*/ 387354 w 1123838"/>
                  <a:gd name="connsiteY136" fmla="*/ 714 h 541338"/>
                  <a:gd name="connsiteX137" fmla="*/ 390213 w 1123838"/>
                  <a:gd name="connsiteY137" fmla="*/ 0 h 54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123838" h="541338">
                    <a:moveTo>
                      <a:pt x="409739" y="31591"/>
                    </a:moveTo>
                    <a:cubicBezTo>
                      <a:pt x="380443" y="30162"/>
                      <a:pt x="351147" y="37308"/>
                      <a:pt x="326138" y="51601"/>
                    </a:cubicBezTo>
                    <a:cubicBezTo>
                      <a:pt x="326138" y="51601"/>
                      <a:pt x="326138" y="51601"/>
                      <a:pt x="31750" y="218820"/>
                    </a:cubicBezTo>
                    <a:cubicBezTo>
                      <a:pt x="31750" y="218820"/>
                      <a:pt x="31750" y="218820"/>
                      <a:pt x="31750" y="503237"/>
                    </a:cubicBezTo>
                    <a:cubicBezTo>
                      <a:pt x="31750" y="503237"/>
                      <a:pt x="31750" y="503237"/>
                      <a:pt x="368296" y="373177"/>
                    </a:cubicBezTo>
                    <a:cubicBezTo>
                      <a:pt x="384730" y="366746"/>
                      <a:pt x="401879" y="363887"/>
                      <a:pt x="419028" y="365316"/>
                    </a:cubicBezTo>
                    <a:cubicBezTo>
                      <a:pt x="419028" y="365316"/>
                      <a:pt x="419028" y="365316"/>
                      <a:pt x="568366" y="376036"/>
                    </a:cubicBezTo>
                    <a:cubicBezTo>
                      <a:pt x="645535" y="381753"/>
                      <a:pt x="722705" y="372463"/>
                      <a:pt x="797017" y="349595"/>
                    </a:cubicBezTo>
                    <a:cubicBezTo>
                      <a:pt x="894908" y="318867"/>
                      <a:pt x="981367" y="261697"/>
                      <a:pt x="1047818" y="183090"/>
                    </a:cubicBezTo>
                    <a:cubicBezTo>
                      <a:pt x="1047818" y="183090"/>
                      <a:pt x="1047818" y="183090"/>
                      <a:pt x="1079972" y="145930"/>
                    </a:cubicBezTo>
                    <a:cubicBezTo>
                      <a:pt x="1098550" y="123777"/>
                      <a:pt x="1096407" y="90904"/>
                      <a:pt x="1074971" y="71610"/>
                    </a:cubicBezTo>
                    <a:cubicBezTo>
                      <a:pt x="1064253" y="62320"/>
                      <a:pt x="1050676" y="57317"/>
                      <a:pt x="1036386" y="58032"/>
                    </a:cubicBezTo>
                    <a:cubicBezTo>
                      <a:pt x="1022095" y="58747"/>
                      <a:pt x="1008519" y="65178"/>
                      <a:pt x="999230" y="75897"/>
                    </a:cubicBezTo>
                    <a:cubicBezTo>
                      <a:pt x="999230" y="75897"/>
                      <a:pt x="999230" y="75897"/>
                      <a:pt x="951356" y="129494"/>
                    </a:cubicBezTo>
                    <a:cubicBezTo>
                      <a:pt x="912771" y="173800"/>
                      <a:pt x="862039" y="205243"/>
                      <a:pt x="805591" y="220964"/>
                    </a:cubicBezTo>
                    <a:cubicBezTo>
                      <a:pt x="740568" y="239544"/>
                      <a:pt x="670544" y="235257"/>
                      <a:pt x="608380" y="210245"/>
                    </a:cubicBezTo>
                    <a:cubicBezTo>
                      <a:pt x="608380" y="210245"/>
                      <a:pt x="608380" y="210245"/>
                      <a:pt x="553360" y="188092"/>
                    </a:cubicBezTo>
                    <a:cubicBezTo>
                      <a:pt x="546930" y="185234"/>
                      <a:pt x="542642" y="178802"/>
                      <a:pt x="544071" y="171656"/>
                    </a:cubicBezTo>
                    <a:cubicBezTo>
                      <a:pt x="544786" y="164510"/>
                      <a:pt x="550502" y="158793"/>
                      <a:pt x="557648" y="158078"/>
                    </a:cubicBezTo>
                    <a:cubicBezTo>
                      <a:pt x="557648" y="158078"/>
                      <a:pt x="557648" y="158078"/>
                      <a:pt x="715560" y="142357"/>
                    </a:cubicBezTo>
                    <a:cubicBezTo>
                      <a:pt x="740568" y="140213"/>
                      <a:pt x="759146" y="119489"/>
                      <a:pt x="759146" y="95192"/>
                    </a:cubicBezTo>
                    <a:cubicBezTo>
                      <a:pt x="759146" y="69466"/>
                      <a:pt x="739139" y="48742"/>
                      <a:pt x="713416" y="47313"/>
                    </a:cubicBezTo>
                    <a:cubicBezTo>
                      <a:pt x="713416" y="47313"/>
                      <a:pt x="713416" y="47313"/>
                      <a:pt x="409739" y="31591"/>
                    </a:cubicBezTo>
                    <a:close/>
                    <a:moveTo>
                      <a:pt x="390213" y="0"/>
                    </a:moveTo>
                    <a:cubicBezTo>
                      <a:pt x="391642" y="0"/>
                      <a:pt x="392357" y="0"/>
                      <a:pt x="393786" y="0"/>
                    </a:cubicBezTo>
                    <a:cubicBezTo>
                      <a:pt x="394501" y="0"/>
                      <a:pt x="395930" y="0"/>
                      <a:pt x="396645" y="0"/>
                    </a:cubicBezTo>
                    <a:cubicBezTo>
                      <a:pt x="398074" y="0"/>
                      <a:pt x="398789" y="0"/>
                      <a:pt x="399504" y="0"/>
                    </a:cubicBezTo>
                    <a:cubicBezTo>
                      <a:pt x="400933" y="0"/>
                      <a:pt x="401648" y="0"/>
                      <a:pt x="403077" y="0"/>
                    </a:cubicBezTo>
                    <a:cubicBezTo>
                      <a:pt x="405221" y="0"/>
                      <a:pt x="408080" y="0"/>
                      <a:pt x="410939" y="0"/>
                    </a:cubicBezTo>
                    <a:cubicBezTo>
                      <a:pt x="410939" y="0"/>
                      <a:pt x="410939" y="0"/>
                      <a:pt x="715390" y="15712"/>
                    </a:cubicBezTo>
                    <a:cubicBezTo>
                      <a:pt x="743263" y="17140"/>
                      <a:pt x="766847" y="33566"/>
                      <a:pt x="780426" y="56419"/>
                    </a:cubicBezTo>
                    <a:cubicBezTo>
                      <a:pt x="781140" y="57848"/>
                      <a:pt x="781855" y="59276"/>
                      <a:pt x="782570" y="60704"/>
                    </a:cubicBezTo>
                    <a:cubicBezTo>
                      <a:pt x="785428" y="66418"/>
                      <a:pt x="787572" y="72845"/>
                      <a:pt x="789002" y="79273"/>
                    </a:cubicBezTo>
                    <a:cubicBezTo>
                      <a:pt x="789716" y="84272"/>
                      <a:pt x="790431" y="89271"/>
                      <a:pt x="790431" y="94984"/>
                    </a:cubicBezTo>
                    <a:cubicBezTo>
                      <a:pt x="790431" y="97127"/>
                      <a:pt x="790431" y="98555"/>
                      <a:pt x="789716" y="100698"/>
                    </a:cubicBezTo>
                    <a:cubicBezTo>
                      <a:pt x="789716" y="100698"/>
                      <a:pt x="789716" y="101412"/>
                      <a:pt x="789716" y="101412"/>
                    </a:cubicBezTo>
                    <a:cubicBezTo>
                      <a:pt x="789716" y="103554"/>
                      <a:pt x="789716" y="104983"/>
                      <a:pt x="789002" y="107125"/>
                    </a:cubicBezTo>
                    <a:cubicBezTo>
                      <a:pt x="786143" y="125693"/>
                      <a:pt x="776852" y="142119"/>
                      <a:pt x="763988" y="154260"/>
                    </a:cubicBezTo>
                    <a:cubicBezTo>
                      <a:pt x="763988" y="154260"/>
                      <a:pt x="763273" y="154260"/>
                      <a:pt x="763273" y="154260"/>
                    </a:cubicBezTo>
                    <a:cubicBezTo>
                      <a:pt x="761844" y="155688"/>
                      <a:pt x="760415" y="156403"/>
                      <a:pt x="758985" y="157831"/>
                    </a:cubicBezTo>
                    <a:cubicBezTo>
                      <a:pt x="757556" y="159259"/>
                      <a:pt x="756127" y="159973"/>
                      <a:pt x="754697" y="160688"/>
                    </a:cubicBezTo>
                    <a:cubicBezTo>
                      <a:pt x="753983" y="161402"/>
                      <a:pt x="753983" y="161402"/>
                      <a:pt x="753983" y="161402"/>
                    </a:cubicBezTo>
                    <a:cubicBezTo>
                      <a:pt x="752553" y="162116"/>
                      <a:pt x="751124" y="163544"/>
                      <a:pt x="749695" y="164258"/>
                    </a:cubicBezTo>
                    <a:cubicBezTo>
                      <a:pt x="748980" y="164258"/>
                      <a:pt x="748265" y="164258"/>
                      <a:pt x="748265" y="164973"/>
                    </a:cubicBezTo>
                    <a:cubicBezTo>
                      <a:pt x="746836" y="165687"/>
                      <a:pt x="745407" y="166401"/>
                      <a:pt x="743263" y="167115"/>
                    </a:cubicBezTo>
                    <a:cubicBezTo>
                      <a:pt x="743263" y="167115"/>
                      <a:pt x="742548" y="167115"/>
                      <a:pt x="742548" y="167829"/>
                    </a:cubicBezTo>
                    <a:cubicBezTo>
                      <a:pt x="741118" y="167829"/>
                      <a:pt x="739689" y="168543"/>
                      <a:pt x="738260" y="169258"/>
                    </a:cubicBezTo>
                    <a:cubicBezTo>
                      <a:pt x="731828" y="171400"/>
                      <a:pt x="725396" y="172828"/>
                      <a:pt x="718964" y="173543"/>
                    </a:cubicBezTo>
                    <a:cubicBezTo>
                      <a:pt x="718964" y="173543"/>
                      <a:pt x="718964" y="173543"/>
                      <a:pt x="624626" y="182827"/>
                    </a:cubicBezTo>
                    <a:cubicBezTo>
                      <a:pt x="662504" y="197110"/>
                      <a:pt x="703241" y="202823"/>
                      <a:pt x="743263" y="199967"/>
                    </a:cubicBezTo>
                    <a:cubicBezTo>
                      <a:pt x="753983" y="199253"/>
                      <a:pt x="764703" y="197824"/>
                      <a:pt x="775423" y="195682"/>
                    </a:cubicBezTo>
                    <a:cubicBezTo>
                      <a:pt x="778996" y="194968"/>
                      <a:pt x="781855" y="194253"/>
                      <a:pt x="785428" y="193539"/>
                    </a:cubicBezTo>
                    <a:cubicBezTo>
                      <a:pt x="786143" y="193539"/>
                      <a:pt x="786143" y="193539"/>
                      <a:pt x="786858" y="192825"/>
                    </a:cubicBezTo>
                    <a:cubicBezTo>
                      <a:pt x="790431" y="192111"/>
                      <a:pt x="793290" y="191397"/>
                      <a:pt x="796863" y="190683"/>
                    </a:cubicBezTo>
                    <a:cubicBezTo>
                      <a:pt x="806869" y="187826"/>
                      <a:pt x="816874" y="184255"/>
                      <a:pt x="826880" y="179970"/>
                    </a:cubicBezTo>
                    <a:cubicBezTo>
                      <a:pt x="857611" y="167829"/>
                      <a:pt x="885483" y="149975"/>
                      <a:pt x="909782" y="127122"/>
                    </a:cubicBezTo>
                    <a:cubicBezTo>
                      <a:pt x="916214" y="121408"/>
                      <a:pt x="921931" y="114981"/>
                      <a:pt x="928363" y="108553"/>
                    </a:cubicBezTo>
                    <a:cubicBezTo>
                      <a:pt x="928363" y="108553"/>
                      <a:pt x="928363" y="108553"/>
                      <a:pt x="975532" y="54991"/>
                    </a:cubicBezTo>
                    <a:cubicBezTo>
                      <a:pt x="976961" y="53563"/>
                      <a:pt x="977676" y="52848"/>
                      <a:pt x="978391" y="51420"/>
                    </a:cubicBezTo>
                    <a:cubicBezTo>
                      <a:pt x="979105" y="51420"/>
                      <a:pt x="979105" y="51420"/>
                      <a:pt x="979105" y="51420"/>
                    </a:cubicBezTo>
                    <a:cubicBezTo>
                      <a:pt x="994114" y="36423"/>
                      <a:pt x="1013410" y="27853"/>
                      <a:pt x="1034135" y="26424"/>
                    </a:cubicBezTo>
                    <a:cubicBezTo>
                      <a:pt x="1034850" y="26424"/>
                      <a:pt x="1034850" y="26424"/>
                      <a:pt x="1034850" y="26424"/>
                    </a:cubicBezTo>
                    <a:cubicBezTo>
                      <a:pt x="1036279" y="26424"/>
                      <a:pt x="1037709" y="26424"/>
                      <a:pt x="1039138" y="26424"/>
                    </a:cubicBezTo>
                    <a:cubicBezTo>
                      <a:pt x="1039138" y="26424"/>
                      <a:pt x="1039853" y="26424"/>
                      <a:pt x="1040567" y="26424"/>
                    </a:cubicBezTo>
                    <a:cubicBezTo>
                      <a:pt x="1054146" y="26424"/>
                      <a:pt x="1067725" y="30709"/>
                      <a:pt x="1079875" y="37137"/>
                    </a:cubicBezTo>
                    <a:cubicBezTo>
                      <a:pt x="1081304" y="37851"/>
                      <a:pt x="1082019" y="38565"/>
                      <a:pt x="1083448" y="39279"/>
                    </a:cubicBezTo>
                    <a:cubicBezTo>
                      <a:pt x="1084877" y="39993"/>
                      <a:pt x="1085592" y="40708"/>
                      <a:pt x="1086307" y="40708"/>
                    </a:cubicBezTo>
                    <a:cubicBezTo>
                      <a:pt x="1087021" y="41422"/>
                      <a:pt x="1087021" y="41422"/>
                      <a:pt x="1087021" y="41422"/>
                    </a:cubicBezTo>
                    <a:cubicBezTo>
                      <a:pt x="1087736" y="42136"/>
                      <a:pt x="1089165" y="42850"/>
                      <a:pt x="1089880" y="43564"/>
                    </a:cubicBezTo>
                    <a:cubicBezTo>
                      <a:pt x="1089880" y="43564"/>
                      <a:pt x="1090595" y="44278"/>
                      <a:pt x="1090595" y="44278"/>
                    </a:cubicBezTo>
                    <a:cubicBezTo>
                      <a:pt x="1091309" y="44993"/>
                      <a:pt x="1092024" y="44993"/>
                      <a:pt x="1092739" y="45707"/>
                    </a:cubicBezTo>
                    <a:cubicBezTo>
                      <a:pt x="1093453" y="46421"/>
                      <a:pt x="1094168" y="47135"/>
                      <a:pt x="1095597" y="47849"/>
                    </a:cubicBezTo>
                    <a:cubicBezTo>
                      <a:pt x="1095597" y="47849"/>
                      <a:pt x="1095597" y="48563"/>
                      <a:pt x="1095597" y="48563"/>
                    </a:cubicBezTo>
                    <a:cubicBezTo>
                      <a:pt x="1129902" y="79273"/>
                      <a:pt x="1133475" y="130693"/>
                      <a:pt x="1103459" y="165687"/>
                    </a:cubicBezTo>
                    <a:cubicBezTo>
                      <a:pt x="1103459" y="165687"/>
                      <a:pt x="1103459" y="165687"/>
                      <a:pt x="1072013" y="203538"/>
                    </a:cubicBezTo>
                    <a:cubicBezTo>
                      <a:pt x="1040567" y="239960"/>
                      <a:pt x="1004834" y="272812"/>
                      <a:pt x="966241" y="299950"/>
                    </a:cubicBezTo>
                    <a:cubicBezTo>
                      <a:pt x="963383" y="302092"/>
                      <a:pt x="959809" y="304235"/>
                      <a:pt x="956950" y="306377"/>
                    </a:cubicBezTo>
                    <a:cubicBezTo>
                      <a:pt x="954092" y="308520"/>
                      <a:pt x="951233" y="310662"/>
                      <a:pt x="948374" y="312091"/>
                    </a:cubicBezTo>
                    <a:cubicBezTo>
                      <a:pt x="904779" y="340657"/>
                      <a:pt x="856896" y="363511"/>
                      <a:pt x="806154" y="379222"/>
                    </a:cubicBezTo>
                    <a:cubicBezTo>
                      <a:pt x="801866" y="380651"/>
                      <a:pt x="797578" y="382079"/>
                      <a:pt x="792575" y="383507"/>
                    </a:cubicBezTo>
                    <a:cubicBezTo>
                      <a:pt x="791146" y="383507"/>
                      <a:pt x="789716" y="384222"/>
                      <a:pt x="788287" y="384222"/>
                    </a:cubicBezTo>
                    <a:cubicBezTo>
                      <a:pt x="785428" y="384936"/>
                      <a:pt x="782570" y="386364"/>
                      <a:pt x="779711" y="387078"/>
                    </a:cubicBezTo>
                    <a:cubicBezTo>
                      <a:pt x="777567" y="387078"/>
                      <a:pt x="775423" y="387792"/>
                      <a:pt x="773994" y="388507"/>
                    </a:cubicBezTo>
                    <a:cubicBezTo>
                      <a:pt x="771135" y="389221"/>
                      <a:pt x="768991" y="389221"/>
                      <a:pt x="766132" y="389935"/>
                    </a:cubicBezTo>
                    <a:cubicBezTo>
                      <a:pt x="763988" y="390649"/>
                      <a:pt x="761844" y="391363"/>
                      <a:pt x="759700" y="392077"/>
                    </a:cubicBezTo>
                    <a:cubicBezTo>
                      <a:pt x="757556" y="392077"/>
                      <a:pt x="756127" y="392792"/>
                      <a:pt x="753983" y="392792"/>
                    </a:cubicBezTo>
                    <a:cubicBezTo>
                      <a:pt x="743977" y="394934"/>
                      <a:pt x="733972" y="397077"/>
                      <a:pt x="724681" y="399219"/>
                    </a:cubicBezTo>
                    <a:cubicBezTo>
                      <a:pt x="723252" y="399219"/>
                      <a:pt x="722537" y="399219"/>
                      <a:pt x="721822" y="399219"/>
                    </a:cubicBezTo>
                    <a:cubicBezTo>
                      <a:pt x="718249" y="399933"/>
                      <a:pt x="714676" y="400647"/>
                      <a:pt x="711102" y="401362"/>
                    </a:cubicBezTo>
                    <a:cubicBezTo>
                      <a:pt x="710387" y="401362"/>
                      <a:pt x="710387" y="401362"/>
                      <a:pt x="709673" y="401362"/>
                    </a:cubicBezTo>
                    <a:cubicBezTo>
                      <a:pt x="689662" y="404218"/>
                      <a:pt x="670366" y="406361"/>
                      <a:pt x="650355" y="407789"/>
                    </a:cubicBezTo>
                    <a:cubicBezTo>
                      <a:pt x="649640" y="407789"/>
                      <a:pt x="648925" y="407789"/>
                      <a:pt x="648211" y="407789"/>
                    </a:cubicBezTo>
                    <a:cubicBezTo>
                      <a:pt x="644637" y="407789"/>
                      <a:pt x="641064" y="407789"/>
                      <a:pt x="637491" y="408503"/>
                    </a:cubicBezTo>
                    <a:cubicBezTo>
                      <a:pt x="636776" y="408503"/>
                      <a:pt x="636061" y="408503"/>
                      <a:pt x="635347" y="408503"/>
                    </a:cubicBezTo>
                    <a:cubicBezTo>
                      <a:pt x="630344" y="408503"/>
                      <a:pt x="626056" y="408503"/>
                      <a:pt x="621053" y="408503"/>
                    </a:cubicBezTo>
                    <a:cubicBezTo>
                      <a:pt x="621053" y="408503"/>
                      <a:pt x="620338" y="408503"/>
                      <a:pt x="620338" y="408503"/>
                    </a:cubicBezTo>
                    <a:cubicBezTo>
                      <a:pt x="617480" y="408503"/>
                      <a:pt x="614621" y="408503"/>
                      <a:pt x="612477" y="408503"/>
                    </a:cubicBezTo>
                    <a:cubicBezTo>
                      <a:pt x="610333" y="408503"/>
                      <a:pt x="608189" y="408503"/>
                      <a:pt x="606045" y="408503"/>
                    </a:cubicBezTo>
                    <a:cubicBezTo>
                      <a:pt x="603901" y="408503"/>
                      <a:pt x="601042" y="408503"/>
                      <a:pt x="598898" y="408503"/>
                    </a:cubicBezTo>
                    <a:cubicBezTo>
                      <a:pt x="596754" y="408503"/>
                      <a:pt x="594610" y="408503"/>
                      <a:pt x="592466" y="408503"/>
                    </a:cubicBezTo>
                    <a:cubicBezTo>
                      <a:pt x="589607" y="408503"/>
                      <a:pt x="587463" y="408503"/>
                      <a:pt x="584605" y="407789"/>
                    </a:cubicBezTo>
                    <a:cubicBezTo>
                      <a:pt x="582461" y="407789"/>
                      <a:pt x="581031" y="407789"/>
                      <a:pt x="578887" y="407789"/>
                    </a:cubicBezTo>
                    <a:cubicBezTo>
                      <a:pt x="575314" y="407789"/>
                      <a:pt x="571026" y="407075"/>
                      <a:pt x="566738" y="407075"/>
                    </a:cubicBezTo>
                    <a:cubicBezTo>
                      <a:pt x="566738" y="407075"/>
                      <a:pt x="566023" y="407075"/>
                      <a:pt x="566023" y="407075"/>
                    </a:cubicBezTo>
                    <a:cubicBezTo>
                      <a:pt x="566023" y="407075"/>
                      <a:pt x="566023" y="407075"/>
                      <a:pt x="485265" y="401362"/>
                    </a:cubicBezTo>
                    <a:cubicBezTo>
                      <a:pt x="485265" y="401362"/>
                      <a:pt x="485265" y="401362"/>
                      <a:pt x="416656" y="396362"/>
                    </a:cubicBezTo>
                    <a:cubicBezTo>
                      <a:pt x="415227" y="396362"/>
                      <a:pt x="413083" y="396362"/>
                      <a:pt x="410939" y="396362"/>
                    </a:cubicBezTo>
                    <a:cubicBezTo>
                      <a:pt x="410224" y="396362"/>
                      <a:pt x="408794" y="396362"/>
                      <a:pt x="407365" y="396362"/>
                    </a:cubicBezTo>
                    <a:cubicBezTo>
                      <a:pt x="402362" y="396362"/>
                      <a:pt x="398074" y="397077"/>
                      <a:pt x="393072" y="397791"/>
                    </a:cubicBezTo>
                    <a:cubicBezTo>
                      <a:pt x="391642" y="398505"/>
                      <a:pt x="390213" y="398505"/>
                      <a:pt x="388784" y="398505"/>
                    </a:cubicBezTo>
                    <a:cubicBezTo>
                      <a:pt x="388784" y="399219"/>
                      <a:pt x="388784" y="399219"/>
                      <a:pt x="388784" y="399219"/>
                    </a:cubicBezTo>
                    <a:cubicBezTo>
                      <a:pt x="387354" y="399219"/>
                      <a:pt x="385925" y="399933"/>
                      <a:pt x="384496" y="399933"/>
                    </a:cubicBezTo>
                    <a:cubicBezTo>
                      <a:pt x="384496" y="399933"/>
                      <a:pt x="384496" y="399933"/>
                      <a:pt x="383781" y="400647"/>
                    </a:cubicBezTo>
                    <a:cubicBezTo>
                      <a:pt x="382352" y="400647"/>
                      <a:pt x="380922" y="401362"/>
                      <a:pt x="379493" y="402076"/>
                    </a:cubicBezTo>
                    <a:cubicBezTo>
                      <a:pt x="379493" y="402076"/>
                      <a:pt x="379493" y="402076"/>
                      <a:pt x="21441" y="540624"/>
                    </a:cubicBezTo>
                    <a:cubicBezTo>
                      <a:pt x="20011" y="541338"/>
                      <a:pt x="17867" y="541338"/>
                      <a:pt x="15723" y="541338"/>
                    </a:cubicBezTo>
                    <a:cubicBezTo>
                      <a:pt x="12864" y="541338"/>
                      <a:pt x="10006" y="540624"/>
                      <a:pt x="7147" y="538481"/>
                    </a:cubicBezTo>
                    <a:cubicBezTo>
                      <a:pt x="2859" y="535625"/>
                      <a:pt x="0" y="530626"/>
                      <a:pt x="0" y="525626"/>
                    </a:cubicBezTo>
                    <a:cubicBezTo>
                      <a:pt x="0" y="525626"/>
                      <a:pt x="0" y="525626"/>
                      <a:pt x="0" y="209251"/>
                    </a:cubicBezTo>
                    <a:cubicBezTo>
                      <a:pt x="0" y="203538"/>
                      <a:pt x="3574" y="198538"/>
                      <a:pt x="7862" y="195682"/>
                    </a:cubicBezTo>
                    <a:cubicBezTo>
                      <a:pt x="7862" y="195682"/>
                      <a:pt x="7862" y="195682"/>
                      <a:pt x="310169" y="24282"/>
                    </a:cubicBezTo>
                    <a:cubicBezTo>
                      <a:pt x="311599" y="22853"/>
                      <a:pt x="313743" y="22139"/>
                      <a:pt x="315887" y="21425"/>
                    </a:cubicBezTo>
                    <a:cubicBezTo>
                      <a:pt x="316601" y="20711"/>
                      <a:pt x="317316" y="20711"/>
                      <a:pt x="318031" y="19997"/>
                    </a:cubicBezTo>
                    <a:cubicBezTo>
                      <a:pt x="318745" y="19283"/>
                      <a:pt x="320175" y="18568"/>
                      <a:pt x="320889" y="18568"/>
                    </a:cubicBezTo>
                    <a:cubicBezTo>
                      <a:pt x="322319" y="17854"/>
                      <a:pt x="323033" y="17140"/>
                      <a:pt x="324463" y="17140"/>
                    </a:cubicBezTo>
                    <a:cubicBezTo>
                      <a:pt x="325177" y="16426"/>
                      <a:pt x="325892" y="16426"/>
                      <a:pt x="326607" y="15712"/>
                    </a:cubicBezTo>
                    <a:cubicBezTo>
                      <a:pt x="328036" y="14998"/>
                      <a:pt x="329466" y="14998"/>
                      <a:pt x="330180" y="14283"/>
                    </a:cubicBezTo>
                    <a:cubicBezTo>
                      <a:pt x="330895" y="14283"/>
                      <a:pt x="331610" y="13569"/>
                      <a:pt x="332324" y="13569"/>
                    </a:cubicBezTo>
                    <a:cubicBezTo>
                      <a:pt x="333754" y="12855"/>
                      <a:pt x="335183" y="12141"/>
                      <a:pt x="336612" y="12141"/>
                    </a:cubicBezTo>
                    <a:cubicBezTo>
                      <a:pt x="336612" y="11427"/>
                      <a:pt x="337327" y="11427"/>
                      <a:pt x="338042" y="11427"/>
                    </a:cubicBezTo>
                    <a:cubicBezTo>
                      <a:pt x="339471" y="10713"/>
                      <a:pt x="340900" y="9998"/>
                      <a:pt x="342330" y="9998"/>
                    </a:cubicBezTo>
                    <a:cubicBezTo>
                      <a:pt x="343044" y="9284"/>
                      <a:pt x="343044" y="9284"/>
                      <a:pt x="343044" y="9284"/>
                    </a:cubicBezTo>
                    <a:cubicBezTo>
                      <a:pt x="345188" y="8570"/>
                      <a:pt x="346618" y="8570"/>
                      <a:pt x="348047" y="7856"/>
                    </a:cubicBezTo>
                    <a:cubicBezTo>
                      <a:pt x="348762" y="7856"/>
                      <a:pt x="348762" y="7856"/>
                      <a:pt x="348762" y="7856"/>
                    </a:cubicBezTo>
                    <a:cubicBezTo>
                      <a:pt x="360197" y="4285"/>
                      <a:pt x="370917" y="2143"/>
                      <a:pt x="382352" y="714"/>
                    </a:cubicBezTo>
                    <a:cubicBezTo>
                      <a:pt x="383066" y="714"/>
                      <a:pt x="383781" y="714"/>
                      <a:pt x="383781" y="714"/>
                    </a:cubicBezTo>
                    <a:cubicBezTo>
                      <a:pt x="385210" y="714"/>
                      <a:pt x="386640" y="714"/>
                      <a:pt x="387354" y="714"/>
                    </a:cubicBezTo>
                    <a:cubicBezTo>
                      <a:pt x="388784" y="714"/>
                      <a:pt x="389498" y="714"/>
                      <a:pt x="390213" y="0"/>
                    </a:cubicBezTo>
                    <a:close/>
                  </a:path>
                </a:pathLst>
              </a:custGeom>
              <a:solidFill>
                <a:schemeClr val="bg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grpSp>
      <p:grpSp>
        <p:nvGrpSpPr>
          <p:cNvPr id="84" name="bcgIcons_Digital Ecosystems ">
            <a:extLst>
              <a:ext uri="{FF2B5EF4-FFF2-40B4-BE49-F238E27FC236}">
                <a16:creationId xmlns:a16="http://schemas.microsoft.com/office/drawing/2014/main" id="{94473C6E-FCDE-2E89-2F6E-E22BE6E5895F}"/>
              </a:ext>
            </a:extLst>
          </p:cNvPr>
          <p:cNvGrpSpPr>
            <a:grpSpLocks noChangeAspect="1"/>
          </p:cNvGrpSpPr>
          <p:nvPr/>
        </p:nvGrpSpPr>
        <p:grpSpPr>
          <a:xfrm>
            <a:off x="1448987" y="3151900"/>
            <a:ext cx="839112" cy="839112"/>
            <a:chOff x="1484313" y="2606675"/>
            <a:chExt cx="1644650" cy="1644650"/>
          </a:xfrm>
        </p:grpSpPr>
        <p:sp>
          <p:nvSpPr>
            <p:cNvPr id="85" name="AutoShape 3">
              <a:extLst>
                <a:ext uri="{FF2B5EF4-FFF2-40B4-BE49-F238E27FC236}">
                  <a16:creationId xmlns:a16="http://schemas.microsoft.com/office/drawing/2014/main" id="{E1F2A3A2-0CBC-24DB-A924-D51408B4827F}"/>
                </a:ext>
              </a:extLst>
            </p:cNvPr>
            <p:cNvSpPr>
              <a:spLocks noChangeAspect="1" noChangeArrowheads="1" noTextEdit="1"/>
            </p:cNvSpPr>
            <p:nvPr/>
          </p:nvSpPr>
          <p:spPr bwMode="auto">
            <a:xfrm>
              <a:off x="1484313"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6" name="Group 4">
              <a:extLst>
                <a:ext uri="{FF2B5EF4-FFF2-40B4-BE49-F238E27FC236}">
                  <a16:creationId xmlns:a16="http://schemas.microsoft.com/office/drawing/2014/main" id="{053D605E-5416-D9E3-8DAC-5EB9C75824AF}"/>
                </a:ext>
              </a:extLst>
            </p:cNvPr>
            <p:cNvGrpSpPr/>
            <p:nvPr/>
          </p:nvGrpSpPr>
          <p:grpSpPr>
            <a:xfrm>
              <a:off x="1654176" y="2789238"/>
              <a:ext cx="1304925" cy="1277938"/>
              <a:chOff x="1654176" y="2789238"/>
              <a:chExt cx="1304925" cy="1277938"/>
            </a:xfrm>
          </p:grpSpPr>
          <p:sp>
            <p:nvSpPr>
              <p:cNvPr id="87" name="Freeform 5">
                <a:extLst>
                  <a:ext uri="{FF2B5EF4-FFF2-40B4-BE49-F238E27FC236}">
                    <a16:creationId xmlns:a16="http://schemas.microsoft.com/office/drawing/2014/main" id="{A21CFD64-FC17-3EAA-3B90-EC1EDEA0C486}"/>
                  </a:ext>
                </a:extLst>
              </p:cNvPr>
              <p:cNvSpPr>
                <a:spLocks noEditPoints="1"/>
              </p:cNvSpPr>
              <p:nvPr/>
            </p:nvSpPr>
            <p:spPr bwMode="auto">
              <a:xfrm>
                <a:off x="1677988" y="2809875"/>
                <a:ext cx="1250950" cy="1233488"/>
              </a:xfrm>
              <a:custGeom>
                <a:avLst/>
                <a:gdLst>
                  <a:gd name="T0" fmla="*/ 883 w 1753"/>
                  <a:gd name="T1" fmla="*/ 1649 h 1728"/>
                  <a:gd name="T2" fmla="*/ 1322 w 1753"/>
                  <a:gd name="T3" fmla="*/ 832 h 1728"/>
                  <a:gd name="T4" fmla="*/ 1199 w 1753"/>
                  <a:gd name="T5" fmla="*/ 531 h 1728"/>
                  <a:gd name="T6" fmla="*/ 90 w 1753"/>
                  <a:gd name="T7" fmla="*/ 492 h 1728"/>
                  <a:gd name="T8" fmla="*/ 122 w 1753"/>
                  <a:gd name="T9" fmla="*/ 508 h 1728"/>
                  <a:gd name="T10" fmla="*/ 1032 w 1753"/>
                  <a:gd name="T11" fmla="*/ 1381 h 1728"/>
                  <a:gd name="T12" fmla="*/ 1254 w 1753"/>
                  <a:gd name="T13" fmla="*/ 907 h 1728"/>
                  <a:gd name="T14" fmla="*/ 1254 w 1753"/>
                  <a:gd name="T15" fmla="*/ 907 h 1728"/>
                  <a:gd name="T16" fmla="*/ 729 w 1753"/>
                  <a:gd name="T17" fmla="*/ 647 h 1728"/>
                  <a:gd name="T18" fmla="*/ 1682 w 1753"/>
                  <a:gd name="T19" fmla="*/ 1158 h 1728"/>
                  <a:gd name="T20" fmla="*/ 1663 w 1753"/>
                  <a:gd name="T21" fmla="*/ 1161 h 1728"/>
                  <a:gd name="T22" fmla="*/ 668 w 1753"/>
                  <a:gd name="T23" fmla="*/ 1322 h 1728"/>
                  <a:gd name="T24" fmla="*/ 819 w 1753"/>
                  <a:gd name="T25" fmla="*/ 1686 h 1728"/>
                  <a:gd name="T26" fmla="*/ 956 w 1753"/>
                  <a:gd name="T27" fmla="*/ 1723 h 1728"/>
                  <a:gd name="T28" fmla="*/ 949 w 1753"/>
                  <a:gd name="T29" fmla="*/ 1692 h 1728"/>
                  <a:gd name="T30" fmla="*/ 1527 w 1753"/>
                  <a:gd name="T31" fmla="*/ 1455 h 1728"/>
                  <a:gd name="T32" fmla="*/ 1188 w 1753"/>
                  <a:gd name="T33" fmla="*/ 51 h 1728"/>
                  <a:gd name="T34" fmla="*/ 616 w 1753"/>
                  <a:gd name="T35" fmla="*/ 322 h 1728"/>
                  <a:gd name="T36" fmla="*/ 598 w 1753"/>
                  <a:gd name="T37" fmla="*/ 583 h 1728"/>
                  <a:gd name="T38" fmla="*/ 725 w 1753"/>
                  <a:gd name="T39" fmla="*/ 1044 h 1728"/>
                  <a:gd name="T40" fmla="*/ 784 w 1753"/>
                  <a:gd name="T41" fmla="*/ 1205 h 1728"/>
                  <a:gd name="T42" fmla="*/ 140 w 1753"/>
                  <a:gd name="T43" fmla="*/ 1291 h 1728"/>
                  <a:gd name="T44" fmla="*/ 1687 w 1753"/>
                  <a:gd name="T45" fmla="*/ 847 h 1728"/>
                  <a:gd name="T46" fmla="*/ 1699 w 1753"/>
                  <a:gd name="T47" fmla="*/ 874 h 1728"/>
                  <a:gd name="T48" fmla="*/ 1391 w 1753"/>
                  <a:gd name="T49" fmla="*/ 1504 h 1728"/>
                  <a:gd name="T50" fmla="*/ 58 w 1753"/>
                  <a:gd name="T51" fmla="*/ 884 h 1728"/>
                  <a:gd name="T52" fmla="*/ 280 w 1753"/>
                  <a:gd name="T53" fmla="*/ 1065 h 1728"/>
                  <a:gd name="T54" fmla="*/ 1741 w 1753"/>
                  <a:gd name="T55" fmla="*/ 759 h 1728"/>
                  <a:gd name="T56" fmla="*/ 1741 w 1753"/>
                  <a:gd name="T57" fmla="*/ 759 h 1728"/>
                  <a:gd name="T58" fmla="*/ 1594 w 1753"/>
                  <a:gd name="T59" fmla="*/ 1195 h 1728"/>
                  <a:gd name="T60" fmla="*/ 332 w 1753"/>
                  <a:gd name="T61" fmla="*/ 1181 h 1728"/>
                  <a:gd name="T62" fmla="*/ 332 w 1753"/>
                  <a:gd name="T63" fmla="*/ 1181 h 1728"/>
                  <a:gd name="T64" fmla="*/ 218 w 1753"/>
                  <a:gd name="T65" fmla="*/ 486 h 1728"/>
                  <a:gd name="T66" fmla="*/ 1455 w 1753"/>
                  <a:gd name="T67" fmla="*/ 824 h 1728"/>
                  <a:gd name="T68" fmla="*/ 1455 w 1753"/>
                  <a:gd name="T69" fmla="*/ 824 h 1728"/>
                  <a:gd name="T70" fmla="*/ 61 w 1753"/>
                  <a:gd name="T71" fmla="*/ 865 h 1728"/>
                  <a:gd name="T72" fmla="*/ 638 w 1753"/>
                  <a:gd name="T73" fmla="*/ 184 h 1728"/>
                  <a:gd name="T74" fmla="*/ 603 w 1753"/>
                  <a:gd name="T75" fmla="*/ 175 h 1728"/>
                  <a:gd name="T76" fmla="*/ 989 w 1753"/>
                  <a:gd name="T77" fmla="*/ 1262 h 1728"/>
                  <a:gd name="T78" fmla="*/ 250 w 1753"/>
                  <a:gd name="T79" fmla="*/ 381 h 1728"/>
                  <a:gd name="T80" fmla="*/ 632 w 1753"/>
                  <a:gd name="T81" fmla="*/ 67 h 1728"/>
                  <a:gd name="T82" fmla="*/ 661 w 1753"/>
                  <a:gd name="T83" fmla="*/ 1414 h 1728"/>
                  <a:gd name="T84" fmla="*/ 299 w 1753"/>
                  <a:gd name="T85" fmla="*/ 1367 h 1728"/>
                  <a:gd name="T86" fmla="*/ 661 w 1753"/>
                  <a:gd name="T87" fmla="*/ 202 h 1728"/>
                  <a:gd name="T88" fmla="*/ 970 w 1753"/>
                  <a:gd name="T89" fmla="*/ 241 h 1728"/>
                  <a:gd name="T90" fmla="*/ 1047 w 1753"/>
                  <a:gd name="T91" fmla="*/ 7 h 1728"/>
                  <a:gd name="T92" fmla="*/ 749 w 1753"/>
                  <a:gd name="T93" fmla="*/ 36 h 1728"/>
                  <a:gd name="T94" fmla="*/ 1473 w 1753"/>
                  <a:gd name="T95" fmla="*/ 302 h 1728"/>
                  <a:gd name="T96" fmla="*/ 1466 w 1753"/>
                  <a:gd name="T97" fmla="*/ 338 h 1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53" h="1728">
                    <a:moveTo>
                      <a:pt x="846" y="1570"/>
                    </a:moveTo>
                    <a:cubicBezTo>
                      <a:pt x="858" y="1570"/>
                      <a:pt x="869" y="1569"/>
                      <a:pt x="880" y="1568"/>
                    </a:cubicBezTo>
                    <a:cubicBezTo>
                      <a:pt x="882" y="1587"/>
                      <a:pt x="886" y="1613"/>
                      <a:pt x="891" y="1649"/>
                    </a:cubicBezTo>
                    <a:cubicBezTo>
                      <a:pt x="888" y="1649"/>
                      <a:pt x="886" y="1649"/>
                      <a:pt x="883" y="1649"/>
                    </a:cubicBezTo>
                    <a:cubicBezTo>
                      <a:pt x="873" y="1649"/>
                      <a:pt x="864" y="1650"/>
                      <a:pt x="855" y="1654"/>
                    </a:cubicBezTo>
                    <a:cubicBezTo>
                      <a:pt x="853" y="1644"/>
                      <a:pt x="851" y="1623"/>
                      <a:pt x="844" y="1570"/>
                    </a:cubicBezTo>
                    <a:cubicBezTo>
                      <a:pt x="845" y="1570"/>
                      <a:pt x="846" y="1570"/>
                      <a:pt x="846" y="1570"/>
                    </a:cubicBezTo>
                    <a:close/>
                    <a:moveTo>
                      <a:pt x="1322" y="832"/>
                    </a:moveTo>
                    <a:cubicBezTo>
                      <a:pt x="1332" y="826"/>
                      <a:pt x="1344" y="822"/>
                      <a:pt x="1356" y="818"/>
                    </a:cubicBezTo>
                    <a:cubicBezTo>
                      <a:pt x="1256" y="575"/>
                      <a:pt x="1210" y="463"/>
                      <a:pt x="1189" y="410"/>
                    </a:cubicBezTo>
                    <a:cubicBezTo>
                      <a:pt x="1178" y="416"/>
                      <a:pt x="1167" y="421"/>
                      <a:pt x="1155" y="425"/>
                    </a:cubicBezTo>
                    <a:cubicBezTo>
                      <a:pt x="1199" y="531"/>
                      <a:pt x="1199" y="531"/>
                      <a:pt x="1199" y="531"/>
                    </a:cubicBezTo>
                    <a:cubicBezTo>
                      <a:pt x="1322" y="832"/>
                      <a:pt x="1322" y="832"/>
                      <a:pt x="1322" y="832"/>
                    </a:cubicBezTo>
                    <a:cubicBezTo>
                      <a:pt x="1322" y="832"/>
                      <a:pt x="1322" y="832"/>
                      <a:pt x="1322" y="832"/>
                    </a:cubicBezTo>
                    <a:close/>
                    <a:moveTo>
                      <a:pt x="122" y="508"/>
                    </a:moveTo>
                    <a:cubicBezTo>
                      <a:pt x="111" y="504"/>
                      <a:pt x="100" y="498"/>
                      <a:pt x="90" y="492"/>
                    </a:cubicBezTo>
                    <a:cubicBezTo>
                      <a:pt x="16" y="746"/>
                      <a:pt x="2" y="791"/>
                      <a:pt x="0" y="800"/>
                    </a:cubicBezTo>
                    <a:cubicBezTo>
                      <a:pt x="12" y="801"/>
                      <a:pt x="24" y="805"/>
                      <a:pt x="33" y="812"/>
                    </a:cubicBezTo>
                    <a:cubicBezTo>
                      <a:pt x="122" y="508"/>
                      <a:pt x="122" y="508"/>
                      <a:pt x="122" y="508"/>
                    </a:cubicBezTo>
                    <a:cubicBezTo>
                      <a:pt x="122" y="508"/>
                      <a:pt x="122" y="508"/>
                      <a:pt x="122" y="508"/>
                    </a:cubicBezTo>
                    <a:close/>
                    <a:moveTo>
                      <a:pt x="1608" y="1249"/>
                    </a:moveTo>
                    <a:cubicBezTo>
                      <a:pt x="1607" y="1244"/>
                      <a:pt x="1607" y="1238"/>
                      <a:pt x="1607" y="1233"/>
                    </a:cubicBezTo>
                    <a:cubicBezTo>
                      <a:pt x="1264" y="1300"/>
                      <a:pt x="1104" y="1333"/>
                      <a:pt x="1028" y="1347"/>
                    </a:cubicBezTo>
                    <a:cubicBezTo>
                      <a:pt x="1031" y="1358"/>
                      <a:pt x="1032" y="1370"/>
                      <a:pt x="1032" y="1381"/>
                    </a:cubicBezTo>
                    <a:cubicBezTo>
                      <a:pt x="1032" y="1382"/>
                      <a:pt x="1032" y="1382"/>
                      <a:pt x="1032" y="1383"/>
                    </a:cubicBezTo>
                    <a:cubicBezTo>
                      <a:pt x="1614" y="1268"/>
                      <a:pt x="1614" y="1268"/>
                      <a:pt x="1614" y="1268"/>
                    </a:cubicBezTo>
                    <a:cubicBezTo>
                      <a:pt x="1611" y="1263"/>
                      <a:pt x="1609" y="1256"/>
                      <a:pt x="1608" y="1249"/>
                    </a:cubicBezTo>
                    <a:close/>
                    <a:moveTo>
                      <a:pt x="1254" y="907"/>
                    </a:moveTo>
                    <a:cubicBezTo>
                      <a:pt x="981" y="834"/>
                      <a:pt x="835" y="795"/>
                      <a:pt x="758" y="774"/>
                    </a:cubicBezTo>
                    <a:cubicBezTo>
                      <a:pt x="757" y="786"/>
                      <a:pt x="753" y="798"/>
                      <a:pt x="748" y="809"/>
                    </a:cubicBezTo>
                    <a:cubicBezTo>
                      <a:pt x="1042" y="889"/>
                      <a:pt x="1179" y="926"/>
                      <a:pt x="1243" y="944"/>
                    </a:cubicBezTo>
                    <a:cubicBezTo>
                      <a:pt x="1245" y="930"/>
                      <a:pt x="1249" y="919"/>
                      <a:pt x="1254" y="907"/>
                    </a:cubicBezTo>
                    <a:close/>
                    <a:moveTo>
                      <a:pt x="1007" y="385"/>
                    </a:moveTo>
                    <a:cubicBezTo>
                      <a:pt x="998" y="376"/>
                      <a:pt x="991" y="366"/>
                      <a:pt x="985" y="356"/>
                    </a:cubicBezTo>
                    <a:cubicBezTo>
                      <a:pt x="838" y="495"/>
                      <a:pt x="753" y="575"/>
                      <a:pt x="705" y="621"/>
                    </a:cubicBezTo>
                    <a:cubicBezTo>
                      <a:pt x="714" y="629"/>
                      <a:pt x="722" y="638"/>
                      <a:pt x="729" y="647"/>
                    </a:cubicBezTo>
                    <a:cubicBezTo>
                      <a:pt x="1007" y="385"/>
                      <a:pt x="1007" y="385"/>
                      <a:pt x="1007" y="385"/>
                    </a:cubicBezTo>
                    <a:cubicBezTo>
                      <a:pt x="1007" y="385"/>
                      <a:pt x="1007" y="385"/>
                      <a:pt x="1007" y="385"/>
                    </a:cubicBezTo>
                    <a:close/>
                    <a:moveTo>
                      <a:pt x="1663" y="1161"/>
                    </a:moveTo>
                    <a:cubicBezTo>
                      <a:pt x="1669" y="1159"/>
                      <a:pt x="1676" y="1158"/>
                      <a:pt x="1682" y="1158"/>
                    </a:cubicBezTo>
                    <a:cubicBezTo>
                      <a:pt x="1688" y="1158"/>
                      <a:pt x="1694" y="1158"/>
                      <a:pt x="1699" y="1160"/>
                    </a:cubicBezTo>
                    <a:cubicBezTo>
                      <a:pt x="1746" y="942"/>
                      <a:pt x="1753" y="911"/>
                      <a:pt x="1753" y="907"/>
                    </a:cubicBezTo>
                    <a:cubicBezTo>
                      <a:pt x="1741" y="906"/>
                      <a:pt x="1729" y="902"/>
                      <a:pt x="1719" y="895"/>
                    </a:cubicBezTo>
                    <a:cubicBezTo>
                      <a:pt x="1679" y="1082"/>
                      <a:pt x="1666" y="1142"/>
                      <a:pt x="1663" y="1161"/>
                    </a:cubicBezTo>
                    <a:close/>
                    <a:moveTo>
                      <a:pt x="685" y="1285"/>
                    </a:moveTo>
                    <a:cubicBezTo>
                      <a:pt x="590" y="1224"/>
                      <a:pt x="508" y="1172"/>
                      <a:pt x="439" y="1126"/>
                    </a:cubicBezTo>
                    <a:cubicBezTo>
                      <a:pt x="434" y="1139"/>
                      <a:pt x="428" y="1150"/>
                      <a:pt x="419" y="1158"/>
                    </a:cubicBezTo>
                    <a:cubicBezTo>
                      <a:pt x="668" y="1322"/>
                      <a:pt x="668" y="1322"/>
                      <a:pt x="668" y="1322"/>
                    </a:cubicBezTo>
                    <a:cubicBezTo>
                      <a:pt x="672" y="1309"/>
                      <a:pt x="678" y="1297"/>
                      <a:pt x="685" y="1285"/>
                    </a:cubicBezTo>
                    <a:close/>
                    <a:moveTo>
                      <a:pt x="265" y="1451"/>
                    </a:moveTo>
                    <a:cubicBezTo>
                      <a:pt x="769" y="1703"/>
                      <a:pt x="805" y="1720"/>
                      <a:pt x="808" y="1721"/>
                    </a:cubicBezTo>
                    <a:cubicBezTo>
                      <a:pt x="808" y="1709"/>
                      <a:pt x="813" y="1697"/>
                      <a:pt x="819" y="1686"/>
                    </a:cubicBezTo>
                    <a:cubicBezTo>
                      <a:pt x="452" y="1502"/>
                      <a:pt x="329" y="1441"/>
                      <a:pt x="288" y="1421"/>
                    </a:cubicBezTo>
                    <a:cubicBezTo>
                      <a:pt x="282" y="1433"/>
                      <a:pt x="275" y="1442"/>
                      <a:pt x="265" y="1451"/>
                    </a:cubicBezTo>
                    <a:close/>
                    <a:moveTo>
                      <a:pt x="949" y="1692"/>
                    </a:moveTo>
                    <a:cubicBezTo>
                      <a:pt x="954" y="1701"/>
                      <a:pt x="956" y="1712"/>
                      <a:pt x="956" y="1723"/>
                    </a:cubicBezTo>
                    <a:cubicBezTo>
                      <a:pt x="956" y="1725"/>
                      <a:pt x="956" y="1727"/>
                      <a:pt x="956" y="1728"/>
                    </a:cubicBezTo>
                    <a:cubicBezTo>
                      <a:pt x="1404" y="1546"/>
                      <a:pt x="1404" y="1546"/>
                      <a:pt x="1404" y="1546"/>
                    </a:cubicBezTo>
                    <a:cubicBezTo>
                      <a:pt x="1398" y="1536"/>
                      <a:pt x="1393" y="1524"/>
                      <a:pt x="1393" y="1511"/>
                    </a:cubicBezTo>
                    <a:cubicBezTo>
                      <a:pt x="949" y="1692"/>
                      <a:pt x="949" y="1692"/>
                      <a:pt x="949" y="1692"/>
                    </a:cubicBezTo>
                    <a:cubicBezTo>
                      <a:pt x="949" y="1692"/>
                      <a:pt x="949" y="1692"/>
                      <a:pt x="949" y="1692"/>
                    </a:cubicBezTo>
                    <a:close/>
                    <a:moveTo>
                      <a:pt x="1617" y="1273"/>
                    </a:moveTo>
                    <a:cubicBezTo>
                      <a:pt x="1536" y="1383"/>
                      <a:pt x="1510" y="1419"/>
                      <a:pt x="1500" y="1432"/>
                    </a:cubicBezTo>
                    <a:cubicBezTo>
                      <a:pt x="1511" y="1437"/>
                      <a:pt x="1521" y="1445"/>
                      <a:pt x="1527" y="1455"/>
                    </a:cubicBezTo>
                    <a:cubicBezTo>
                      <a:pt x="1641" y="1300"/>
                      <a:pt x="1641" y="1300"/>
                      <a:pt x="1641" y="1300"/>
                    </a:cubicBezTo>
                    <a:cubicBezTo>
                      <a:pt x="1630" y="1293"/>
                      <a:pt x="1622" y="1284"/>
                      <a:pt x="1617" y="1273"/>
                    </a:cubicBezTo>
                    <a:close/>
                    <a:moveTo>
                      <a:pt x="1497" y="262"/>
                    </a:moveTo>
                    <a:cubicBezTo>
                      <a:pt x="1235" y="83"/>
                      <a:pt x="1194" y="55"/>
                      <a:pt x="1188" y="51"/>
                    </a:cubicBezTo>
                    <a:cubicBezTo>
                      <a:pt x="1182" y="62"/>
                      <a:pt x="1174" y="72"/>
                      <a:pt x="1164" y="79"/>
                    </a:cubicBezTo>
                    <a:cubicBezTo>
                      <a:pt x="1430" y="262"/>
                      <a:pt x="1470" y="289"/>
                      <a:pt x="1476" y="293"/>
                    </a:cubicBezTo>
                    <a:cubicBezTo>
                      <a:pt x="1481" y="281"/>
                      <a:pt x="1488" y="272"/>
                      <a:pt x="1497" y="262"/>
                    </a:cubicBezTo>
                    <a:close/>
                    <a:moveTo>
                      <a:pt x="616" y="322"/>
                    </a:moveTo>
                    <a:cubicBezTo>
                      <a:pt x="612" y="323"/>
                      <a:pt x="606" y="323"/>
                      <a:pt x="602" y="323"/>
                    </a:cubicBezTo>
                    <a:cubicBezTo>
                      <a:pt x="593" y="323"/>
                      <a:pt x="585" y="322"/>
                      <a:pt x="578" y="320"/>
                    </a:cubicBezTo>
                    <a:cubicBezTo>
                      <a:pt x="578" y="450"/>
                      <a:pt x="578" y="532"/>
                      <a:pt x="578" y="584"/>
                    </a:cubicBezTo>
                    <a:cubicBezTo>
                      <a:pt x="584" y="583"/>
                      <a:pt x="591" y="583"/>
                      <a:pt x="598" y="583"/>
                    </a:cubicBezTo>
                    <a:cubicBezTo>
                      <a:pt x="604" y="583"/>
                      <a:pt x="610" y="583"/>
                      <a:pt x="616" y="584"/>
                    </a:cubicBezTo>
                    <a:cubicBezTo>
                      <a:pt x="616" y="362"/>
                      <a:pt x="616" y="328"/>
                      <a:pt x="616" y="322"/>
                    </a:cubicBezTo>
                    <a:close/>
                    <a:moveTo>
                      <a:pt x="784" y="1205"/>
                    </a:moveTo>
                    <a:cubicBezTo>
                      <a:pt x="725" y="1044"/>
                      <a:pt x="725" y="1044"/>
                      <a:pt x="725" y="1044"/>
                    </a:cubicBezTo>
                    <a:cubicBezTo>
                      <a:pt x="699" y="975"/>
                      <a:pt x="681" y="926"/>
                      <a:pt x="668" y="891"/>
                    </a:cubicBezTo>
                    <a:cubicBezTo>
                      <a:pt x="657" y="897"/>
                      <a:pt x="646" y="901"/>
                      <a:pt x="634" y="904"/>
                    </a:cubicBezTo>
                    <a:cubicBezTo>
                      <a:pt x="697" y="1073"/>
                      <a:pt x="731" y="1167"/>
                      <a:pt x="751" y="1220"/>
                    </a:cubicBezTo>
                    <a:cubicBezTo>
                      <a:pt x="762" y="1214"/>
                      <a:pt x="772" y="1209"/>
                      <a:pt x="784" y="1205"/>
                    </a:cubicBezTo>
                    <a:close/>
                    <a:moveTo>
                      <a:pt x="33" y="919"/>
                    </a:moveTo>
                    <a:cubicBezTo>
                      <a:pt x="25" y="924"/>
                      <a:pt x="15" y="928"/>
                      <a:pt x="5" y="929"/>
                    </a:cubicBezTo>
                    <a:cubicBezTo>
                      <a:pt x="124" y="1298"/>
                      <a:pt x="124" y="1298"/>
                      <a:pt x="124" y="1298"/>
                    </a:cubicBezTo>
                    <a:cubicBezTo>
                      <a:pt x="129" y="1296"/>
                      <a:pt x="134" y="1293"/>
                      <a:pt x="140" y="1291"/>
                    </a:cubicBezTo>
                    <a:cubicBezTo>
                      <a:pt x="145" y="1287"/>
                      <a:pt x="151" y="1285"/>
                      <a:pt x="157" y="1282"/>
                    </a:cubicBezTo>
                    <a:cubicBezTo>
                      <a:pt x="39" y="915"/>
                      <a:pt x="39" y="915"/>
                      <a:pt x="39" y="915"/>
                    </a:cubicBezTo>
                    <a:cubicBezTo>
                      <a:pt x="37" y="917"/>
                      <a:pt x="35" y="917"/>
                      <a:pt x="33" y="919"/>
                    </a:cubicBezTo>
                    <a:close/>
                    <a:moveTo>
                      <a:pt x="1687" y="847"/>
                    </a:moveTo>
                    <a:cubicBezTo>
                      <a:pt x="1687" y="846"/>
                      <a:pt x="1686" y="843"/>
                      <a:pt x="1686" y="841"/>
                    </a:cubicBezTo>
                    <a:cubicBezTo>
                      <a:pt x="1613" y="867"/>
                      <a:pt x="1565" y="883"/>
                      <a:pt x="1535" y="894"/>
                    </a:cubicBezTo>
                    <a:cubicBezTo>
                      <a:pt x="1541" y="905"/>
                      <a:pt x="1545" y="916"/>
                      <a:pt x="1548" y="927"/>
                    </a:cubicBezTo>
                    <a:cubicBezTo>
                      <a:pt x="1699" y="874"/>
                      <a:pt x="1699" y="874"/>
                      <a:pt x="1699" y="874"/>
                    </a:cubicBezTo>
                    <a:cubicBezTo>
                      <a:pt x="1693" y="867"/>
                      <a:pt x="1689" y="857"/>
                      <a:pt x="1687" y="847"/>
                    </a:cubicBezTo>
                    <a:close/>
                    <a:moveTo>
                      <a:pt x="1030" y="1414"/>
                    </a:moveTo>
                    <a:cubicBezTo>
                      <a:pt x="1029" y="1426"/>
                      <a:pt x="1025" y="1438"/>
                      <a:pt x="1021" y="1449"/>
                    </a:cubicBezTo>
                    <a:cubicBezTo>
                      <a:pt x="1342" y="1497"/>
                      <a:pt x="1385" y="1503"/>
                      <a:pt x="1391" y="1504"/>
                    </a:cubicBezTo>
                    <a:cubicBezTo>
                      <a:pt x="1391" y="1503"/>
                      <a:pt x="1391" y="1500"/>
                      <a:pt x="1391" y="1498"/>
                    </a:cubicBezTo>
                    <a:cubicBezTo>
                      <a:pt x="1391" y="1487"/>
                      <a:pt x="1394" y="1477"/>
                      <a:pt x="1397" y="1469"/>
                    </a:cubicBezTo>
                    <a:cubicBezTo>
                      <a:pt x="1194" y="1438"/>
                      <a:pt x="1087" y="1422"/>
                      <a:pt x="1030" y="1414"/>
                    </a:cubicBezTo>
                    <a:close/>
                    <a:moveTo>
                      <a:pt x="58" y="884"/>
                    </a:moveTo>
                    <a:cubicBezTo>
                      <a:pt x="57" y="884"/>
                      <a:pt x="57" y="884"/>
                      <a:pt x="57" y="885"/>
                    </a:cubicBezTo>
                    <a:cubicBezTo>
                      <a:pt x="57" y="886"/>
                      <a:pt x="57" y="886"/>
                      <a:pt x="57" y="886"/>
                    </a:cubicBezTo>
                    <a:cubicBezTo>
                      <a:pt x="54" y="895"/>
                      <a:pt x="49" y="903"/>
                      <a:pt x="43" y="910"/>
                    </a:cubicBezTo>
                    <a:cubicBezTo>
                      <a:pt x="280" y="1065"/>
                      <a:pt x="280" y="1065"/>
                      <a:pt x="280" y="1065"/>
                    </a:cubicBezTo>
                    <a:cubicBezTo>
                      <a:pt x="285" y="1053"/>
                      <a:pt x="293" y="1043"/>
                      <a:pt x="302" y="1035"/>
                    </a:cubicBezTo>
                    <a:cubicBezTo>
                      <a:pt x="119" y="917"/>
                      <a:pt x="60" y="877"/>
                      <a:pt x="60" y="877"/>
                    </a:cubicBezTo>
                    <a:cubicBezTo>
                      <a:pt x="59" y="879"/>
                      <a:pt x="58" y="881"/>
                      <a:pt x="58" y="884"/>
                    </a:cubicBezTo>
                    <a:close/>
                    <a:moveTo>
                      <a:pt x="1741" y="759"/>
                    </a:moveTo>
                    <a:cubicBezTo>
                      <a:pt x="1644" y="480"/>
                      <a:pt x="1632" y="445"/>
                      <a:pt x="1631" y="441"/>
                    </a:cubicBezTo>
                    <a:cubicBezTo>
                      <a:pt x="1620" y="447"/>
                      <a:pt x="1608" y="451"/>
                      <a:pt x="1596" y="453"/>
                    </a:cubicBezTo>
                    <a:cubicBezTo>
                      <a:pt x="1689" y="722"/>
                      <a:pt x="1705" y="769"/>
                      <a:pt x="1708" y="777"/>
                    </a:cubicBezTo>
                    <a:cubicBezTo>
                      <a:pt x="1717" y="769"/>
                      <a:pt x="1729" y="762"/>
                      <a:pt x="1741" y="759"/>
                    </a:cubicBezTo>
                    <a:close/>
                    <a:moveTo>
                      <a:pt x="1528" y="1075"/>
                    </a:moveTo>
                    <a:cubicBezTo>
                      <a:pt x="1526" y="1073"/>
                      <a:pt x="1523" y="1069"/>
                      <a:pt x="1520" y="1067"/>
                    </a:cubicBezTo>
                    <a:cubicBezTo>
                      <a:pt x="1513" y="1077"/>
                      <a:pt x="1504" y="1085"/>
                      <a:pt x="1495" y="1093"/>
                    </a:cubicBezTo>
                    <a:cubicBezTo>
                      <a:pt x="1594" y="1195"/>
                      <a:pt x="1594" y="1195"/>
                      <a:pt x="1594" y="1195"/>
                    </a:cubicBezTo>
                    <a:cubicBezTo>
                      <a:pt x="1602" y="1204"/>
                      <a:pt x="1607" y="1209"/>
                      <a:pt x="1610" y="1211"/>
                    </a:cubicBezTo>
                    <a:cubicBezTo>
                      <a:pt x="1613" y="1199"/>
                      <a:pt x="1620" y="1188"/>
                      <a:pt x="1629" y="1179"/>
                    </a:cubicBezTo>
                    <a:cubicBezTo>
                      <a:pt x="1529" y="1075"/>
                      <a:pt x="1528" y="1075"/>
                      <a:pt x="1528" y="1075"/>
                    </a:cubicBezTo>
                    <a:close/>
                    <a:moveTo>
                      <a:pt x="332" y="1181"/>
                    </a:moveTo>
                    <a:cubicBezTo>
                      <a:pt x="321" y="1178"/>
                      <a:pt x="311" y="1172"/>
                      <a:pt x="302" y="1164"/>
                    </a:cubicBezTo>
                    <a:cubicBezTo>
                      <a:pt x="236" y="1282"/>
                      <a:pt x="236" y="1282"/>
                      <a:pt x="236" y="1282"/>
                    </a:cubicBezTo>
                    <a:cubicBezTo>
                      <a:pt x="248" y="1287"/>
                      <a:pt x="258" y="1293"/>
                      <a:pt x="266" y="1302"/>
                    </a:cubicBezTo>
                    <a:cubicBezTo>
                      <a:pt x="332" y="1181"/>
                      <a:pt x="332" y="1181"/>
                      <a:pt x="332" y="1181"/>
                    </a:cubicBezTo>
                    <a:cubicBezTo>
                      <a:pt x="332" y="1181"/>
                      <a:pt x="332" y="1181"/>
                      <a:pt x="332" y="1181"/>
                    </a:cubicBezTo>
                    <a:close/>
                    <a:moveTo>
                      <a:pt x="479" y="636"/>
                    </a:moveTo>
                    <a:cubicBezTo>
                      <a:pt x="279" y="486"/>
                      <a:pt x="246" y="462"/>
                      <a:pt x="240" y="457"/>
                    </a:cubicBezTo>
                    <a:cubicBezTo>
                      <a:pt x="235" y="468"/>
                      <a:pt x="228" y="478"/>
                      <a:pt x="218" y="486"/>
                    </a:cubicBezTo>
                    <a:cubicBezTo>
                      <a:pt x="314" y="558"/>
                      <a:pt x="314" y="558"/>
                      <a:pt x="314" y="558"/>
                    </a:cubicBezTo>
                    <a:cubicBezTo>
                      <a:pt x="379" y="607"/>
                      <a:pt x="425" y="641"/>
                      <a:pt x="457" y="665"/>
                    </a:cubicBezTo>
                    <a:cubicBezTo>
                      <a:pt x="463" y="654"/>
                      <a:pt x="470" y="645"/>
                      <a:pt x="479" y="636"/>
                    </a:cubicBezTo>
                    <a:close/>
                    <a:moveTo>
                      <a:pt x="1455" y="824"/>
                    </a:moveTo>
                    <a:cubicBezTo>
                      <a:pt x="1552" y="492"/>
                      <a:pt x="1563" y="457"/>
                      <a:pt x="1564" y="454"/>
                    </a:cubicBezTo>
                    <a:cubicBezTo>
                      <a:pt x="1552" y="452"/>
                      <a:pt x="1539" y="449"/>
                      <a:pt x="1528" y="443"/>
                    </a:cubicBezTo>
                    <a:cubicBezTo>
                      <a:pt x="1467" y="653"/>
                      <a:pt x="1435" y="760"/>
                      <a:pt x="1419" y="814"/>
                    </a:cubicBezTo>
                    <a:cubicBezTo>
                      <a:pt x="1432" y="817"/>
                      <a:pt x="1444" y="819"/>
                      <a:pt x="1455" y="824"/>
                    </a:cubicBezTo>
                    <a:close/>
                    <a:moveTo>
                      <a:pt x="437" y="761"/>
                    </a:moveTo>
                    <a:cubicBezTo>
                      <a:pt x="52" y="832"/>
                      <a:pt x="52" y="832"/>
                      <a:pt x="52" y="832"/>
                    </a:cubicBezTo>
                    <a:cubicBezTo>
                      <a:pt x="56" y="839"/>
                      <a:pt x="60" y="848"/>
                      <a:pt x="60" y="857"/>
                    </a:cubicBezTo>
                    <a:cubicBezTo>
                      <a:pt x="60" y="859"/>
                      <a:pt x="61" y="863"/>
                      <a:pt x="61" y="865"/>
                    </a:cubicBezTo>
                    <a:cubicBezTo>
                      <a:pt x="61" y="866"/>
                      <a:pt x="61" y="866"/>
                      <a:pt x="61" y="866"/>
                    </a:cubicBezTo>
                    <a:cubicBezTo>
                      <a:pt x="262" y="829"/>
                      <a:pt x="377" y="808"/>
                      <a:pt x="444" y="796"/>
                    </a:cubicBezTo>
                    <a:cubicBezTo>
                      <a:pt x="441" y="785"/>
                      <a:pt x="438" y="774"/>
                      <a:pt x="437" y="761"/>
                    </a:cubicBezTo>
                    <a:close/>
                    <a:moveTo>
                      <a:pt x="638" y="184"/>
                    </a:moveTo>
                    <a:cubicBezTo>
                      <a:pt x="666" y="102"/>
                      <a:pt x="666" y="102"/>
                      <a:pt x="666" y="102"/>
                    </a:cubicBezTo>
                    <a:cubicBezTo>
                      <a:pt x="670" y="86"/>
                      <a:pt x="671" y="82"/>
                      <a:pt x="672" y="82"/>
                    </a:cubicBezTo>
                    <a:cubicBezTo>
                      <a:pt x="659" y="81"/>
                      <a:pt x="648" y="76"/>
                      <a:pt x="637" y="70"/>
                    </a:cubicBezTo>
                    <a:cubicBezTo>
                      <a:pt x="611" y="151"/>
                      <a:pt x="604" y="170"/>
                      <a:pt x="603" y="175"/>
                    </a:cubicBezTo>
                    <a:cubicBezTo>
                      <a:pt x="615" y="175"/>
                      <a:pt x="627" y="178"/>
                      <a:pt x="638" y="184"/>
                    </a:cubicBezTo>
                    <a:close/>
                    <a:moveTo>
                      <a:pt x="1281" y="1078"/>
                    </a:moveTo>
                    <a:cubicBezTo>
                      <a:pt x="1274" y="1069"/>
                      <a:pt x="1266" y="1059"/>
                      <a:pt x="1260" y="1049"/>
                    </a:cubicBezTo>
                    <a:cubicBezTo>
                      <a:pt x="1114" y="1163"/>
                      <a:pt x="1033" y="1228"/>
                      <a:pt x="989" y="1262"/>
                    </a:cubicBezTo>
                    <a:cubicBezTo>
                      <a:pt x="996" y="1272"/>
                      <a:pt x="1004" y="1282"/>
                      <a:pt x="1010" y="1293"/>
                    </a:cubicBezTo>
                    <a:cubicBezTo>
                      <a:pt x="1281" y="1078"/>
                      <a:pt x="1281" y="1078"/>
                      <a:pt x="1281" y="1078"/>
                    </a:cubicBezTo>
                    <a:cubicBezTo>
                      <a:pt x="1281" y="1078"/>
                      <a:pt x="1281" y="1078"/>
                      <a:pt x="1281" y="1078"/>
                    </a:cubicBezTo>
                    <a:close/>
                    <a:moveTo>
                      <a:pt x="250" y="381"/>
                    </a:moveTo>
                    <a:cubicBezTo>
                      <a:pt x="493" y="302"/>
                      <a:pt x="532" y="290"/>
                      <a:pt x="539" y="287"/>
                    </a:cubicBezTo>
                    <a:cubicBezTo>
                      <a:pt x="532" y="277"/>
                      <a:pt x="529" y="265"/>
                      <a:pt x="528" y="253"/>
                    </a:cubicBezTo>
                    <a:cubicBezTo>
                      <a:pt x="243" y="346"/>
                      <a:pt x="243" y="346"/>
                      <a:pt x="243" y="346"/>
                    </a:cubicBezTo>
                    <a:cubicBezTo>
                      <a:pt x="577" y="108"/>
                      <a:pt x="626" y="73"/>
                      <a:pt x="632" y="67"/>
                    </a:cubicBezTo>
                    <a:cubicBezTo>
                      <a:pt x="623" y="61"/>
                      <a:pt x="615" y="51"/>
                      <a:pt x="610" y="40"/>
                    </a:cubicBezTo>
                    <a:cubicBezTo>
                      <a:pt x="265" y="285"/>
                      <a:pt x="216" y="321"/>
                      <a:pt x="209" y="326"/>
                    </a:cubicBezTo>
                    <a:cubicBezTo>
                      <a:pt x="229" y="338"/>
                      <a:pt x="244" y="359"/>
                      <a:pt x="250" y="381"/>
                    </a:cubicBezTo>
                    <a:close/>
                    <a:moveTo>
                      <a:pt x="661" y="1414"/>
                    </a:moveTo>
                    <a:cubicBezTo>
                      <a:pt x="659" y="1404"/>
                      <a:pt x="658" y="1392"/>
                      <a:pt x="658" y="1381"/>
                    </a:cubicBezTo>
                    <a:cubicBezTo>
                      <a:pt x="658" y="1381"/>
                      <a:pt x="658" y="1379"/>
                      <a:pt x="658" y="1377"/>
                    </a:cubicBezTo>
                    <a:cubicBezTo>
                      <a:pt x="648" y="1377"/>
                      <a:pt x="648" y="1377"/>
                      <a:pt x="648" y="1377"/>
                    </a:cubicBezTo>
                    <a:cubicBezTo>
                      <a:pt x="469" y="1372"/>
                      <a:pt x="360" y="1369"/>
                      <a:pt x="299" y="1367"/>
                    </a:cubicBezTo>
                    <a:cubicBezTo>
                      <a:pt x="299" y="1369"/>
                      <a:pt x="299" y="1372"/>
                      <a:pt x="299" y="1375"/>
                    </a:cubicBezTo>
                    <a:cubicBezTo>
                      <a:pt x="299" y="1385"/>
                      <a:pt x="299" y="1394"/>
                      <a:pt x="296" y="1403"/>
                    </a:cubicBezTo>
                    <a:cubicBezTo>
                      <a:pt x="496" y="1409"/>
                      <a:pt x="604" y="1412"/>
                      <a:pt x="661" y="1414"/>
                    </a:cubicBezTo>
                    <a:close/>
                    <a:moveTo>
                      <a:pt x="661" y="202"/>
                    </a:moveTo>
                    <a:cubicBezTo>
                      <a:pt x="671" y="215"/>
                      <a:pt x="677" y="231"/>
                      <a:pt x="677" y="249"/>
                    </a:cubicBezTo>
                    <a:cubicBezTo>
                      <a:pt x="677" y="255"/>
                      <a:pt x="677" y="262"/>
                      <a:pt x="675" y="269"/>
                    </a:cubicBezTo>
                    <a:cubicBezTo>
                      <a:pt x="837" y="273"/>
                      <a:pt x="920" y="275"/>
                      <a:pt x="965" y="277"/>
                    </a:cubicBezTo>
                    <a:cubicBezTo>
                      <a:pt x="965" y="264"/>
                      <a:pt x="967" y="252"/>
                      <a:pt x="970" y="241"/>
                    </a:cubicBezTo>
                    <a:cubicBezTo>
                      <a:pt x="682" y="233"/>
                      <a:pt x="682" y="233"/>
                      <a:pt x="682" y="233"/>
                    </a:cubicBezTo>
                    <a:cubicBezTo>
                      <a:pt x="1063" y="69"/>
                      <a:pt x="1063" y="69"/>
                      <a:pt x="1063" y="69"/>
                    </a:cubicBezTo>
                    <a:cubicBezTo>
                      <a:pt x="1053" y="56"/>
                      <a:pt x="1046" y="40"/>
                      <a:pt x="1046" y="21"/>
                    </a:cubicBezTo>
                    <a:cubicBezTo>
                      <a:pt x="1046" y="16"/>
                      <a:pt x="1047" y="12"/>
                      <a:pt x="1047" y="7"/>
                    </a:cubicBezTo>
                    <a:cubicBezTo>
                      <a:pt x="794" y="1"/>
                      <a:pt x="759" y="0"/>
                      <a:pt x="754" y="0"/>
                    </a:cubicBezTo>
                    <a:cubicBezTo>
                      <a:pt x="754" y="3"/>
                      <a:pt x="754" y="6"/>
                      <a:pt x="754" y="9"/>
                    </a:cubicBezTo>
                    <a:cubicBezTo>
                      <a:pt x="754" y="18"/>
                      <a:pt x="753" y="25"/>
                      <a:pt x="750" y="33"/>
                    </a:cubicBezTo>
                    <a:cubicBezTo>
                      <a:pt x="749" y="34"/>
                      <a:pt x="749" y="34"/>
                      <a:pt x="749" y="36"/>
                    </a:cubicBezTo>
                    <a:cubicBezTo>
                      <a:pt x="1034" y="41"/>
                      <a:pt x="1034" y="41"/>
                      <a:pt x="1034" y="41"/>
                    </a:cubicBezTo>
                    <a:cubicBezTo>
                      <a:pt x="710" y="181"/>
                      <a:pt x="666" y="200"/>
                      <a:pt x="661" y="202"/>
                    </a:cubicBezTo>
                    <a:close/>
                    <a:moveTo>
                      <a:pt x="1466" y="338"/>
                    </a:moveTo>
                    <a:cubicBezTo>
                      <a:pt x="1466" y="326"/>
                      <a:pt x="1469" y="314"/>
                      <a:pt x="1473" y="302"/>
                    </a:cubicBezTo>
                    <a:cubicBezTo>
                      <a:pt x="1363" y="285"/>
                      <a:pt x="1299" y="275"/>
                      <a:pt x="1261" y="269"/>
                    </a:cubicBezTo>
                    <a:cubicBezTo>
                      <a:pt x="1261" y="273"/>
                      <a:pt x="1262" y="277"/>
                      <a:pt x="1262" y="281"/>
                    </a:cubicBezTo>
                    <a:cubicBezTo>
                      <a:pt x="1262" y="289"/>
                      <a:pt x="1261" y="297"/>
                      <a:pt x="1260" y="306"/>
                    </a:cubicBezTo>
                    <a:cubicBezTo>
                      <a:pt x="1466" y="338"/>
                      <a:pt x="1466" y="338"/>
                      <a:pt x="1466" y="338"/>
                    </a:cubicBezTo>
                    <a:cubicBezTo>
                      <a:pt x="1466" y="338"/>
                      <a:pt x="1466" y="338"/>
                      <a:pt x="1466" y="33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8" name="Freeform 6">
                <a:extLst>
                  <a:ext uri="{FF2B5EF4-FFF2-40B4-BE49-F238E27FC236}">
                    <a16:creationId xmlns:a16="http://schemas.microsoft.com/office/drawing/2014/main" id="{CAC21824-1D3A-AD82-299F-35B7A73B4DCE}"/>
                  </a:ext>
                </a:extLst>
              </p:cNvPr>
              <p:cNvSpPr>
                <a:spLocks noEditPoints="1"/>
              </p:cNvSpPr>
              <p:nvPr/>
            </p:nvSpPr>
            <p:spPr bwMode="auto">
              <a:xfrm>
                <a:off x="1654176" y="2789238"/>
                <a:ext cx="1304925" cy="1277938"/>
              </a:xfrm>
              <a:custGeom>
                <a:avLst/>
                <a:gdLst>
                  <a:gd name="T0" fmla="*/ 367 w 1828"/>
                  <a:gd name="T1" fmla="*/ 1086 h 1790"/>
                  <a:gd name="T2" fmla="*/ 439 w 1828"/>
                  <a:gd name="T3" fmla="*/ 1133 h 1790"/>
                  <a:gd name="T4" fmla="*/ 1463 w 1828"/>
                  <a:gd name="T5" fmla="*/ 1527 h 1790"/>
                  <a:gd name="T6" fmla="*/ 295 w 1828"/>
                  <a:gd name="T7" fmla="*/ 1404 h 1790"/>
                  <a:gd name="T8" fmla="*/ 1025 w 1828"/>
                  <a:gd name="T9" fmla="*/ 1436 h 1790"/>
                  <a:gd name="T10" fmla="*/ 727 w 1828"/>
                  <a:gd name="T11" fmla="*/ 1408 h 1790"/>
                  <a:gd name="T12" fmla="*/ 877 w 1828"/>
                  <a:gd name="T13" fmla="*/ 1262 h 1790"/>
                  <a:gd name="T14" fmla="*/ 970 w 1828"/>
                  <a:gd name="T15" fmla="*/ 1375 h 1790"/>
                  <a:gd name="T16" fmla="*/ 927 w 1828"/>
                  <a:gd name="T17" fmla="*/ 1318 h 1790"/>
                  <a:gd name="T18" fmla="*/ 885 w 1828"/>
                  <a:gd name="T19" fmla="*/ 1318 h 1790"/>
                  <a:gd name="T20" fmla="*/ 841 w 1828"/>
                  <a:gd name="T21" fmla="*/ 1340 h 1790"/>
                  <a:gd name="T22" fmla="*/ 806 w 1828"/>
                  <a:gd name="T23" fmla="*/ 1362 h 1790"/>
                  <a:gd name="T24" fmla="*/ 777 w 1828"/>
                  <a:gd name="T25" fmla="*/ 1397 h 1790"/>
                  <a:gd name="T26" fmla="*/ 806 w 1828"/>
                  <a:gd name="T27" fmla="*/ 1432 h 1790"/>
                  <a:gd name="T28" fmla="*/ 808 w 1828"/>
                  <a:gd name="T29" fmla="*/ 1483 h 1790"/>
                  <a:gd name="T30" fmla="*/ 857 w 1828"/>
                  <a:gd name="T31" fmla="*/ 1504 h 1790"/>
                  <a:gd name="T32" fmla="*/ 898 w 1828"/>
                  <a:gd name="T33" fmla="*/ 1504 h 1790"/>
                  <a:gd name="T34" fmla="*/ 946 w 1828"/>
                  <a:gd name="T35" fmla="*/ 1483 h 1790"/>
                  <a:gd name="T36" fmla="*/ 949 w 1828"/>
                  <a:gd name="T37" fmla="*/ 1432 h 1790"/>
                  <a:gd name="T38" fmla="*/ 977 w 1828"/>
                  <a:gd name="T39" fmla="*/ 1397 h 1790"/>
                  <a:gd name="T40" fmla="*/ 1463 w 1828"/>
                  <a:gd name="T41" fmla="*/ 929 h 1790"/>
                  <a:gd name="T42" fmla="*/ 1465 w 1828"/>
                  <a:gd name="T43" fmla="*/ 931 h 1790"/>
                  <a:gd name="T44" fmla="*/ 1533 w 1828"/>
                  <a:gd name="T45" fmla="*/ 937 h 1790"/>
                  <a:gd name="T46" fmla="*/ 1322 w 1828"/>
                  <a:gd name="T47" fmla="*/ 1053 h 1790"/>
                  <a:gd name="T48" fmla="*/ 1443 w 1828"/>
                  <a:gd name="T49" fmla="*/ 881 h 1790"/>
                  <a:gd name="T50" fmla="*/ 1382 w 1828"/>
                  <a:gd name="T51" fmla="*/ 918 h 1790"/>
                  <a:gd name="T52" fmla="*/ 58 w 1828"/>
                  <a:gd name="T53" fmla="*/ 894 h 1790"/>
                  <a:gd name="T54" fmla="*/ 1756 w 1828"/>
                  <a:gd name="T55" fmla="*/ 860 h 1790"/>
                  <a:gd name="T56" fmla="*/ 559 w 1828"/>
                  <a:gd name="T57" fmla="*/ 779 h 1790"/>
                  <a:gd name="T58" fmla="*/ 608 w 1828"/>
                  <a:gd name="T59" fmla="*/ 812 h 1790"/>
                  <a:gd name="T60" fmla="*/ 613 w 1828"/>
                  <a:gd name="T61" fmla="*/ 809 h 1790"/>
                  <a:gd name="T62" fmla="*/ 588 w 1828"/>
                  <a:gd name="T63" fmla="*/ 814 h 1790"/>
                  <a:gd name="T64" fmla="*/ 561 w 1828"/>
                  <a:gd name="T65" fmla="*/ 761 h 1790"/>
                  <a:gd name="T66" fmla="*/ 559 w 1828"/>
                  <a:gd name="T67" fmla="*/ 765 h 1790"/>
                  <a:gd name="T68" fmla="*/ 565 w 1828"/>
                  <a:gd name="T69" fmla="*/ 759 h 1790"/>
                  <a:gd name="T70" fmla="*/ 613 w 1828"/>
                  <a:gd name="T71" fmla="*/ 764 h 1790"/>
                  <a:gd name="T72" fmla="*/ 608 w 1828"/>
                  <a:gd name="T73" fmla="*/ 760 h 1790"/>
                  <a:gd name="T74" fmla="*/ 588 w 1828"/>
                  <a:gd name="T75" fmla="*/ 772 h 1790"/>
                  <a:gd name="T76" fmla="*/ 744 w 1828"/>
                  <a:gd name="T77" fmla="*/ 827 h 1790"/>
                  <a:gd name="T78" fmla="*/ 521 w 1828"/>
                  <a:gd name="T79" fmla="*/ 716 h 1790"/>
                  <a:gd name="T80" fmla="*/ 756 w 1828"/>
                  <a:gd name="T81" fmla="*/ 774 h 1790"/>
                  <a:gd name="T82" fmla="*/ 580 w 1828"/>
                  <a:gd name="T83" fmla="*/ 721 h 1790"/>
                  <a:gd name="T84" fmla="*/ 564 w 1828"/>
                  <a:gd name="T85" fmla="*/ 826 h 1790"/>
                  <a:gd name="T86" fmla="*/ 559 w 1828"/>
                  <a:gd name="T87" fmla="*/ 807 h 1790"/>
                  <a:gd name="T88" fmla="*/ 560 w 1828"/>
                  <a:gd name="T89" fmla="*/ 810 h 1790"/>
                  <a:gd name="T90" fmla="*/ 565 w 1828"/>
                  <a:gd name="T91" fmla="*/ 813 h 1790"/>
                  <a:gd name="T92" fmla="*/ 121 w 1828"/>
                  <a:gd name="T93" fmla="*/ 439 h 1790"/>
                  <a:gd name="T94" fmla="*/ 1687 w 1828"/>
                  <a:gd name="T95" fmla="*/ 371 h 1790"/>
                  <a:gd name="T96" fmla="*/ 1206 w 1828"/>
                  <a:gd name="T97" fmla="*/ 406 h 1790"/>
                  <a:gd name="T98" fmla="*/ 1041 w 1828"/>
                  <a:gd name="T99" fmla="*/ 272 h 1790"/>
                  <a:gd name="T100" fmla="*/ 1181 w 1828"/>
                  <a:gd name="T101" fmla="*/ 347 h 1790"/>
                  <a:gd name="T102" fmla="*/ 1170 w 1828"/>
                  <a:gd name="T103" fmla="*/ 345 h 1790"/>
                  <a:gd name="T104" fmla="*/ 1090 w 1828"/>
                  <a:gd name="T105" fmla="*/ 330 h 1790"/>
                  <a:gd name="T106" fmla="*/ 1225 w 1828"/>
                  <a:gd name="T107" fmla="*/ 300 h 1790"/>
                  <a:gd name="T108" fmla="*/ 1219 w 1828"/>
                  <a:gd name="T109" fmla="*/ 314 h 1790"/>
                  <a:gd name="T110" fmla="*/ 1116 w 1828"/>
                  <a:gd name="T111" fmla="*/ 48 h 1790"/>
                  <a:gd name="T112" fmla="*/ 749 w 1828"/>
                  <a:gd name="T113" fmla="*/ 37 h 1790"/>
                  <a:gd name="T114" fmla="*/ 886 w 1828"/>
                  <a:gd name="T115" fmla="*/ 1363 h 1790"/>
                  <a:gd name="T116" fmla="*/ 832 w 1828"/>
                  <a:gd name="T117" fmla="*/ 1374 h 1790"/>
                  <a:gd name="T118" fmla="*/ 832 w 1828"/>
                  <a:gd name="T119" fmla="*/ 1451 h 1790"/>
                  <a:gd name="T120" fmla="*/ 886 w 1828"/>
                  <a:gd name="T121" fmla="*/ 1461 h 1790"/>
                  <a:gd name="T122" fmla="*/ 926 w 1828"/>
                  <a:gd name="T123" fmla="*/ 1449 h 1790"/>
                  <a:gd name="T124" fmla="*/ 926 w 1828"/>
                  <a:gd name="T125" fmla="*/ 1365 h 1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8" h="1790">
                    <a:moveTo>
                      <a:pt x="879" y="1753"/>
                    </a:moveTo>
                    <a:cubicBezTo>
                      <a:pt x="879" y="1732"/>
                      <a:pt x="895" y="1716"/>
                      <a:pt x="916" y="1716"/>
                    </a:cubicBezTo>
                    <a:cubicBezTo>
                      <a:pt x="936" y="1716"/>
                      <a:pt x="953" y="1732"/>
                      <a:pt x="953" y="1753"/>
                    </a:cubicBezTo>
                    <a:cubicBezTo>
                      <a:pt x="953" y="1773"/>
                      <a:pt x="936" y="1790"/>
                      <a:pt x="916" y="1790"/>
                    </a:cubicBezTo>
                    <a:cubicBezTo>
                      <a:pt x="895" y="1790"/>
                      <a:pt x="879" y="1773"/>
                      <a:pt x="879" y="1753"/>
                    </a:cubicBezTo>
                    <a:close/>
                    <a:moveTo>
                      <a:pt x="391" y="1079"/>
                    </a:moveTo>
                    <a:cubicBezTo>
                      <a:pt x="383" y="1079"/>
                      <a:pt x="375" y="1082"/>
                      <a:pt x="367" y="1086"/>
                    </a:cubicBezTo>
                    <a:cubicBezTo>
                      <a:pt x="357" y="1093"/>
                      <a:pt x="349" y="1103"/>
                      <a:pt x="345" y="1116"/>
                    </a:cubicBezTo>
                    <a:cubicBezTo>
                      <a:pt x="344" y="1120"/>
                      <a:pt x="344" y="1123"/>
                      <a:pt x="344" y="1127"/>
                    </a:cubicBezTo>
                    <a:cubicBezTo>
                      <a:pt x="344" y="1139"/>
                      <a:pt x="348" y="1149"/>
                      <a:pt x="354" y="1158"/>
                    </a:cubicBezTo>
                    <a:cubicBezTo>
                      <a:pt x="361" y="1166"/>
                      <a:pt x="371" y="1173"/>
                      <a:pt x="383" y="1174"/>
                    </a:cubicBezTo>
                    <a:cubicBezTo>
                      <a:pt x="386" y="1175"/>
                      <a:pt x="389" y="1175"/>
                      <a:pt x="391" y="1175"/>
                    </a:cubicBezTo>
                    <a:cubicBezTo>
                      <a:pt x="402" y="1175"/>
                      <a:pt x="412" y="1172"/>
                      <a:pt x="421" y="1165"/>
                    </a:cubicBezTo>
                    <a:cubicBezTo>
                      <a:pt x="431" y="1158"/>
                      <a:pt x="438" y="1146"/>
                      <a:pt x="439" y="1133"/>
                    </a:cubicBezTo>
                    <a:cubicBezTo>
                      <a:pt x="439" y="1132"/>
                      <a:pt x="439" y="1129"/>
                      <a:pt x="439" y="1127"/>
                    </a:cubicBezTo>
                    <a:cubicBezTo>
                      <a:pt x="439" y="1101"/>
                      <a:pt x="418" y="1079"/>
                      <a:pt x="391" y="1079"/>
                    </a:cubicBezTo>
                    <a:close/>
                    <a:moveTo>
                      <a:pt x="1463" y="1527"/>
                    </a:moveTo>
                    <a:cubicBezTo>
                      <a:pt x="1463" y="1547"/>
                      <a:pt x="1479" y="1564"/>
                      <a:pt x="1500" y="1564"/>
                    </a:cubicBezTo>
                    <a:cubicBezTo>
                      <a:pt x="1520" y="1564"/>
                      <a:pt x="1537" y="1547"/>
                      <a:pt x="1537" y="1527"/>
                    </a:cubicBezTo>
                    <a:cubicBezTo>
                      <a:pt x="1537" y="1506"/>
                      <a:pt x="1520" y="1490"/>
                      <a:pt x="1500" y="1490"/>
                    </a:cubicBezTo>
                    <a:cubicBezTo>
                      <a:pt x="1479" y="1490"/>
                      <a:pt x="1463" y="1506"/>
                      <a:pt x="1463" y="1527"/>
                    </a:cubicBezTo>
                    <a:close/>
                    <a:moveTo>
                      <a:pt x="295" y="1396"/>
                    </a:moveTo>
                    <a:cubicBezTo>
                      <a:pt x="293" y="1384"/>
                      <a:pt x="288" y="1374"/>
                      <a:pt x="281" y="1364"/>
                    </a:cubicBezTo>
                    <a:cubicBezTo>
                      <a:pt x="274" y="1355"/>
                      <a:pt x="263" y="1347"/>
                      <a:pt x="252" y="1343"/>
                    </a:cubicBezTo>
                    <a:cubicBezTo>
                      <a:pt x="245" y="1341"/>
                      <a:pt x="237" y="1340"/>
                      <a:pt x="230" y="1340"/>
                    </a:cubicBezTo>
                    <a:cubicBezTo>
                      <a:pt x="193" y="1340"/>
                      <a:pt x="165" y="1369"/>
                      <a:pt x="165" y="1404"/>
                    </a:cubicBezTo>
                    <a:cubicBezTo>
                      <a:pt x="165" y="1439"/>
                      <a:pt x="193" y="1468"/>
                      <a:pt x="230" y="1468"/>
                    </a:cubicBezTo>
                    <a:cubicBezTo>
                      <a:pt x="266" y="1468"/>
                      <a:pt x="295" y="1439"/>
                      <a:pt x="295" y="1404"/>
                    </a:cubicBezTo>
                    <a:cubicBezTo>
                      <a:pt x="295" y="1403"/>
                      <a:pt x="295" y="1402"/>
                      <a:pt x="295" y="1401"/>
                    </a:cubicBezTo>
                    <a:cubicBezTo>
                      <a:pt x="295" y="1400"/>
                      <a:pt x="295" y="1397"/>
                      <a:pt x="295" y="1396"/>
                    </a:cubicBezTo>
                    <a:close/>
                    <a:moveTo>
                      <a:pt x="1012" y="1346"/>
                    </a:moveTo>
                    <a:cubicBezTo>
                      <a:pt x="1018" y="1358"/>
                      <a:pt x="1022" y="1370"/>
                      <a:pt x="1024" y="1384"/>
                    </a:cubicBezTo>
                    <a:cubicBezTo>
                      <a:pt x="1026" y="1392"/>
                      <a:pt x="1027" y="1401"/>
                      <a:pt x="1027" y="1411"/>
                    </a:cubicBezTo>
                    <a:cubicBezTo>
                      <a:pt x="1027" y="1414"/>
                      <a:pt x="1027" y="1417"/>
                      <a:pt x="1027" y="1420"/>
                    </a:cubicBezTo>
                    <a:cubicBezTo>
                      <a:pt x="1027" y="1425"/>
                      <a:pt x="1026" y="1431"/>
                      <a:pt x="1025" y="1436"/>
                    </a:cubicBezTo>
                    <a:cubicBezTo>
                      <a:pt x="1023" y="1449"/>
                      <a:pt x="1019" y="1461"/>
                      <a:pt x="1014" y="1472"/>
                    </a:cubicBezTo>
                    <a:cubicBezTo>
                      <a:pt x="995" y="1516"/>
                      <a:pt x="955" y="1549"/>
                      <a:pt x="907" y="1558"/>
                    </a:cubicBezTo>
                    <a:cubicBezTo>
                      <a:pt x="897" y="1560"/>
                      <a:pt x="887" y="1560"/>
                      <a:pt x="877" y="1560"/>
                    </a:cubicBezTo>
                    <a:cubicBezTo>
                      <a:pt x="875" y="1560"/>
                      <a:pt x="873" y="1560"/>
                      <a:pt x="871" y="1560"/>
                    </a:cubicBezTo>
                    <a:cubicBezTo>
                      <a:pt x="802" y="1558"/>
                      <a:pt x="746" y="1509"/>
                      <a:pt x="731" y="1445"/>
                    </a:cubicBezTo>
                    <a:cubicBezTo>
                      <a:pt x="729" y="1434"/>
                      <a:pt x="727" y="1423"/>
                      <a:pt x="727" y="1411"/>
                    </a:cubicBezTo>
                    <a:cubicBezTo>
                      <a:pt x="727" y="1410"/>
                      <a:pt x="727" y="1409"/>
                      <a:pt x="727" y="1408"/>
                    </a:cubicBezTo>
                    <a:cubicBezTo>
                      <a:pt x="728" y="1396"/>
                      <a:pt x="729" y="1384"/>
                      <a:pt x="732" y="1372"/>
                    </a:cubicBezTo>
                    <a:cubicBezTo>
                      <a:pt x="733" y="1370"/>
                      <a:pt x="733" y="1369"/>
                      <a:pt x="734" y="1367"/>
                    </a:cubicBezTo>
                    <a:cubicBezTo>
                      <a:pt x="737" y="1356"/>
                      <a:pt x="742" y="1345"/>
                      <a:pt x="748" y="1335"/>
                    </a:cubicBezTo>
                    <a:cubicBezTo>
                      <a:pt x="749" y="1334"/>
                      <a:pt x="750" y="1332"/>
                      <a:pt x="751" y="1331"/>
                    </a:cubicBezTo>
                    <a:cubicBezTo>
                      <a:pt x="762" y="1313"/>
                      <a:pt x="779" y="1297"/>
                      <a:pt x="797" y="1285"/>
                    </a:cubicBezTo>
                    <a:cubicBezTo>
                      <a:pt x="807" y="1278"/>
                      <a:pt x="818" y="1273"/>
                      <a:pt x="830" y="1269"/>
                    </a:cubicBezTo>
                    <a:cubicBezTo>
                      <a:pt x="846" y="1265"/>
                      <a:pt x="861" y="1262"/>
                      <a:pt x="877" y="1262"/>
                    </a:cubicBezTo>
                    <a:cubicBezTo>
                      <a:pt x="924" y="1262"/>
                      <a:pt x="964" y="1282"/>
                      <a:pt x="992" y="1314"/>
                    </a:cubicBezTo>
                    <a:cubicBezTo>
                      <a:pt x="1000" y="1324"/>
                      <a:pt x="1007" y="1335"/>
                      <a:pt x="1012" y="1346"/>
                    </a:cubicBezTo>
                    <a:close/>
                    <a:moveTo>
                      <a:pt x="970" y="1391"/>
                    </a:moveTo>
                    <a:cubicBezTo>
                      <a:pt x="970" y="1391"/>
                      <a:pt x="970" y="1391"/>
                      <a:pt x="970" y="1391"/>
                    </a:cubicBezTo>
                    <a:cubicBezTo>
                      <a:pt x="949" y="1391"/>
                      <a:pt x="949" y="1391"/>
                      <a:pt x="949" y="1391"/>
                    </a:cubicBezTo>
                    <a:cubicBezTo>
                      <a:pt x="949" y="1385"/>
                      <a:pt x="949" y="1380"/>
                      <a:pt x="949" y="1375"/>
                    </a:cubicBezTo>
                    <a:cubicBezTo>
                      <a:pt x="949" y="1375"/>
                      <a:pt x="949" y="1375"/>
                      <a:pt x="970" y="1375"/>
                    </a:cubicBezTo>
                    <a:cubicBezTo>
                      <a:pt x="974" y="1375"/>
                      <a:pt x="977" y="1372"/>
                      <a:pt x="977" y="1369"/>
                    </a:cubicBezTo>
                    <a:cubicBezTo>
                      <a:pt x="977" y="1365"/>
                      <a:pt x="974" y="1362"/>
                      <a:pt x="970" y="1362"/>
                    </a:cubicBezTo>
                    <a:cubicBezTo>
                      <a:pt x="970" y="1362"/>
                      <a:pt x="970" y="1362"/>
                      <a:pt x="949" y="1362"/>
                    </a:cubicBezTo>
                    <a:cubicBezTo>
                      <a:pt x="949" y="1356"/>
                      <a:pt x="949" y="1349"/>
                      <a:pt x="949" y="1342"/>
                    </a:cubicBezTo>
                    <a:cubicBezTo>
                      <a:pt x="949" y="1341"/>
                      <a:pt x="947" y="1340"/>
                      <a:pt x="946" y="1340"/>
                    </a:cubicBezTo>
                    <a:cubicBezTo>
                      <a:pt x="946" y="1340"/>
                      <a:pt x="946" y="1340"/>
                      <a:pt x="927" y="1340"/>
                    </a:cubicBezTo>
                    <a:cubicBezTo>
                      <a:pt x="927" y="1340"/>
                      <a:pt x="927" y="1340"/>
                      <a:pt x="927" y="1318"/>
                    </a:cubicBezTo>
                    <a:cubicBezTo>
                      <a:pt x="927" y="1314"/>
                      <a:pt x="924" y="1311"/>
                      <a:pt x="920" y="1311"/>
                    </a:cubicBezTo>
                    <a:cubicBezTo>
                      <a:pt x="916" y="1311"/>
                      <a:pt x="913" y="1314"/>
                      <a:pt x="913" y="1318"/>
                    </a:cubicBezTo>
                    <a:cubicBezTo>
                      <a:pt x="913" y="1318"/>
                      <a:pt x="913" y="1318"/>
                      <a:pt x="913" y="1340"/>
                    </a:cubicBezTo>
                    <a:cubicBezTo>
                      <a:pt x="909" y="1340"/>
                      <a:pt x="904" y="1340"/>
                      <a:pt x="898" y="1340"/>
                    </a:cubicBezTo>
                    <a:cubicBezTo>
                      <a:pt x="898" y="1340"/>
                      <a:pt x="898" y="1340"/>
                      <a:pt x="898" y="1318"/>
                    </a:cubicBezTo>
                    <a:cubicBezTo>
                      <a:pt x="898" y="1314"/>
                      <a:pt x="896" y="1311"/>
                      <a:pt x="891" y="1311"/>
                    </a:cubicBezTo>
                    <a:cubicBezTo>
                      <a:pt x="888" y="1311"/>
                      <a:pt x="885" y="1314"/>
                      <a:pt x="885" y="1318"/>
                    </a:cubicBezTo>
                    <a:cubicBezTo>
                      <a:pt x="885" y="1318"/>
                      <a:pt x="885" y="1318"/>
                      <a:pt x="885" y="1340"/>
                    </a:cubicBezTo>
                    <a:cubicBezTo>
                      <a:pt x="880" y="1340"/>
                      <a:pt x="875" y="1340"/>
                      <a:pt x="870" y="1340"/>
                    </a:cubicBezTo>
                    <a:cubicBezTo>
                      <a:pt x="870" y="1340"/>
                      <a:pt x="870" y="1340"/>
                      <a:pt x="870" y="1318"/>
                    </a:cubicBezTo>
                    <a:cubicBezTo>
                      <a:pt x="870" y="1314"/>
                      <a:pt x="867" y="1311"/>
                      <a:pt x="863" y="1311"/>
                    </a:cubicBezTo>
                    <a:cubicBezTo>
                      <a:pt x="859" y="1311"/>
                      <a:pt x="857" y="1314"/>
                      <a:pt x="857" y="1318"/>
                    </a:cubicBezTo>
                    <a:cubicBezTo>
                      <a:pt x="857" y="1318"/>
                      <a:pt x="857" y="1318"/>
                      <a:pt x="857" y="1340"/>
                    </a:cubicBezTo>
                    <a:cubicBezTo>
                      <a:pt x="851" y="1340"/>
                      <a:pt x="846" y="1340"/>
                      <a:pt x="841" y="1340"/>
                    </a:cubicBezTo>
                    <a:cubicBezTo>
                      <a:pt x="841" y="1340"/>
                      <a:pt x="841" y="1340"/>
                      <a:pt x="841" y="1318"/>
                    </a:cubicBezTo>
                    <a:cubicBezTo>
                      <a:pt x="841" y="1314"/>
                      <a:pt x="838" y="1311"/>
                      <a:pt x="835" y="1311"/>
                    </a:cubicBezTo>
                    <a:cubicBezTo>
                      <a:pt x="830" y="1311"/>
                      <a:pt x="828" y="1314"/>
                      <a:pt x="828" y="1318"/>
                    </a:cubicBezTo>
                    <a:cubicBezTo>
                      <a:pt x="828" y="1318"/>
                      <a:pt x="828" y="1318"/>
                      <a:pt x="828" y="1340"/>
                    </a:cubicBezTo>
                    <a:cubicBezTo>
                      <a:pt x="822" y="1340"/>
                      <a:pt x="815" y="1340"/>
                      <a:pt x="808" y="1340"/>
                    </a:cubicBezTo>
                    <a:cubicBezTo>
                      <a:pt x="807" y="1340"/>
                      <a:pt x="806" y="1341"/>
                      <a:pt x="806" y="1342"/>
                    </a:cubicBezTo>
                    <a:cubicBezTo>
                      <a:pt x="806" y="1342"/>
                      <a:pt x="806" y="1342"/>
                      <a:pt x="806" y="1362"/>
                    </a:cubicBezTo>
                    <a:cubicBezTo>
                      <a:pt x="806" y="1362"/>
                      <a:pt x="806" y="1362"/>
                      <a:pt x="784" y="1362"/>
                    </a:cubicBezTo>
                    <a:cubicBezTo>
                      <a:pt x="780" y="1362"/>
                      <a:pt x="777" y="1365"/>
                      <a:pt x="777" y="1369"/>
                    </a:cubicBezTo>
                    <a:cubicBezTo>
                      <a:pt x="777" y="1372"/>
                      <a:pt x="780" y="1375"/>
                      <a:pt x="784" y="1375"/>
                    </a:cubicBezTo>
                    <a:cubicBezTo>
                      <a:pt x="784" y="1375"/>
                      <a:pt x="784" y="1375"/>
                      <a:pt x="806" y="1375"/>
                    </a:cubicBezTo>
                    <a:cubicBezTo>
                      <a:pt x="806" y="1380"/>
                      <a:pt x="806" y="1385"/>
                      <a:pt x="806" y="1391"/>
                    </a:cubicBezTo>
                    <a:cubicBezTo>
                      <a:pt x="806" y="1391"/>
                      <a:pt x="806" y="1391"/>
                      <a:pt x="784" y="1391"/>
                    </a:cubicBezTo>
                    <a:cubicBezTo>
                      <a:pt x="780" y="1391"/>
                      <a:pt x="777" y="1393"/>
                      <a:pt x="777" y="1397"/>
                    </a:cubicBezTo>
                    <a:cubicBezTo>
                      <a:pt x="777" y="1401"/>
                      <a:pt x="780" y="1404"/>
                      <a:pt x="784" y="1404"/>
                    </a:cubicBezTo>
                    <a:cubicBezTo>
                      <a:pt x="784" y="1404"/>
                      <a:pt x="784" y="1404"/>
                      <a:pt x="806" y="1404"/>
                    </a:cubicBezTo>
                    <a:cubicBezTo>
                      <a:pt x="806" y="1408"/>
                      <a:pt x="806" y="1413"/>
                      <a:pt x="806" y="1418"/>
                    </a:cubicBezTo>
                    <a:cubicBezTo>
                      <a:pt x="806" y="1418"/>
                      <a:pt x="806" y="1418"/>
                      <a:pt x="784" y="1418"/>
                    </a:cubicBezTo>
                    <a:cubicBezTo>
                      <a:pt x="780" y="1418"/>
                      <a:pt x="777" y="1422"/>
                      <a:pt x="777" y="1425"/>
                    </a:cubicBezTo>
                    <a:cubicBezTo>
                      <a:pt x="777" y="1429"/>
                      <a:pt x="780" y="1432"/>
                      <a:pt x="784" y="1432"/>
                    </a:cubicBezTo>
                    <a:cubicBezTo>
                      <a:pt x="784" y="1432"/>
                      <a:pt x="784" y="1432"/>
                      <a:pt x="806" y="1432"/>
                    </a:cubicBezTo>
                    <a:cubicBezTo>
                      <a:pt x="806" y="1437"/>
                      <a:pt x="806" y="1442"/>
                      <a:pt x="806" y="1447"/>
                    </a:cubicBezTo>
                    <a:cubicBezTo>
                      <a:pt x="806" y="1447"/>
                      <a:pt x="806" y="1447"/>
                      <a:pt x="784" y="1447"/>
                    </a:cubicBezTo>
                    <a:cubicBezTo>
                      <a:pt x="780" y="1447"/>
                      <a:pt x="777" y="1450"/>
                      <a:pt x="777" y="1454"/>
                    </a:cubicBezTo>
                    <a:cubicBezTo>
                      <a:pt x="777" y="1457"/>
                      <a:pt x="780" y="1461"/>
                      <a:pt x="784" y="1461"/>
                    </a:cubicBezTo>
                    <a:cubicBezTo>
                      <a:pt x="784" y="1461"/>
                      <a:pt x="784" y="1461"/>
                      <a:pt x="806" y="1461"/>
                    </a:cubicBezTo>
                    <a:cubicBezTo>
                      <a:pt x="806" y="1467"/>
                      <a:pt x="806" y="1473"/>
                      <a:pt x="806" y="1480"/>
                    </a:cubicBezTo>
                    <a:cubicBezTo>
                      <a:pt x="806" y="1482"/>
                      <a:pt x="807" y="1483"/>
                      <a:pt x="808" y="1483"/>
                    </a:cubicBezTo>
                    <a:cubicBezTo>
                      <a:pt x="808" y="1483"/>
                      <a:pt x="808" y="1483"/>
                      <a:pt x="828" y="1483"/>
                    </a:cubicBezTo>
                    <a:cubicBezTo>
                      <a:pt x="828" y="1483"/>
                      <a:pt x="828" y="1483"/>
                      <a:pt x="828" y="1504"/>
                    </a:cubicBezTo>
                    <a:cubicBezTo>
                      <a:pt x="828" y="1508"/>
                      <a:pt x="830" y="1511"/>
                      <a:pt x="835" y="1511"/>
                    </a:cubicBezTo>
                    <a:cubicBezTo>
                      <a:pt x="838" y="1511"/>
                      <a:pt x="841" y="1508"/>
                      <a:pt x="841" y="1504"/>
                    </a:cubicBezTo>
                    <a:cubicBezTo>
                      <a:pt x="841" y="1504"/>
                      <a:pt x="841" y="1504"/>
                      <a:pt x="841" y="1483"/>
                    </a:cubicBezTo>
                    <a:cubicBezTo>
                      <a:pt x="846" y="1483"/>
                      <a:pt x="851" y="1483"/>
                      <a:pt x="857" y="1483"/>
                    </a:cubicBezTo>
                    <a:cubicBezTo>
                      <a:pt x="857" y="1483"/>
                      <a:pt x="857" y="1483"/>
                      <a:pt x="857" y="1504"/>
                    </a:cubicBezTo>
                    <a:cubicBezTo>
                      <a:pt x="857" y="1508"/>
                      <a:pt x="859" y="1511"/>
                      <a:pt x="863" y="1511"/>
                    </a:cubicBezTo>
                    <a:cubicBezTo>
                      <a:pt x="867" y="1511"/>
                      <a:pt x="870" y="1508"/>
                      <a:pt x="870" y="1504"/>
                    </a:cubicBezTo>
                    <a:cubicBezTo>
                      <a:pt x="870" y="1504"/>
                      <a:pt x="870" y="1504"/>
                      <a:pt x="870" y="1483"/>
                    </a:cubicBezTo>
                    <a:cubicBezTo>
                      <a:pt x="874" y="1483"/>
                      <a:pt x="879" y="1483"/>
                      <a:pt x="885" y="1483"/>
                    </a:cubicBezTo>
                    <a:cubicBezTo>
                      <a:pt x="885" y="1483"/>
                      <a:pt x="885" y="1483"/>
                      <a:pt x="885" y="1504"/>
                    </a:cubicBezTo>
                    <a:cubicBezTo>
                      <a:pt x="885" y="1508"/>
                      <a:pt x="888" y="1511"/>
                      <a:pt x="891" y="1511"/>
                    </a:cubicBezTo>
                    <a:cubicBezTo>
                      <a:pt x="896" y="1511"/>
                      <a:pt x="898" y="1508"/>
                      <a:pt x="898" y="1504"/>
                    </a:cubicBezTo>
                    <a:cubicBezTo>
                      <a:pt x="898" y="1504"/>
                      <a:pt x="898" y="1504"/>
                      <a:pt x="898" y="1483"/>
                    </a:cubicBezTo>
                    <a:cubicBezTo>
                      <a:pt x="903" y="1483"/>
                      <a:pt x="908" y="1483"/>
                      <a:pt x="913" y="1483"/>
                    </a:cubicBezTo>
                    <a:cubicBezTo>
                      <a:pt x="913" y="1483"/>
                      <a:pt x="913" y="1483"/>
                      <a:pt x="913" y="1504"/>
                    </a:cubicBezTo>
                    <a:cubicBezTo>
                      <a:pt x="913" y="1508"/>
                      <a:pt x="916" y="1511"/>
                      <a:pt x="920" y="1511"/>
                    </a:cubicBezTo>
                    <a:cubicBezTo>
                      <a:pt x="924" y="1511"/>
                      <a:pt x="927" y="1508"/>
                      <a:pt x="927" y="1504"/>
                    </a:cubicBezTo>
                    <a:cubicBezTo>
                      <a:pt x="927" y="1504"/>
                      <a:pt x="927" y="1504"/>
                      <a:pt x="927" y="1483"/>
                    </a:cubicBezTo>
                    <a:cubicBezTo>
                      <a:pt x="933" y="1483"/>
                      <a:pt x="940" y="1483"/>
                      <a:pt x="946" y="1483"/>
                    </a:cubicBezTo>
                    <a:cubicBezTo>
                      <a:pt x="947" y="1483"/>
                      <a:pt x="949" y="1482"/>
                      <a:pt x="949" y="1480"/>
                    </a:cubicBezTo>
                    <a:cubicBezTo>
                      <a:pt x="949" y="1480"/>
                      <a:pt x="949" y="1480"/>
                      <a:pt x="949" y="1461"/>
                    </a:cubicBezTo>
                    <a:cubicBezTo>
                      <a:pt x="949" y="1461"/>
                      <a:pt x="949" y="1461"/>
                      <a:pt x="970" y="1461"/>
                    </a:cubicBezTo>
                    <a:cubicBezTo>
                      <a:pt x="974" y="1461"/>
                      <a:pt x="977" y="1457"/>
                      <a:pt x="977" y="1454"/>
                    </a:cubicBezTo>
                    <a:cubicBezTo>
                      <a:pt x="977" y="1450"/>
                      <a:pt x="974" y="1447"/>
                      <a:pt x="970" y="1447"/>
                    </a:cubicBezTo>
                    <a:cubicBezTo>
                      <a:pt x="970" y="1447"/>
                      <a:pt x="970" y="1447"/>
                      <a:pt x="949" y="1447"/>
                    </a:cubicBezTo>
                    <a:cubicBezTo>
                      <a:pt x="949" y="1443"/>
                      <a:pt x="949" y="1438"/>
                      <a:pt x="949" y="1432"/>
                    </a:cubicBezTo>
                    <a:cubicBezTo>
                      <a:pt x="949" y="1432"/>
                      <a:pt x="949" y="1432"/>
                      <a:pt x="970" y="1432"/>
                    </a:cubicBezTo>
                    <a:cubicBezTo>
                      <a:pt x="974" y="1432"/>
                      <a:pt x="977" y="1429"/>
                      <a:pt x="977" y="1425"/>
                    </a:cubicBezTo>
                    <a:cubicBezTo>
                      <a:pt x="977" y="1422"/>
                      <a:pt x="974" y="1418"/>
                      <a:pt x="970" y="1418"/>
                    </a:cubicBezTo>
                    <a:cubicBezTo>
                      <a:pt x="970" y="1418"/>
                      <a:pt x="970" y="1418"/>
                      <a:pt x="949" y="1418"/>
                    </a:cubicBezTo>
                    <a:cubicBezTo>
                      <a:pt x="949" y="1414"/>
                      <a:pt x="949" y="1409"/>
                      <a:pt x="949" y="1404"/>
                    </a:cubicBezTo>
                    <a:cubicBezTo>
                      <a:pt x="949" y="1404"/>
                      <a:pt x="949" y="1404"/>
                      <a:pt x="970" y="1404"/>
                    </a:cubicBezTo>
                    <a:cubicBezTo>
                      <a:pt x="974" y="1404"/>
                      <a:pt x="977" y="1401"/>
                      <a:pt x="977" y="1397"/>
                    </a:cubicBezTo>
                    <a:cubicBezTo>
                      <a:pt x="977" y="1393"/>
                      <a:pt x="974" y="1391"/>
                      <a:pt x="970" y="1391"/>
                    </a:cubicBezTo>
                    <a:close/>
                    <a:moveTo>
                      <a:pt x="1676" y="1260"/>
                    </a:moveTo>
                    <a:cubicBezTo>
                      <a:pt x="1676" y="1281"/>
                      <a:pt x="1693" y="1298"/>
                      <a:pt x="1714" y="1298"/>
                    </a:cubicBezTo>
                    <a:cubicBezTo>
                      <a:pt x="1735" y="1298"/>
                      <a:pt x="1752" y="1281"/>
                      <a:pt x="1752" y="1260"/>
                    </a:cubicBezTo>
                    <a:cubicBezTo>
                      <a:pt x="1752" y="1239"/>
                      <a:pt x="1735" y="1222"/>
                      <a:pt x="1714" y="1222"/>
                    </a:cubicBezTo>
                    <a:cubicBezTo>
                      <a:pt x="1693" y="1222"/>
                      <a:pt x="1676" y="1239"/>
                      <a:pt x="1676" y="1260"/>
                    </a:cubicBezTo>
                    <a:close/>
                    <a:moveTo>
                      <a:pt x="1463" y="929"/>
                    </a:moveTo>
                    <a:cubicBezTo>
                      <a:pt x="1463" y="929"/>
                      <a:pt x="1463" y="929"/>
                      <a:pt x="1399" y="929"/>
                    </a:cubicBezTo>
                    <a:cubicBezTo>
                      <a:pt x="1399" y="929"/>
                      <a:pt x="1398" y="930"/>
                      <a:pt x="1398" y="931"/>
                    </a:cubicBezTo>
                    <a:cubicBezTo>
                      <a:pt x="1398" y="931"/>
                      <a:pt x="1398" y="931"/>
                      <a:pt x="1398" y="1039"/>
                    </a:cubicBezTo>
                    <a:cubicBezTo>
                      <a:pt x="1398" y="1040"/>
                      <a:pt x="1399" y="1041"/>
                      <a:pt x="1399" y="1041"/>
                    </a:cubicBezTo>
                    <a:cubicBezTo>
                      <a:pt x="1399" y="1041"/>
                      <a:pt x="1399" y="1041"/>
                      <a:pt x="1463" y="1041"/>
                    </a:cubicBezTo>
                    <a:cubicBezTo>
                      <a:pt x="1464" y="1041"/>
                      <a:pt x="1465" y="1040"/>
                      <a:pt x="1465" y="1039"/>
                    </a:cubicBezTo>
                    <a:cubicBezTo>
                      <a:pt x="1465" y="931"/>
                      <a:pt x="1465" y="931"/>
                      <a:pt x="1465" y="931"/>
                    </a:cubicBezTo>
                    <a:cubicBezTo>
                      <a:pt x="1465" y="930"/>
                      <a:pt x="1464" y="929"/>
                      <a:pt x="1463" y="929"/>
                    </a:cubicBezTo>
                    <a:close/>
                    <a:moveTo>
                      <a:pt x="1419" y="1066"/>
                    </a:moveTo>
                    <a:cubicBezTo>
                      <a:pt x="1419" y="1072"/>
                      <a:pt x="1425" y="1078"/>
                      <a:pt x="1431" y="1078"/>
                    </a:cubicBezTo>
                    <a:cubicBezTo>
                      <a:pt x="1438" y="1078"/>
                      <a:pt x="1443" y="1072"/>
                      <a:pt x="1443" y="1066"/>
                    </a:cubicBezTo>
                    <a:cubicBezTo>
                      <a:pt x="1443" y="1059"/>
                      <a:pt x="1438" y="1054"/>
                      <a:pt x="1431" y="1054"/>
                    </a:cubicBezTo>
                    <a:cubicBezTo>
                      <a:pt x="1425" y="1054"/>
                      <a:pt x="1419" y="1059"/>
                      <a:pt x="1419" y="1066"/>
                    </a:cubicBezTo>
                    <a:close/>
                    <a:moveTo>
                      <a:pt x="1533" y="937"/>
                    </a:moveTo>
                    <a:cubicBezTo>
                      <a:pt x="1539" y="947"/>
                      <a:pt x="1545" y="959"/>
                      <a:pt x="1548" y="971"/>
                    </a:cubicBezTo>
                    <a:cubicBezTo>
                      <a:pt x="1551" y="980"/>
                      <a:pt x="1551" y="990"/>
                      <a:pt x="1551" y="1000"/>
                    </a:cubicBezTo>
                    <a:cubicBezTo>
                      <a:pt x="1551" y="1026"/>
                      <a:pt x="1543" y="1049"/>
                      <a:pt x="1529" y="1069"/>
                    </a:cubicBezTo>
                    <a:cubicBezTo>
                      <a:pt x="1522" y="1079"/>
                      <a:pt x="1514" y="1087"/>
                      <a:pt x="1504" y="1095"/>
                    </a:cubicBezTo>
                    <a:cubicBezTo>
                      <a:pt x="1484" y="1110"/>
                      <a:pt x="1458" y="1119"/>
                      <a:pt x="1431" y="1119"/>
                    </a:cubicBezTo>
                    <a:cubicBezTo>
                      <a:pt x="1396" y="1119"/>
                      <a:pt x="1366" y="1106"/>
                      <a:pt x="1343" y="1083"/>
                    </a:cubicBezTo>
                    <a:cubicBezTo>
                      <a:pt x="1335" y="1075"/>
                      <a:pt x="1327" y="1064"/>
                      <a:pt x="1322" y="1053"/>
                    </a:cubicBezTo>
                    <a:cubicBezTo>
                      <a:pt x="1313" y="1037"/>
                      <a:pt x="1309" y="1019"/>
                      <a:pt x="1309" y="1000"/>
                    </a:cubicBezTo>
                    <a:cubicBezTo>
                      <a:pt x="1309" y="994"/>
                      <a:pt x="1309" y="988"/>
                      <a:pt x="1310" y="983"/>
                    </a:cubicBezTo>
                    <a:cubicBezTo>
                      <a:pt x="1312" y="970"/>
                      <a:pt x="1316" y="957"/>
                      <a:pt x="1322" y="946"/>
                    </a:cubicBezTo>
                    <a:cubicBezTo>
                      <a:pt x="1332" y="926"/>
                      <a:pt x="1349" y="908"/>
                      <a:pt x="1369" y="897"/>
                    </a:cubicBezTo>
                    <a:cubicBezTo>
                      <a:pt x="1379" y="891"/>
                      <a:pt x="1391" y="886"/>
                      <a:pt x="1403" y="884"/>
                    </a:cubicBezTo>
                    <a:cubicBezTo>
                      <a:pt x="1412" y="882"/>
                      <a:pt x="1421" y="881"/>
                      <a:pt x="1431" y="881"/>
                    </a:cubicBezTo>
                    <a:cubicBezTo>
                      <a:pt x="1435" y="881"/>
                      <a:pt x="1439" y="881"/>
                      <a:pt x="1443" y="881"/>
                    </a:cubicBezTo>
                    <a:cubicBezTo>
                      <a:pt x="1456" y="883"/>
                      <a:pt x="1468" y="886"/>
                      <a:pt x="1479" y="891"/>
                    </a:cubicBezTo>
                    <a:cubicBezTo>
                      <a:pt x="1502" y="901"/>
                      <a:pt x="1521" y="917"/>
                      <a:pt x="1533" y="937"/>
                    </a:cubicBezTo>
                    <a:close/>
                    <a:moveTo>
                      <a:pt x="1479" y="1081"/>
                    </a:moveTo>
                    <a:cubicBezTo>
                      <a:pt x="1479" y="918"/>
                      <a:pt x="1479" y="918"/>
                      <a:pt x="1479" y="918"/>
                    </a:cubicBezTo>
                    <a:cubicBezTo>
                      <a:pt x="1479" y="917"/>
                      <a:pt x="1476" y="914"/>
                      <a:pt x="1474" y="914"/>
                    </a:cubicBezTo>
                    <a:cubicBezTo>
                      <a:pt x="1387" y="914"/>
                      <a:pt x="1387" y="914"/>
                      <a:pt x="1387" y="914"/>
                    </a:cubicBezTo>
                    <a:cubicBezTo>
                      <a:pt x="1384" y="914"/>
                      <a:pt x="1382" y="917"/>
                      <a:pt x="1382" y="918"/>
                    </a:cubicBezTo>
                    <a:cubicBezTo>
                      <a:pt x="1382" y="1081"/>
                      <a:pt x="1382" y="1081"/>
                      <a:pt x="1382" y="1081"/>
                    </a:cubicBezTo>
                    <a:cubicBezTo>
                      <a:pt x="1382" y="1084"/>
                      <a:pt x="1384" y="1085"/>
                      <a:pt x="1387" y="1085"/>
                    </a:cubicBezTo>
                    <a:cubicBezTo>
                      <a:pt x="1474" y="1085"/>
                      <a:pt x="1474" y="1085"/>
                      <a:pt x="1474" y="1085"/>
                    </a:cubicBezTo>
                    <a:cubicBezTo>
                      <a:pt x="1476" y="1085"/>
                      <a:pt x="1479" y="1084"/>
                      <a:pt x="1479" y="1081"/>
                    </a:cubicBezTo>
                    <a:close/>
                    <a:moveTo>
                      <a:pt x="0" y="894"/>
                    </a:moveTo>
                    <a:cubicBezTo>
                      <a:pt x="0" y="910"/>
                      <a:pt x="13" y="922"/>
                      <a:pt x="29" y="922"/>
                    </a:cubicBezTo>
                    <a:cubicBezTo>
                      <a:pt x="45" y="922"/>
                      <a:pt x="58" y="910"/>
                      <a:pt x="58" y="894"/>
                    </a:cubicBezTo>
                    <a:cubicBezTo>
                      <a:pt x="58" y="879"/>
                      <a:pt x="45" y="866"/>
                      <a:pt x="29" y="866"/>
                    </a:cubicBezTo>
                    <a:cubicBezTo>
                      <a:pt x="13" y="866"/>
                      <a:pt x="0" y="879"/>
                      <a:pt x="0" y="894"/>
                    </a:cubicBezTo>
                    <a:close/>
                    <a:moveTo>
                      <a:pt x="1756" y="860"/>
                    </a:moveTo>
                    <a:cubicBezTo>
                      <a:pt x="1756" y="880"/>
                      <a:pt x="1772" y="897"/>
                      <a:pt x="1792" y="897"/>
                    </a:cubicBezTo>
                    <a:cubicBezTo>
                      <a:pt x="1812" y="897"/>
                      <a:pt x="1828" y="880"/>
                      <a:pt x="1828" y="860"/>
                    </a:cubicBezTo>
                    <a:cubicBezTo>
                      <a:pt x="1828" y="839"/>
                      <a:pt x="1812" y="823"/>
                      <a:pt x="1792" y="823"/>
                    </a:cubicBezTo>
                    <a:cubicBezTo>
                      <a:pt x="1772" y="823"/>
                      <a:pt x="1756" y="839"/>
                      <a:pt x="1756" y="860"/>
                    </a:cubicBezTo>
                    <a:close/>
                    <a:moveTo>
                      <a:pt x="559" y="779"/>
                    </a:moveTo>
                    <a:cubicBezTo>
                      <a:pt x="559" y="780"/>
                      <a:pt x="559" y="784"/>
                      <a:pt x="559" y="796"/>
                    </a:cubicBezTo>
                    <a:cubicBezTo>
                      <a:pt x="559" y="796"/>
                      <a:pt x="559" y="796"/>
                      <a:pt x="561" y="796"/>
                    </a:cubicBezTo>
                    <a:cubicBezTo>
                      <a:pt x="564" y="796"/>
                      <a:pt x="570" y="796"/>
                      <a:pt x="582" y="796"/>
                    </a:cubicBezTo>
                    <a:cubicBezTo>
                      <a:pt x="582" y="779"/>
                      <a:pt x="582" y="779"/>
                      <a:pt x="582" y="779"/>
                    </a:cubicBezTo>
                    <a:cubicBezTo>
                      <a:pt x="582" y="779"/>
                      <a:pt x="582" y="779"/>
                      <a:pt x="559" y="779"/>
                    </a:cubicBezTo>
                    <a:cubicBezTo>
                      <a:pt x="559" y="779"/>
                      <a:pt x="559" y="779"/>
                      <a:pt x="559" y="779"/>
                    </a:cubicBezTo>
                    <a:close/>
                    <a:moveTo>
                      <a:pt x="588" y="814"/>
                    </a:moveTo>
                    <a:cubicBezTo>
                      <a:pt x="588" y="814"/>
                      <a:pt x="588" y="814"/>
                      <a:pt x="605" y="814"/>
                    </a:cubicBezTo>
                    <a:cubicBezTo>
                      <a:pt x="605" y="814"/>
                      <a:pt x="605" y="814"/>
                      <a:pt x="606" y="814"/>
                    </a:cubicBezTo>
                    <a:cubicBezTo>
                      <a:pt x="606" y="814"/>
                      <a:pt x="606" y="814"/>
                      <a:pt x="607" y="813"/>
                    </a:cubicBezTo>
                    <a:cubicBezTo>
                      <a:pt x="607" y="813"/>
                      <a:pt x="607" y="813"/>
                      <a:pt x="608" y="813"/>
                    </a:cubicBezTo>
                    <a:cubicBezTo>
                      <a:pt x="608" y="813"/>
                      <a:pt x="608" y="813"/>
                      <a:pt x="608" y="813"/>
                    </a:cubicBezTo>
                    <a:cubicBezTo>
                      <a:pt x="608" y="813"/>
                      <a:pt x="608" y="813"/>
                      <a:pt x="608" y="812"/>
                    </a:cubicBezTo>
                    <a:cubicBezTo>
                      <a:pt x="608" y="812"/>
                      <a:pt x="608" y="812"/>
                      <a:pt x="609" y="812"/>
                    </a:cubicBezTo>
                    <a:cubicBezTo>
                      <a:pt x="609" y="812"/>
                      <a:pt x="609" y="812"/>
                      <a:pt x="610" y="811"/>
                    </a:cubicBezTo>
                    <a:cubicBezTo>
                      <a:pt x="610" y="811"/>
                      <a:pt x="610" y="811"/>
                      <a:pt x="611" y="811"/>
                    </a:cubicBezTo>
                    <a:cubicBezTo>
                      <a:pt x="611" y="811"/>
                      <a:pt x="611" y="811"/>
                      <a:pt x="611" y="810"/>
                    </a:cubicBezTo>
                    <a:cubicBezTo>
                      <a:pt x="611" y="810"/>
                      <a:pt x="611" y="810"/>
                      <a:pt x="612" y="810"/>
                    </a:cubicBezTo>
                    <a:cubicBezTo>
                      <a:pt x="612" y="810"/>
                      <a:pt x="612" y="810"/>
                      <a:pt x="612" y="809"/>
                    </a:cubicBezTo>
                    <a:cubicBezTo>
                      <a:pt x="612" y="809"/>
                      <a:pt x="612" y="809"/>
                      <a:pt x="613" y="809"/>
                    </a:cubicBezTo>
                    <a:cubicBezTo>
                      <a:pt x="613" y="809"/>
                      <a:pt x="613" y="809"/>
                      <a:pt x="613" y="808"/>
                    </a:cubicBezTo>
                    <a:cubicBezTo>
                      <a:pt x="613" y="808"/>
                      <a:pt x="613" y="808"/>
                      <a:pt x="613" y="807"/>
                    </a:cubicBezTo>
                    <a:cubicBezTo>
                      <a:pt x="613" y="807"/>
                      <a:pt x="613" y="807"/>
                      <a:pt x="613" y="807"/>
                    </a:cubicBezTo>
                    <a:cubicBezTo>
                      <a:pt x="613" y="807"/>
                      <a:pt x="613" y="807"/>
                      <a:pt x="613" y="806"/>
                    </a:cubicBezTo>
                    <a:cubicBezTo>
                      <a:pt x="613" y="801"/>
                      <a:pt x="613" y="801"/>
                      <a:pt x="613" y="801"/>
                    </a:cubicBezTo>
                    <a:cubicBezTo>
                      <a:pt x="613" y="801"/>
                      <a:pt x="613" y="801"/>
                      <a:pt x="588" y="801"/>
                    </a:cubicBezTo>
                    <a:cubicBezTo>
                      <a:pt x="588" y="801"/>
                      <a:pt x="588" y="801"/>
                      <a:pt x="588" y="814"/>
                    </a:cubicBezTo>
                    <a:close/>
                    <a:moveTo>
                      <a:pt x="565" y="759"/>
                    </a:moveTo>
                    <a:cubicBezTo>
                      <a:pt x="565" y="759"/>
                      <a:pt x="565" y="759"/>
                      <a:pt x="565" y="759"/>
                    </a:cubicBezTo>
                    <a:cubicBezTo>
                      <a:pt x="565" y="759"/>
                      <a:pt x="565" y="759"/>
                      <a:pt x="564" y="759"/>
                    </a:cubicBezTo>
                    <a:cubicBezTo>
                      <a:pt x="564" y="759"/>
                      <a:pt x="564" y="759"/>
                      <a:pt x="564" y="759"/>
                    </a:cubicBezTo>
                    <a:cubicBezTo>
                      <a:pt x="564" y="759"/>
                      <a:pt x="564" y="759"/>
                      <a:pt x="563" y="760"/>
                    </a:cubicBezTo>
                    <a:cubicBezTo>
                      <a:pt x="563" y="760"/>
                      <a:pt x="563" y="760"/>
                      <a:pt x="562" y="760"/>
                    </a:cubicBezTo>
                    <a:cubicBezTo>
                      <a:pt x="562" y="760"/>
                      <a:pt x="562" y="760"/>
                      <a:pt x="561" y="761"/>
                    </a:cubicBezTo>
                    <a:cubicBezTo>
                      <a:pt x="561" y="761"/>
                      <a:pt x="561" y="761"/>
                      <a:pt x="560" y="762"/>
                    </a:cubicBezTo>
                    <a:cubicBezTo>
                      <a:pt x="560" y="762"/>
                      <a:pt x="560" y="762"/>
                      <a:pt x="560" y="762"/>
                    </a:cubicBezTo>
                    <a:cubicBezTo>
                      <a:pt x="560" y="762"/>
                      <a:pt x="560" y="762"/>
                      <a:pt x="560" y="763"/>
                    </a:cubicBezTo>
                    <a:cubicBezTo>
                      <a:pt x="560" y="763"/>
                      <a:pt x="560" y="763"/>
                      <a:pt x="560" y="763"/>
                    </a:cubicBezTo>
                    <a:cubicBezTo>
                      <a:pt x="560" y="763"/>
                      <a:pt x="560" y="763"/>
                      <a:pt x="559" y="764"/>
                    </a:cubicBezTo>
                    <a:cubicBezTo>
                      <a:pt x="559" y="764"/>
                      <a:pt x="559" y="764"/>
                      <a:pt x="559" y="764"/>
                    </a:cubicBezTo>
                    <a:cubicBezTo>
                      <a:pt x="559" y="764"/>
                      <a:pt x="559" y="764"/>
                      <a:pt x="559" y="765"/>
                    </a:cubicBezTo>
                    <a:cubicBezTo>
                      <a:pt x="559" y="765"/>
                      <a:pt x="559" y="765"/>
                      <a:pt x="559" y="766"/>
                    </a:cubicBezTo>
                    <a:cubicBezTo>
                      <a:pt x="559" y="766"/>
                      <a:pt x="559" y="766"/>
                      <a:pt x="559" y="767"/>
                    </a:cubicBezTo>
                    <a:cubicBezTo>
                      <a:pt x="559" y="767"/>
                      <a:pt x="559" y="767"/>
                      <a:pt x="559" y="772"/>
                    </a:cubicBezTo>
                    <a:cubicBezTo>
                      <a:pt x="559" y="772"/>
                      <a:pt x="559" y="772"/>
                      <a:pt x="582" y="772"/>
                    </a:cubicBezTo>
                    <a:cubicBezTo>
                      <a:pt x="582" y="759"/>
                      <a:pt x="582" y="759"/>
                      <a:pt x="582" y="759"/>
                    </a:cubicBezTo>
                    <a:cubicBezTo>
                      <a:pt x="582" y="759"/>
                      <a:pt x="582" y="759"/>
                      <a:pt x="566" y="759"/>
                    </a:cubicBezTo>
                    <a:cubicBezTo>
                      <a:pt x="566" y="759"/>
                      <a:pt x="566" y="759"/>
                      <a:pt x="565" y="759"/>
                    </a:cubicBezTo>
                    <a:close/>
                    <a:moveTo>
                      <a:pt x="588" y="796"/>
                    </a:moveTo>
                    <a:cubicBezTo>
                      <a:pt x="588" y="796"/>
                      <a:pt x="588" y="796"/>
                      <a:pt x="613" y="796"/>
                    </a:cubicBezTo>
                    <a:cubicBezTo>
                      <a:pt x="613" y="779"/>
                      <a:pt x="613" y="779"/>
                      <a:pt x="613" y="779"/>
                    </a:cubicBezTo>
                    <a:cubicBezTo>
                      <a:pt x="613" y="779"/>
                      <a:pt x="613" y="779"/>
                      <a:pt x="588" y="779"/>
                    </a:cubicBezTo>
                    <a:cubicBezTo>
                      <a:pt x="588" y="779"/>
                      <a:pt x="588" y="779"/>
                      <a:pt x="588" y="796"/>
                    </a:cubicBezTo>
                    <a:close/>
                    <a:moveTo>
                      <a:pt x="613" y="764"/>
                    </a:moveTo>
                    <a:cubicBezTo>
                      <a:pt x="613" y="764"/>
                      <a:pt x="613" y="764"/>
                      <a:pt x="613" y="764"/>
                    </a:cubicBezTo>
                    <a:cubicBezTo>
                      <a:pt x="613" y="764"/>
                      <a:pt x="613" y="764"/>
                      <a:pt x="612" y="763"/>
                    </a:cubicBezTo>
                    <a:cubicBezTo>
                      <a:pt x="612" y="763"/>
                      <a:pt x="612" y="763"/>
                      <a:pt x="612" y="763"/>
                    </a:cubicBezTo>
                    <a:cubicBezTo>
                      <a:pt x="612" y="763"/>
                      <a:pt x="612" y="763"/>
                      <a:pt x="611" y="762"/>
                    </a:cubicBezTo>
                    <a:cubicBezTo>
                      <a:pt x="611" y="762"/>
                      <a:pt x="611" y="762"/>
                      <a:pt x="611" y="762"/>
                    </a:cubicBezTo>
                    <a:cubicBezTo>
                      <a:pt x="611" y="762"/>
                      <a:pt x="611" y="762"/>
                      <a:pt x="610" y="761"/>
                    </a:cubicBezTo>
                    <a:cubicBezTo>
                      <a:pt x="610" y="761"/>
                      <a:pt x="610" y="761"/>
                      <a:pt x="609" y="760"/>
                    </a:cubicBezTo>
                    <a:cubicBezTo>
                      <a:pt x="609" y="760"/>
                      <a:pt x="609" y="760"/>
                      <a:pt x="608" y="760"/>
                    </a:cubicBezTo>
                    <a:cubicBezTo>
                      <a:pt x="608" y="760"/>
                      <a:pt x="608" y="760"/>
                      <a:pt x="608" y="759"/>
                    </a:cubicBezTo>
                    <a:cubicBezTo>
                      <a:pt x="608" y="759"/>
                      <a:pt x="608" y="759"/>
                      <a:pt x="608" y="759"/>
                    </a:cubicBezTo>
                    <a:cubicBezTo>
                      <a:pt x="608" y="759"/>
                      <a:pt x="608" y="759"/>
                      <a:pt x="607" y="759"/>
                    </a:cubicBezTo>
                    <a:cubicBezTo>
                      <a:pt x="607" y="759"/>
                      <a:pt x="607" y="759"/>
                      <a:pt x="606" y="759"/>
                    </a:cubicBezTo>
                    <a:cubicBezTo>
                      <a:pt x="606" y="759"/>
                      <a:pt x="606" y="759"/>
                      <a:pt x="605" y="759"/>
                    </a:cubicBezTo>
                    <a:cubicBezTo>
                      <a:pt x="605" y="759"/>
                      <a:pt x="605" y="759"/>
                      <a:pt x="588" y="759"/>
                    </a:cubicBezTo>
                    <a:cubicBezTo>
                      <a:pt x="588" y="759"/>
                      <a:pt x="588" y="759"/>
                      <a:pt x="588" y="772"/>
                    </a:cubicBezTo>
                    <a:cubicBezTo>
                      <a:pt x="588" y="772"/>
                      <a:pt x="588" y="772"/>
                      <a:pt x="613" y="772"/>
                    </a:cubicBezTo>
                    <a:cubicBezTo>
                      <a:pt x="613" y="767"/>
                      <a:pt x="613" y="767"/>
                      <a:pt x="613" y="767"/>
                    </a:cubicBezTo>
                    <a:cubicBezTo>
                      <a:pt x="613" y="767"/>
                      <a:pt x="613" y="767"/>
                      <a:pt x="613" y="766"/>
                    </a:cubicBezTo>
                    <a:cubicBezTo>
                      <a:pt x="613" y="766"/>
                      <a:pt x="613" y="766"/>
                      <a:pt x="613" y="765"/>
                    </a:cubicBezTo>
                    <a:cubicBezTo>
                      <a:pt x="613" y="765"/>
                      <a:pt x="613" y="765"/>
                      <a:pt x="613" y="764"/>
                    </a:cubicBezTo>
                    <a:close/>
                    <a:moveTo>
                      <a:pt x="755" y="792"/>
                    </a:moveTo>
                    <a:cubicBezTo>
                      <a:pt x="753" y="804"/>
                      <a:pt x="749" y="816"/>
                      <a:pt x="744" y="827"/>
                    </a:cubicBezTo>
                    <a:cubicBezTo>
                      <a:pt x="732" y="851"/>
                      <a:pt x="713" y="872"/>
                      <a:pt x="689" y="884"/>
                    </a:cubicBezTo>
                    <a:cubicBezTo>
                      <a:pt x="678" y="890"/>
                      <a:pt x="667" y="894"/>
                      <a:pt x="655" y="896"/>
                    </a:cubicBezTo>
                    <a:cubicBezTo>
                      <a:pt x="647" y="898"/>
                      <a:pt x="639" y="899"/>
                      <a:pt x="631" y="899"/>
                    </a:cubicBezTo>
                    <a:cubicBezTo>
                      <a:pt x="578" y="899"/>
                      <a:pt x="532" y="865"/>
                      <a:pt x="514" y="817"/>
                    </a:cubicBezTo>
                    <a:cubicBezTo>
                      <a:pt x="510" y="806"/>
                      <a:pt x="508" y="795"/>
                      <a:pt x="507" y="782"/>
                    </a:cubicBezTo>
                    <a:cubicBezTo>
                      <a:pt x="506" y="780"/>
                      <a:pt x="506" y="776"/>
                      <a:pt x="506" y="774"/>
                    </a:cubicBezTo>
                    <a:cubicBezTo>
                      <a:pt x="506" y="753"/>
                      <a:pt x="511" y="733"/>
                      <a:pt x="521" y="716"/>
                    </a:cubicBezTo>
                    <a:cubicBezTo>
                      <a:pt x="527" y="706"/>
                      <a:pt x="533" y="695"/>
                      <a:pt x="542" y="687"/>
                    </a:cubicBezTo>
                    <a:cubicBezTo>
                      <a:pt x="560" y="668"/>
                      <a:pt x="585" y="654"/>
                      <a:pt x="612" y="651"/>
                    </a:cubicBezTo>
                    <a:cubicBezTo>
                      <a:pt x="618" y="649"/>
                      <a:pt x="625" y="649"/>
                      <a:pt x="631" y="649"/>
                    </a:cubicBezTo>
                    <a:cubicBezTo>
                      <a:pt x="637" y="649"/>
                      <a:pt x="643" y="649"/>
                      <a:pt x="649" y="650"/>
                    </a:cubicBezTo>
                    <a:cubicBezTo>
                      <a:pt x="671" y="653"/>
                      <a:pt x="693" y="663"/>
                      <a:pt x="710" y="677"/>
                    </a:cubicBezTo>
                    <a:cubicBezTo>
                      <a:pt x="720" y="685"/>
                      <a:pt x="728" y="694"/>
                      <a:pt x="735" y="704"/>
                    </a:cubicBezTo>
                    <a:cubicBezTo>
                      <a:pt x="748" y="724"/>
                      <a:pt x="756" y="748"/>
                      <a:pt x="756" y="774"/>
                    </a:cubicBezTo>
                    <a:cubicBezTo>
                      <a:pt x="756" y="780"/>
                      <a:pt x="756" y="787"/>
                      <a:pt x="755" y="792"/>
                    </a:cubicBezTo>
                    <a:close/>
                    <a:moveTo>
                      <a:pt x="714" y="781"/>
                    </a:moveTo>
                    <a:cubicBezTo>
                      <a:pt x="714" y="737"/>
                      <a:pt x="714" y="737"/>
                      <a:pt x="714" y="737"/>
                    </a:cubicBezTo>
                    <a:cubicBezTo>
                      <a:pt x="714" y="733"/>
                      <a:pt x="714" y="729"/>
                      <a:pt x="711" y="727"/>
                    </a:cubicBezTo>
                    <a:cubicBezTo>
                      <a:pt x="708" y="723"/>
                      <a:pt x="704" y="721"/>
                      <a:pt x="699" y="721"/>
                    </a:cubicBezTo>
                    <a:cubicBezTo>
                      <a:pt x="693" y="721"/>
                      <a:pt x="687" y="721"/>
                      <a:pt x="682" y="721"/>
                    </a:cubicBezTo>
                    <a:cubicBezTo>
                      <a:pt x="625" y="721"/>
                      <a:pt x="596" y="721"/>
                      <a:pt x="580" y="721"/>
                    </a:cubicBezTo>
                    <a:cubicBezTo>
                      <a:pt x="564" y="721"/>
                      <a:pt x="564" y="721"/>
                      <a:pt x="564" y="721"/>
                    </a:cubicBezTo>
                    <a:cubicBezTo>
                      <a:pt x="555" y="721"/>
                      <a:pt x="548" y="727"/>
                      <a:pt x="548" y="736"/>
                    </a:cubicBezTo>
                    <a:cubicBezTo>
                      <a:pt x="548" y="737"/>
                      <a:pt x="548" y="737"/>
                      <a:pt x="548" y="737"/>
                    </a:cubicBezTo>
                    <a:cubicBezTo>
                      <a:pt x="548" y="753"/>
                      <a:pt x="548" y="765"/>
                      <a:pt x="548" y="775"/>
                    </a:cubicBezTo>
                    <a:cubicBezTo>
                      <a:pt x="548" y="810"/>
                      <a:pt x="548" y="810"/>
                      <a:pt x="548" y="810"/>
                    </a:cubicBezTo>
                    <a:cubicBezTo>
                      <a:pt x="548" y="811"/>
                      <a:pt x="548" y="811"/>
                      <a:pt x="548" y="811"/>
                    </a:cubicBezTo>
                    <a:cubicBezTo>
                      <a:pt x="548" y="819"/>
                      <a:pt x="555" y="826"/>
                      <a:pt x="564" y="826"/>
                    </a:cubicBezTo>
                    <a:cubicBezTo>
                      <a:pt x="699" y="826"/>
                      <a:pt x="699" y="826"/>
                      <a:pt x="699" y="826"/>
                    </a:cubicBezTo>
                    <a:cubicBezTo>
                      <a:pt x="705" y="826"/>
                      <a:pt x="709" y="824"/>
                      <a:pt x="713" y="819"/>
                    </a:cubicBezTo>
                    <a:cubicBezTo>
                      <a:pt x="714" y="816"/>
                      <a:pt x="714" y="813"/>
                      <a:pt x="714" y="810"/>
                    </a:cubicBezTo>
                    <a:cubicBezTo>
                      <a:pt x="714" y="799"/>
                      <a:pt x="714" y="790"/>
                      <a:pt x="714" y="781"/>
                    </a:cubicBezTo>
                    <a:close/>
                    <a:moveTo>
                      <a:pt x="559" y="801"/>
                    </a:moveTo>
                    <a:cubicBezTo>
                      <a:pt x="559" y="801"/>
                      <a:pt x="559" y="801"/>
                      <a:pt x="559" y="806"/>
                    </a:cubicBezTo>
                    <a:cubicBezTo>
                      <a:pt x="559" y="806"/>
                      <a:pt x="559" y="806"/>
                      <a:pt x="559" y="807"/>
                    </a:cubicBezTo>
                    <a:cubicBezTo>
                      <a:pt x="559" y="807"/>
                      <a:pt x="559" y="807"/>
                      <a:pt x="559" y="807"/>
                    </a:cubicBezTo>
                    <a:cubicBezTo>
                      <a:pt x="559" y="807"/>
                      <a:pt x="559" y="807"/>
                      <a:pt x="559" y="808"/>
                    </a:cubicBezTo>
                    <a:cubicBezTo>
                      <a:pt x="559" y="808"/>
                      <a:pt x="559" y="808"/>
                      <a:pt x="559" y="808"/>
                    </a:cubicBezTo>
                    <a:cubicBezTo>
                      <a:pt x="559" y="809"/>
                      <a:pt x="559" y="809"/>
                      <a:pt x="559" y="809"/>
                    </a:cubicBezTo>
                    <a:cubicBezTo>
                      <a:pt x="559" y="809"/>
                      <a:pt x="559" y="809"/>
                      <a:pt x="560" y="809"/>
                    </a:cubicBezTo>
                    <a:cubicBezTo>
                      <a:pt x="560" y="809"/>
                      <a:pt x="560" y="809"/>
                      <a:pt x="560" y="810"/>
                    </a:cubicBezTo>
                    <a:cubicBezTo>
                      <a:pt x="560" y="810"/>
                      <a:pt x="560" y="810"/>
                      <a:pt x="560" y="810"/>
                    </a:cubicBezTo>
                    <a:cubicBezTo>
                      <a:pt x="560" y="810"/>
                      <a:pt x="560" y="810"/>
                      <a:pt x="560" y="811"/>
                    </a:cubicBezTo>
                    <a:cubicBezTo>
                      <a:pt x="560" y="811"/>
                      <a:pt x="560" y="811"/>
                      <a:pt x="561" y="811"/>
                    </a:cubicBezTo>
                    <a:cubicBezTo>
                      <a:pt x="561" y="811"/>
                      <a:pt x="561" y="811"/>
                      <a:pt x="562" y="812"/>
                    </a:cubicBezTo>
                    <a:cubicBezTo>
                      <a:pt x="562" y="812"/>
                      <a:pt x="562" y="812"/>
                      <a:pt x="563" y="812"/>
                    </a:cubicBezTo>
                    <a:cubicBezTo>
                      <a:pt x="563" y="812"/>
                      <a:pt x="563" y="812"/>
                      <a:pt x="564" y="813"/>
                    </a:cubicBezTo>
                    <a:cubicBezTo>
                      <a:pt x="564" y="813"/>
                      <a:pt x="564" y="813"/>
                      <a:pt x="564" y="813"/>
                    </a:cubicBezTo>
                    <a:cubicBezTo>
                      <a:pt x="564" y="813"/>
                      <a:pt x="564" y="813"/>
                      <a:pt x="565" y="813"/>
                    </a:cubicBezTo>
                    <a:cubicBezTo>
                      <a:pt x="565" y="813"/>
                      <a:pt x="565" y="813"/>
                      <a:pt x="565" y="814"/>
                    </a:cubicBezTo>
                    <a:cubicBezTo>
                      <a:pt x="565" y="814"/>
                      <a:pt x="565" y="814"/>
                      <a:pt x="566" y="814"/>
                    </a:cubicBezTo>
                    <a:cubicBezTo>
                      <a:pt x="566" y="814"/>
                      <a:pt x="566" y="814"/>
                      <a:pt x="582" y="814"/>
                    </a:cubicBezTo>
                    <a:cubicBezTo>
                      <a:pt x="582" y="801"/>
                      <a:pt x="582" y="801"/>
                      <a:pt x="582" y="801"/>
                    </a:cubicBezTo>
                    <a:cubicBezTo>
                      <a:pt x="582" y="801"/>
                      <a:pt x="582" y="801"/>
                      <a:pt x="564" y="801"/>
                    </a:cubicBezTo>
                    <a:cubicBezTo>
                      <a:pt x="562" y="801"/>
                      <a:pt x="560" y="801"/>
                      <a:pt x="559" y="801"/>
                    </a:cubicBezTo>
                    <a:close/>
                    <a:moveTo>
                      <a:pt x="121" y="439"/>
                    </a:moveTo>
                    <a:cubicBezTo>
                      <a:pt x="121" y="474"/>
                      <a:pt x="150" y="503"/>
                      <a:pt x="185" y="503"/>
                    </a:cubicBezTo>
                    <a:cubicBezTo>
                      <a:pt x="221" y="503"/>
                      <a:pt x="250" y="474"/>
                      <a:pt x="250" y="439"/>
                    </a:cubicBezTo>
                    <a:cubicBezTo>
                      <a:pt x="250" y="404"/>
                      <a:pt x="221" y="376"/>
                      <a:pt x="185" y="376"/>
                    </a:cubicBezTo>
                    <a:cubicBezTo>
                      <a:pt x="150" y="376"/>
                      <a:pt x="121" y="404"/>
                      <a:pt x="121" y="439"/>
                    </a:cubicBezTo>
                    <a:close/>
                    <a:moveTo>
                      <a:pt x="1535" y="371"/>
                    </a:moveTo>
                    <a:cubicBezTo>
                      <a:pt x="1535" y="412"/>
                      <a:pt x="1569" y="445"/>
                      <a:pt x="1611" y="445"/>
                    </a:cubicBezTo>
                    <a:cubicBezTo>
                      <a:pt x="1653" y="445"/>
                      <a:pt x="1687" y="412"/>
                      <a:pt x="1687" y="371"/>
                    </a:cubicBezTo>
                    <a:cubicBezTo>
                      <a:pt x="1687" y="330"/>
                      <a:pt x="1653" y="297"/>
                      <a:pt x="1611" y="297"/>
                    </a:cubicBezTo>
                    <a:cubicBezTo>
                      <a:pt x="1569" y="297"/>
                      <a:pt x="1535" y="330"/>
                      <a:pt x="1535" y="371"/>
                    </a:cubicBezTo>
                    <a:close/>
                    <a:moveTo>
                      <a:pt x="1146" y="199"/>
                    </a:moveTo>
                    <a:cubicBezTo>
                      <a:pt x="1202" y="199"/>
                      <a:pt x="1248" y="240"/>
                      <a:pt x="1257" y="294"/>
                    </a:cubicBezTo>
                    <a:cubicBezTo>
                      <a:pt x="1258" y="300"/>
                      <a:pt x="1258" y="305"/>
                      <a:pt x="1258" y="311"/>
                    </a:cubicBezTo>
                    <a:cubicBezTo>
                      <a:pt x="1258" y="318"/>
                      <a:pt x="1258" y="324"/>
                      <a:pt x="1257" y="331"/>
                    </a:cubicBezTo>
                    <a:cubicBezTo>
                      <a:pt x="1251" y="362"/>
                      <a:pt x="1232" y="389"/>
                      <a:pt x="1206" y="406"/>
                    </a:cubicBezTo>
                    <a:cubicBezTo>
                      <a:pt x="1196" y="412"/>
                      <a:pt x="1184" y="417"/>
                      <a:pt x="1172" y="421"/>
                    </a:cubicBezTo>
                    <a:cubicBezTo>
                      <a:pt x="1164" y="422"/>
                      <a:pt x="1155" y="423"/>
                      <a:pt x="1146" y="423"/>
                    </a:cubicBezTo>
                    <a:cubicBezTo>
                      <a:pt x="1115" y="423"/>
                      <a:pt x="1087" y="410"/>
                      <a:pt x="1066" y="390"/>
                    </a:cubicBezTo>
                    <a:cubicBezTo>
                      <a:pt x="1058" y="382"/>
                      <a:pt x="1050" y="371"/>
                      <a:pt x="1045" y="360"/>
                    </a:cubicBezTo>
                    <a:cubicBezTo>
                      <a:pt x="1038" y="345"/>
                      <a:pt x="1034" y="329"/>
                      <a:pt x="1034" y="311"/>
                    </a:cubicBezTo>
                    <a:cubicBezTo>
                      <a:pt x="1034" y="310"/>
                      <a:pt x="1034" y="309"/>
                      <a:pt x="1034" y="308"/>
                    </a:cubicBezTo>
                    <a:cubicBezTo>
                      <a:pt x="1034" y="295"/>
                      <a:pt x="1037" y="283"/>
                      <a:pt x="1041" y="272"/>
                    </a:cubicBezTo>
                    <a:cubicBezTo>
                      <a:pt x="1056" y="229"/>
                      <a:pt x="1098" y="199"/>
                      <a:pt x="1146" y="199"/>
                    </a:cubicBezTo>
                    <a:close/>
                    <a:moveTo>
                      <a:pt x="1146" y="381"/>
                    </a:moveTo>
                    <a:cubicBezTo>
                      <a:pt x="1154" y="381"/>
                      <a:pt x="1162" y="373"/>
                      <a:pt x="1162" y="365"/>
                    </a:cubicBezTo>
                    <a:cubicBezTo>
                      <a:pt x="1162" y="355"/>
                      <a:pt x="1154" y="349"/>
                      <a:pt x="1146" y="349"/>
                    </a:cubicBezTo>
                    <a:cubicBezTo>
                      <a:pt x="1137" y="349"/>
                      <a:pt x="1130" y="355"/>
                      <a:pt x="1130" y="365"/>
                    </a:cubicBezTo>
                    <a:cubicBezTo>
                      <a:pt x="1130" y="373"/>
                      <a:pt x="1137" y="381"/>
                      <a:pt x="1146" y="381"/>
                    </a:cubicBezTo>
                    <a:close/>
                    <a:moveTo>
                      <a:pt x="1181" y="347"/>
                    </a:moveTo>
                    <a:cubicBezTo>
                      <a:pt x="1184" y="344"/>
                      <a:pt x="1185" y="339"/>
                      <a:pt x="1181" y="336"/>
                    </a:cubicBezTo>
                    <a:cubicBezTo>
                      <a:pt x="1173" y="325"/>
                      <a:pt x="1160" y="318"/>
                      <a:pt x="1146" y="318"/>
                    </a:cubicBezTo>
                    <a:cubicBezTo>
                      <a:pt x="1132" y="318"/>
                      <a:pt x="1119" y="325"/>
                      <a:pt x="1110" y="336"/>
                    </a:cubicBezTo>
                    <a:cubicBezTo>
                      <a:pt x="1107" y="339"/>
                      <a:pt x="1108" y="344"/>
                      <a:pt x="1111" y="347"/>
                    </a:cubicBezTo>
                    <a:cubicBezTo>
                      <a:pt x="1115" y="349"/>
                      <a:pt x="1120" y="349"/>
                      <a:pt x="1122" y="345"/>
                    </a:cubicBezTo>
                    <a:cubicBezTo>
                      <a:pt x="1128" y="338"/>
                      <a:pt x="1137" y="334"/>
                      <a:pt x="1146" y="334"/>
                    </a:cubicBezTo>
                    <a:cubicBezTo>
                      <a:pt x="1155" y="334"/>
                      <a:pt x="1164" y="338"/>
                      <a:pt x="1170" y="345"/>
                    </a:cubicBezTo>
                    <a:cubicBezTo>
                      <a:pt x="1171" y="348"/>
                      <a:pt x="1173" y="349"/>
                      <a:pt x="1176" y="349"/>
                    </a:cubicBezTo>
                    <a:cubicBezTo>
                      <a:pt x="1177" y="349"/>
                      <a:pt x="1179" y="349"/>
                      <a:pt x="1181" y="347"/>
                    </a:cubicBezTo>
                    <a:close/>
                    <a:moveTo>
                      <a:pt x="1202" y="330"/>
                    </a:moveTo>
                    <a:cubicBezTo>
                      <a:pt x="1205" y="327"/>
                      <a:pt x="1205" y="322"/>
                      <a:pt x="1203" y="319"/>
                    </a:cubicBezTo>
                    <a:cubicBezTo>
                      <a:pt x="1189" y="301"/>
                      <a:pt x="1168" y="292"/>
                      <a:pt x="1146" y="292"/>
                    </a:cubicBezTo>
                    <a:cubicBezTo>
                      <a:pt x="1124" y="292"/>
                      <a:pt x="1103" y="301"/>
                      <a:pt x="1089" y="319"/>
                    </a:cubicBezTo>
                    <a:cubicBezTo>
                      <a:pt x="1087" y="322"/>
                      <a:pt x="1087" y="327"/>
                      <a:pt x="1090" y="330"/>
                    </a:cubicBezTo>
                    <a:cubicBezTo>
                      <a:pt x="1094" y="333"/>
                      <a:pt x="1099" y="333"/>
                      <a:pt x="1102" y="329"/>
                    </a:cubicBezTo>
                    <a:cubicBezTo>
                      <a:pt x="1113" y="316"/>
                      <a:pt x="1129" y="308"/>
                      <a:pt x="1146" y="308"/>
                    </a:cubicBezTo>
                    <a:cubicBezTo>
                      <a:pt x="1163" y="308"/>
                      <a:pt x="1179" y="316"/>
                      <a:pt x="1190" y="329"/>
                    </a:cubicBezTo>
                    <a:cubicBezTo>
                      <a:pt x="1192" y="331"/>
                      <a:pt x="1194" y="332"/>
                      <a:pt x="1197" y="332"/>
                    </a:cubicBezTo>
                    <a:cubicBezTo>
                      <a:pt x="1198" y="332"/>
                      <a:pt x="1200" y="332"/>
                      <a:pt x="1202" y="330"/>
                    </a:cubicBezTo>
                    <a:close/>
                    <a:moveTo>
                      <a:pt x="1224" y="312"/>
                    </a:moveTo>
                    <a:cubicBezTo>
                      <a:pt x="1227" y="309"/>
                      <a:pt x="1228" y="305"/>
                      <a:pt x="1225" y="300"/>
                    </a:cubicBezTo>
                    <a:cubicBezTo>
                      <a:pt x="1206" y="277"/>
                      <a:pt x="1177" y="263"/>
                      <a:pt x="1146" y="263"/>
                    </a:cubicBezTo>
                    <a:cubicBezTo>
                      <a:pt x="1115" y="263"/>
                      <a:pt x="1086" y="277"/>
                      <a:pt x="1066" y="300"/>
                    </a:cubicBezTo>
                    <a:cubicBezTo>
                      <a:pt x="1064" y="305"/>
                      <a:pt x="1065" y="309"/>
                      <a:pt x="1068" y="312"/>
                    </a:cubicBezTo>
                    <a:cubicBezTo>
                      <a:pt x="1071" y="315"/>
                      <a:pt x="1077" y="314"/>
                      <a:pt x="1079" y="311"/>
                    </a:cubicBezTo>
                    <a:cubicBezTo>
                      <a:pt x="1096" y="290"/>
                      <a:pt x="1120" y="279"/>
                      <a:pt x="1146" y="279"/>
                    </a:cubicBezTo>
                    <a:cubicBezTo>
                      <a:pt x="1172" y="279"/>
                      <a:pt x="1197" y="290"/>
                      <a:pt x="1213" y="311"/>
                    </a:cubicBezTo>
                    <a:cubicBezTo>
                      <a:pt x="1214" y="313"/>
                      <a:pt x="1217" y="314"/>
                      <a:pt x="1219" y="314"/>
                    </a:cubicBezTo>
                    <a:cubicBezTo>
                      <a:pt x="1220" y="314"/>
                      <a:pt x="1223" y="313"/>
                      <a:pt x="1224" y="312"/>
                    </a:cubicBezTo>
                    <a:close/>
                    <a:moveTo>
                      <a:pt x="597" y="278"/>
                    </a:moveTo>
                    <a:cubicBezTo>
                      <a:pt x="597" y="298"/>
                      <a:pt x="613" y="315"/>
                      <a:pt x="634" y="315"/>
                    </a:cubicBezTo>
                    <a:cubicBezTo>
                      <a:pt x="654" y="315"/>
                      <a:pt x="671" y="298"/>
                      <a:pt x="671" y="278"/>
                    </a:cubicBezTo>
                    <a:cubicBezTo>
                      <a:pt x="671" y="257"/>
                      <a:pt x="654" y="240"/>
                      <a:pt x="634" y="240"/>
                    </a:cubicBezTo>
                    <a:cubicBezTo>
                      <a:pt x="613" y="240"/>
                      <a:pt x="597" y="257"/>
                      <a:pt x="597" y="278"/>
                    </a:cubicBezTo>
                    <a:close/>
                    <a:moveTo>
                      <a:pt x="1116" y="48"/>
                    </a:moveTo>
                    <a:cubicBezTo>
                      <a:pt x="1116" y="68"/>
                      <a:pt x="1133" y="85"/>
                      <a:pt x="1154" y="85"/>
                    </a:cubicBezTo>
                    <a:cubicBezTo>
                      <a:pt x="1175" y="85"/>
                      <a:pt x="1192" y="68"/>
                      <a:pt x="1192" y="48"/>
                    </a:cubicBezTo>
                    <a:cubicBezTo>
                      <a:pt x="1192" y="27"/>
                      <a:pt x="1175" y="11"/>
                      <a:pt x="1154" y="11"/>
                    </a:cubicBezTo>
                    <a:cubicBezTo>
                      <a:pt x="1133" y="11"/>
                      <a:pt x="1116" y="27"/>
                      <a:pt x="1116" y="48"/>
                    </a:cubicBezTo>
                    <a:close/>
                    <a:moveTo>
                      <a:pt x="673" y="37"/>
                    </a:moveTo>
                    <a:cubicBezTo>
                      <a:pt x="673" y="58"/>
                      <a:pt x="690" y="74"/>
                      <a:pt x="711" y="74"/>
                    </a:cubicBezTo>
                    <a:cubicBezTo>
                      <a:pt x="732" y="74"/>
                      <a:pt x="749" y="58"/>
                      <a:pt x="749" y="37"/>
                    </a:cubicBezTo>
                    <a:cubicBezTo>
                      <a:pt x="749" y="17"/>
                      <a:pt x="732" y="0"/>
                      <a:pt x="711" y="0"/>
                    </a:cubicBezTo>
                    <a:cubicBezTo>
                      <a:pt x="690" y="0"/>
                      <a:pt x="673" y="17"/>
                      <a:pt x="673" y="37"/>
                    </a:cubicBezTo>
                    <a:close/>
                    <a:moveTo>
                      <a:pt x="924" y="1363"/>
                    </a:moveTo>
                    <a:cubicBezTo>
                      <a:pt x="924" y="1363"/>
                      <a:pt x="924" y="1363"/>
                      <a:pt x="916" y="1363"/>
                    </a:cubicBezTo>
                    <a:cubicBezTo>
                      <a:pt x="915" y="1363"/>
                      <a:pt x="915" y="1363"/>
                      <a:pt x="914" y="1363"/>
                    </a:cubicBezTo>
                    <a:cubicBezTo>
                      <a:pt x="911" y="1363"/>
                      <a:pt x="906" y="1363"/>
                      <a:pt x="899" y="1363"/>
                    </a:cubicBezTo>
                    <a:cubicBezTo>
                      <a:pt x="896" y="1363"/>
                      <a:pt x="891" y="1363"/>
                      <a:pt x="886" y="1363"/>
                    </a:cubicBezTo>
                    <a:cubicBezTo>
                      <a:pt x="882" y="1363"/>
                      <a:pt x="877" y="1363"/>
                      <a:pt x="872" y="1363"/>
                    </a:cubicBezTo>
                    <a:cubicBezTo>
                      <a:pt x="868" y="1363"/>
                      <a:pt x="863" y="1363"/>
                      <a:pt x="858" y="1363"/>
                    </a:cubicBezTo>
                    <a:cubicBezTo>
                      <a:pt x="853" y="1363"/>
                      <a:pt x="848" y="1363"/>
                      <a:pt x="843" y="1363"/>
                    </a:cubicBezTo>
                    <a:cubicBezTo>
                      <a:pt x="843" y="1363"/>
                      <a:pt x="842" y="1363"/>
                      <a:pt x="841" y="1363"/>
                    </a:cubicBezTo>
                    <a:cubicBezTo>
                      <a:pt x="838" y="1363"/>
                      <a:pt x="836" y="1363"/>
                      <a:pt x="833" y="1363"/>
                    </a:cubicBezTo>
                    <a:cubicBezTo>
                      <a:pt x="833" y="1363"/>
                      <a:pt x="832" y="1364"/>
                      <a:pt x="832" y="1365"/>
                    </a:cubicBezTo>
                    <a:cubicBezTo>
                      <a:pt x="832" y="1365"/>
                      <a:pt x="832" y="1365"/>
                      <a:pt x="832" y="1374"/>
                    </a:cubicBezTo>
                    <a:cubicBezTo>
                      <a:pt x="832" y="1374"/>
                      <a:pt x="832" y="1375"/>
                      <a:pt x="832" y="1375"/>
                    </a:cubicBezTo>
                    <a:cubicBezTo>
                      <a:pt x="832" y="1379"/>
                      <a:pt x="832" y="1384"/>
                      <a:pt x="832" y="1391"/>
                    </a:cubicBezTo>
                    <a:cubicBezTo>
                      <a:pt x="832" y="1394"/>
                      <a:pt x="832" y="1399"/>
                      <a:pt x="832" y="1405"/>
                    </a:cubicBezTo>
                    <a:cubicBezTo>
                      <a:pt x="832" y="1409"/>
                      <a:pt x="832" y="1414"/>
                      <a:pt x="832" y="1419"/>
                    </a:cubicBezTo>
                    <a:cubicBezTo>
                      <a:pt x="832" y="1424"/>
                      <a:pt x="832" y="1428"/>
                      <a:pt x="832" y="1433"/>
                    </a:cubicBezTo>
                    <a:cubicBezTo>
                      <a:pt x="832" y="1438"/>
                      <a:pt x="832" y="1444"/>
                      <a:pt x="832" y="1449"/>
                    </a:cubicBezTo>
                    <a:cubicBezTo>
                      <a:pt x="832" y="1450"/>
                      <a:pt x="832" y="1450"/>
                      <a:pt x="832" y="1451"/>
                    </a:cubicBezTo>
                    <a:cubicBezTo>
                      <a:pt x="832" y="1453"/>
                      <a:pt x="832" y="1456"/>
                      <a:pt x="832" y="1459"/>
                    </a:cubicBezTo>
                    <a:cubicBezTo>
                      <a:pt x="832" y="1460"/>
                      <a:pt x="833" y="1461"/>
                      <a:pt x="833" y="1461"/>
                    </a:cubicBezTo>
                    <a:cubicBezTo>
                      <a:pt x="833" y="1461"/>
                      <a:pt x="833" y="1461"/>
                      <a:pt x="841" y="1461"/>
                    </a:cubicBezTo>
                    <a:cubicBezTo>
                      <a:pt x="842" y="1461"/>
                      <a:pt x="843" y="1461"/>
                      <a:pt x="843" y="1461"/>
                    </a:cubicBezTo>
                    <a:cubicBezTo>
                      <a:pt x="847" y="1461"/>
                      <a:pt x="852" y="1461"/>
                      <a:pt x="858" y="1461"/>
                    </a:cubicBezTo>
                    <a:cubicBezTo>
                      <a:pt x="862" y="1461"/>
                      <a:pt x="866" y="1461"/>
                      <a:pt x="872" y="1461"/>
                    </a:cubicBezTo>
                    <a:cubicBezTo>
                      <a:pt x="876" y="1461"/>
                      <a:pt x="881" y="1461"/>
                      <a:pt x="886" y="1461"/>
                    </a:cubicBezTo>
                    <a:cubicBezTo>
                      <a:pt x="890" y="1461"/>
                      <a:pt x="894" y="1461"/>
                      <a:pt x="899" y="1461"/>
                    </a:cubicBezTo>
                    <a:cubicBezTo>
                      <a:pt x="904" y="1461"/>
                      <a:pt x="908" y="1461"/>
                      <a:pt x="914" y="1461"/>
                    </a:cubicBezTo>
                    <a:cubicBezTo>
                      <a:pt x="915" y="1461"/>
                      <a:pt x="915" y="1461"/>
                      <a:pt x="916" y="1461"/>
                    </a:cubicBezTo>
                    <a:cubicBezTo>
                      <a:pt x="918" y="1461"/>
                      <a:pt x="921" y="1461"/>
                      <a:pt x="924" y="1461"/>
                    </a:cubicBezTo>
                    <a:cubicBezTo>
                      <a:pt x="925" y="1461"/>
                      <a:pt x="926" y="1460"/>
                      <a:pt x="926" y="1459"/>
                    </a:cubicBezTo>
                    <a:cubicBezTo>
                      <a:pt x="926" y="1459"/>
                      <a:pt x="926" y="1459"/>
                      <a:pt x="926" y="1451"/>
                    </a:cubicBezTo>
                    <a:cubicBezTo>
                      <a:pt x="926" y="1451"/>
                      <a:pt x="926" y="1450"/>
                      <a:pt x="926" y="1449"/>
                    </a:cubicBezTo>
                    <a:cubicBezTo>
                      <a:pt x="926" y="1445"/>
                      <a:pt x="926" y="1440"/>
                      <a:pt x="926" y="1433"/>
                    </a:cubicBezTo>
                    <a:cubicBezTo>
                      <a:pt x="926" y="1430"/>
                      <a:pt x="926" y="1425"/>
                      <a:pt x="926" y="1419"/>
                    </a:cubicBezTo>
                    <a:cubicBezTo>
                      <a:pt x="926" y="1415"/>
                      <a:pt x="926" y="1410"/>
                      <a:pt x="926" y="1405"/>
                    </a:cubicBezTo>
                    <a:cubicBezTo>
                      <a:pt x="926" y="1400"/>
                      <a:pt x="926" y="1395"/>
                      <a:pt x="926" y="1391"/>
                    </a:cubicBezTo>
                    <a:cubicBezTo>
                      <a:pt x="926" y="1386"/>
                      <a:pt x="926" y="1381"/>
                      <a:pt x="926" y="1375"/>
                    </a:cubicBezTo>
                    <a:cubicBezTo>
                      <a:pt x="926" y="1375"/>
                      <a:pt x="926" y="1374"/>
                      <a:pt x="926" y="1374"/>
                    </a:cubicBezTo>
                    <a:cubicBezTo>
                      <a:pt x="926" y="1371"/>
                      <a:pt x="926" y="1368"/>
                      <a:pt x="926" y="1365"/>
                    </a:cubicBezTo>
                    <a:cubicBezTo>
                      <a:pt x="926" y="1364"/>
                      <a:pt x="925" y="1363"/>
                      <a:pt x="924" y="1363"/>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nvGrpSpPr>
          <p:cNvPr id="89" name="bcgIcons_Joint Ventures, Alliances and Digital Ecosystems ">
            <a:extLst>
              <a:ext uri="{FF2B5EF4-FFF2-40B4-BE49-F238E27FC236}">
                <a16:creationId xmlns:a16="http://schemas.microsoft.com/office/drawing/2014/main" id="{4D9F8FAD-8BDB-F557-72B5-1DEED600A2CB}"/>
              </a:ext>
            </a:extLst>
          </p:cNvPr>
          <p:cNvGrpSpPr>
            <a:grpSpLocks noChangeAspect="1"/>
          </p:cNvGrpSpPr>
          <p:nvPr/>
        </p:nvGrpSpPr>
        <p:grpSpPr>
          <a:xfrm>
            <a:off x="4301481" y="4629578"/>
            <a:ext cx="847390" cy="847390"/>
            <a:chOff x="1733550" y="2606675"/>
            <a:chExt cx="1644650" cy="1644650"/>
          </a:xfrm>
        </p:grpSpPr>
        <p:sp>
          <p:nvSpPr>
            <p:cNvPr id="90" name="AutoShape 19">
              <a:extLst>
                <a:ext uri="{FF2B5EF4-FFF2-40B4-BE49-F238E27FC236}">
                  <a16:creationId xmlns:a16="http://schemas.microsoft.com/office/drawing/2014/main" id="{7958A88C-8970-0603-B15C-8B1970C5CE2F}"/>
                </a:ext>
              </a:extLst>
            </p:cNvPr>
            <p:cNvSpPr>
              <a:spLocks noChangeAspect="1" noChangeArrowheads="1" noTextEdit="1"/>
            </p:cNvSpPr>
            <p:nvPr/>
          </p:nvSpPr>
          <p:spPr bwMode="auto">
            <a:xfrm>
              <a:off x="1733550"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6">
              <a:extLst>
                <a:ext uri="{FF2B5EF4-FFF2-40B4-BE49-F238E27FC236}">
                  <a16:creationId xmlns:a16="http://schemas.microsoft.com/office/drawing/2014/main" id="{60FA89D6-F6CC-7678-BDA1-849D02D9C097}"/>
                </a:ext>
              </a:extLst>
            </p:cNvPr>
            <p:cNvSpPr>
              <a:spLocks/>
            </p:cNvSpPr>
            <p:nvPr/>
          </p:nvSpPr>
          <p:spPr bwMode="auto">
            <a:xfrm>
              <a:off x="2165350" y="3427413"/>
              <a:ext cx="1588" cy="4763"/>
            </a:xfrm>
            <a:custGeom>
              <a:avLst/>
              <a:gdLst>
                <a:gd name="T0" fmla="*/ 0 w 2"/>
                <a:gd name="T1" fmla="*/ 6 h 6"/>
                <a:gd name="T2" fmla="*/ 2 w 2"/>
                <a:gd name="T3" fmla="*/ 0 h 6"/>
                <a:gd name="T4" fmla="*/ 0 w 2"/>
                <a:gd name="T5" fmla="*/ 6 h 6"/>
              </a:gdLst>
              <a:ahLst/>
              <a:cxnLst>
                <a:cxn ang="0">
                  <a:pos x="T0" y="T1"/>
                </a:cxn>
                <a:cxn ang="0">
                  <a:pos x="T2" y="T3"/>
                </a:cxn>
                <a:cxn ang="0">
                  <a:pos x="T4" y="T5"/>
                </a:cxn>
              </a:cxnLst>
              <a:rect l="0" t="0" r="r" b="b"/>
              <a:pathLst>
                <a:path w="2" h="6">
                  <a:moveTo>
                    <a:pt x="0" y="6"/>
                  </a:moveTo>
                  <a:cubicBezTo>
                    <a:pt x="0" y="5"/>
                    <a:pt x="1" y="3"/>
                    <a:pt x="2" y="0"/>
                  </a:cubicBezTo>
                  <a:cubicBezTo>
                    <a:pt x="0" y="6"/>
                    <a:pt x="0" y="6"/>
                    <a:pt x="0" y="6"/>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92" name="Group 5">
              <a:extLst>
                <a:ext uri="{FF2B5EF4-FFF2-40B4-BE49-F238E27FC236}">
                  <a16:creationId xmlns:a16="http://schemas.microsoft.com/office/drawing/2014/main" id="{43FCB924-7613-A6F9-2A78-12A3E1D0DA79}"/>
                </a:ext>
              </a:extLst>
            </p:cNvPr>
            <p:cNvGrpSpPr/>
            <p:nvPr/>
          </p:nvGrpSpPr>
          <p:grpSpPr>
            <a:xfrm>
              <a:off x="1951038" y="2957512"/>
              <a:ext cx="1209675" cy="922338"/>
              <a:chOff x="1951038" y="2957512"/>
              <a:chExt cx="1209675" cy="922338"/>
            </a:xfrm>
          </p:grpSpPr>
          <p:sp>
            <p:nvSpPr>
              <p:cNvPr id="94" name="Freeform 7">
                <a:extLst>
                  <a:ext uri="{FF2B5EF4-FFF2-40B4-BE49-F238E27FC236}">
                    <a16:creationId xmlns:a16="http://schemas.microsoft.com/office/drawing/2014/main" id="{C67F4A76-6B9B-36C0-A0A3-C61527CAC766}"/>
                  </a:ext>
                </a:extLst>
              </p:cNvPr>
              <p:cNvSpPr>
                <a:spLocks/>
              </p:cNvSpPr>
              <p:nvPr/>
            </p:nvSpPr>
            <p:spPr bwMode="auto">
              <a:xfrm>
                <a:off x="2132587" y="2960245"/>
                <a:ext cx="1028126" cy="873568"/>
              </a:xfrm>
              <a:custGeom>
                <a:avLst/>
                <a:gdLst>
                  <a:gd name="connsiteX0" fmla="*/ 411306 w 1028126"/>
                  <a:gd name="connsiteY0" fmla="*/ 678305 h 873568"/>
                  <a:gd name="connsiteX1" fmla="*/ 430682 w 1028126"/>
                  <a:gd name="connsiteY1" fmla="*/ 681895 h 873568"/>
                  <a:gd name="connsiteX2" fmla="*/ 433553 w 1028126"/>
                  <a:gd name="connsiteY2" fmla="*/ 683330 h 873568"/>
                  <a:gd name="connsiteX3" fmla="*/ 462258 w 1028126"/>
                  <a:gd name="connsiteY3" fmla="*/ 725685 h 873568"/>
                  <a:gd name="connsiteX4" fmla="*/ 457235 w 1028126"/>
                  <a:gd name="connsiteY4" fmla="*/ 752247 h 873568"/>
                  <a:gd name="connsiteX5" fmla="*/ 422788 w 1028126"/>
                  <a:gd name="connsiteY5" fmla="*/ 821881 h 873568"/>
                  <a:gd name="connsiteX6" fmla="*/ 411306 w 1028126"/>
                  <a:gd name="connsiteY6" fmla="*/ 844853 h 873568"/>
                  <a:gd name="connsiteX7" fmla="*/ 401259 w 1028126"/>
                  <a:gd name="connsiteY7" fmla="*/ 865671 h 873568"/>
                  <a:gd name="connsiteX8" fmla="*/ 388342 w 1028126"/>
                  <a:gd name="connsiteY8" fmla="*/ 873568 h 873568"/>
                  <a:gd name="connsiteX9" fmla="*/ 381883 w 1028126"/>
                  <a:gd name="connsiteY9" fmla="*/ 872132 h 873568"/>
                  <a:gd name="connsiteX10" fmla="*/ 315860 w 1028126"/>
                  <a:gd name="connsiteY10" fmla="*/ 839828 h 873568"/>
                  <a:gd name="connsiteX11" fmla="*/ 309401 w 1028126"/>
                  <a:gd name="connsiteY11" fmla="*/ 819727 h 873568"/>
                  <a:gd name="connsiteX12" fmla="*/ 364660 w 1028126"/>
                  <a:gd name="connsiteY12" fmla="*/ 707020 h 873568"/>
                  <a:gd name="connsiteX13" fmla="*/ 411306 w 1028126"/>
                  <a:gd name="connsiteY13" fmla="*/ 678305 h 873568"/>
                  <a:gd name="connsiteX14" fmla="*/ 330324 w 1028126"/>
                  <a:gd name="connsiteY14" fmla="*/ 565593 h 873568"/>
                  <a:gd name="connsiteX15" fmla="*/ 352536 w 1028126"/>
                  <a:gd name="connsiteY15" fmla="*/ 570595 h 873568"/>
                  <a:gd name="connsiteX16" fmla="*/ 376182 w 1028126"/>
                  <a:gd name="connsiteY16" fmla="*/ 639199 h 873568"/>
                  <a:gd name="connsiteX17" fmla="*/ 299513 w 1028126"/>
                  <a:gd name="connsiteY17" fmla="*/ 794270 h 873568"/>
                  <a:gd name="connsiteX18" fmla="*/ 286615 w 1028126"/>
                  <a:gd name="connsiteY18" fmla="*/ 802131 h 873568"/>
                  <a:gd name="connsiteX19" fmla="*/ 280166 w 1028126"/>
                  <a:gd name="connsiteY19" fmla="*/ 800702 h 873568"/>
                  <a:gd name="connsiteX20" fmla="*/ 250788 w 1028126"/>
                  <a:gd name="connsiteY20" fmla="*/ 786410 h 873568"/>
                  <a:gd name="connsiteX21" fmla="*/ 214245 w 1028126"/>
                  <a:gd name="connsiteY21" fmla="*/ 768544 h 873568"/>
                  <a:gd name="connsiteX22" fmla="*/ 207796 w 1028126"/>
                  <a:gd name="connsiteY22" fmla="*/ 748535 h 873568"/>
                  <a:gd name="connsiteX23" fmla="*/ 268701 w 1028126"/>
                  <a:gd name="connsiteY23" fmla="*/ 624906 h 873568"/>
                  <a:gd name="connsiteX24" fmla="*/ 283749 w 1028126"/>
                  <a:gd name="connsiteY24" fmla="*/ 594178 h 873568"/>
                  <a:gd name="connsiteX25" fmla="*/ 330324 w 1028126"/>
                  <a:gd name="connsiteY25" fmla="*/ 565593 h 873568"/>
                  <a:gd name="connsiteX26" fmla="*/ 206729 w 1028126"/>
                  <a:gd name="connsiteY26" fmla="*/ 538605 h 873568"/>
                  <a:gd name="connsiteX27" fmla="*/ 218148 w 1028126"/>
                  <a:gd name="connsiteY27" fmla="*/ 540036 h 873568"/>
                  <a:gd name="connsiteX28" fmla="*/ 228854 w 1028126"/>
                  <a:gd name="connsiteY28" fmla="*/ 544327 h 873568"/>
                  <a:gd name="connsiteX29" fmla="*/ 252406 w 1028126"/>
                  <a:gd name="connsiteY29" fmla="*/ 612985 h 873568"/>
                  <a:gd name="connsiteX30" fmla="*/ 189600 w 1028126"/>
                  <a:gd name="connsiteY30" fmla="*/ 740288 h 873568"/>
                  <a:gd name="connsiteX31" fmla="*/ 176753 w 1028126"/>
                  <a:gd name="connsiteY31" fmla="*/ 748155 h 873568"/>
                  <a:gd name="connsiteX32" fmla="*/ 170329 w 1028126"/>
                  <a:gd name="connsiteY32" fmla="*/ 746725 h 873568"/>
                  <a:gd name="connsiteX33" fmla="*/ 104668 w 1028126"/>
                  <a:gd name="connsiteY33" fmla="*/ 714541 h 873568"/>
                  <a:gd name="connsiteX34" fmla="*/ 98245 w 1028126"/>
                  <a:gd name="connsiteY34" fmla="*/ 695231 h 873568"/>
                  <a:gd name="connsiteX35" fmla="*/ 99672 w 1028126"/>
                  <a:gd name="connsiteY35" fmla="*/ 690940 h 873568"/>
                  <a:gd name="connsiteX36" fmla="*/ 160337 w 1028126"/>
                  <a:gd name="connsiteY36" fmla="*/ 567928 h 873568"/>
                  <a:gd name="connsiteX37" fmla="*/ 181035 w 1028126"/>
                  <a:gd name="connsiteY37" fmla="*/ 545757 h 873568"/>
                  <a:gd name="connsiteX38" fmla="*/ 186745 w 1028126"/>
                  <a:gd name="connsiteY38" fmla="*/ 542896 h 873568"/>
                  <a:gd name="connsiteX39" fmla="*/ 206729 w 1028126"/>
                  <a:gd name="connsiteY39" fmla="*/ 538605 h 873568"/>
                  <a:gd name="connsiteX40" fmla="*/ 90318 w 1028126"/>
                  <a:gd name="connsiteY40" fmla="*/ 497330 h 873568"/>
                  <a:gd name="connsiteX41" fmla="*/ 113082 w 1028126"/>
                  <a:gd name="connsiteY41" fmla="*/ 502326 h 873568"/>
                  <a:gd name="connsiteX42" fmla="*/ 136558 w 1028126"/>
                  <a:gd name="connsiteY42" fmla="*/ 570842 h 873568"/>
                  <a:gd name="connsiteX43" fmla="*/ 93163 w 1028126"/>
                  <a:gd name="connsiteY43" fmla="*/ 658629 h 873568"/>
                  <a:gd name="connsiteX44" fmla="*/ 80358 w 1028126"/>
                  <a:gd name="connsiteY44" fmla="*/ 667193 h 873568"/>
                  <a:gd name="connsiteX45" fmla="*/ 73956 w 1028126"/>
                  <a:gd name="connsiteY45" fmla="*/ 665766 h 873568"/>
                  <a:gd name="connsiteX46" fmla="*/ 8509 w 1028126"/>
                  <a:gd name="connsiteY46" fmla="*/ 633649 h 873568"/>
                  <a:gd name="connsiteX47" fmla="*/ 1395 w 1028126"/>
                  <a:gd name="connsiteY47" fmla="*/ 613665 h 873568"/>
                  <a:gd name="connsiteX48" fmla="*/ 44789 w 1028126"/>
                  <a:gd name="connsiteY48" fmla="*/ 525879 h 873568"/>
                  <a:gd name="connsiteX49" fmla="*/ 90318 w 1028126"/>
                  <a:gd name="connsiteY49" fmla="*/ 497330 h 873568"/>
                  <a:gd name="connsiteX50" fmla="*/ 395766 w 1028126"/>
                  <a:gd name="connsiteY50" fmla="*/ 183 h 873568"/>
                  <a:gd name="connsiteX51" fmla="*/ 505408 w 1028126"/>
                  <a:gd name="connsiteY51" fmla="*/ 22168 h 873568"/>
                  <a:gd name="connsiteX52" fmla="*/ 805632 w 1028126"/>
                  <a:gd name="connsiteY52" fmla="*/ 147284 h 873568"/>
                  <a:gd name="connsiteX53" fmla="*/ 1001028 w 1028126"/>
                  <a:gd name="connsiteY53" fmla="*/ 45761 h 873568"/>
                  <a:gd name="connsiteX54" fmla="*/ 1028126 w 1028126"/>
                  <a:gd name="connsiteY54" fmla="*/ 59345 h 873568"/>
                  <a:gd name="connsiteX55" fmla="*/ 1028126 w 1028126"/>
                  <a:gd name="connsiteY55" fmla="*/ 408239 h 873568"/>
                  <a:gd name="connsiteX56" fmla="*/ 1022421 w 1028126"/>
                  <a:gd name="connsiteY56" fmla="*/ 416819 h 873568"/>
                  <a:gd name="connsiteX57" fmla="*/ 898338 w 1028126"/>
                  <a:gd name="connsiteY57" fmla="*/ 448276 h 873568"/>
                  <a:gd name="connsiteX58" fmla="*/ 889781 w 1028126"/>
                  <a:gd name="connsiteY58" fmla="*/ 447561 h 873568"/>
                  <a:gd name="connsiteX59" fmla="*/ 465474 w 1028126"/>
                  <a:gd name="connsiteY59" fmla="*/ 192325 h 873568"/>
                  <a:gd name="connsiteX60" fmla="*/ 318571 w 1028126"/>
                  <a:gd name="connsiteY60" fmla="*/ 180171 h 873568"/>
                  <a:gd name="connsiteX61" fmla="*/ 289333 w 1028126"/>
                  <a:gd name="connsiteY61" fmla="*/ 194470 h 873568"/>
                  <a:gd name="connsiteX62" fmla="*/ 252250 w 1028126"/>
                  <a:gd name="connsiteY62" fmla="*/ 229503 h 873568"/>
                  <a:gd name="connsiteX63" fmla="*/ 142430 w 1028126"/>
                  <a:gd name="connsiteY63" fmla="*/ 260245 h 873568"/>
                  <a:gd name="connsiteX64" fmla="*/ 118897 w 1028126"/>
                  <a:gd name="connsiteY64" fmla="*/ 251666 h 873568"/>
                  <a:gd name="connsiteX65" fmla="*/ 105347 w 1028126"/>
                  <a:gd name="connsiteY65" fmla="*/ 169447 h 873568"/>
                  <a:gd name="connsiteX66" fmla="*/ 123889 w 1028126"/>
                  <a:gd name="connsiteY66" fmla="*/ 150858 h 873568"/>
                  <a:gd name="connsiteX67" fmla="*/ 150274 w 1028126"/>
                  <a:gd name="connsiteY67" fmla="*/ 125835 h 873568"/>
                  <a:gd name="connsiteX68" fmla="*/ 186643 w 1028126"/>
                  <a:gd name="connsiteY68" fmla="*/ 95093 h 873568"/>
                  <a:gd name="connsiteX69" fmla="*/ 395766 w 1028126"/>
                  <a:gd name="connsiteY69" fmla="*/ 183 h 873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28126" h="873568">
                    <a:moveTo>
                      <a:pt x="411306" y="678305"/>
                    </a:moveTo>
                    <a:cubicBezTo>
                      <a:pt x="417765" y="678305"/>
                      <a:pt x="424224" y="679023"/>
                      <a:pt x="430682" y="681895"/>
                    </a:cubicBezTo>
                    <a:cubicBezTo>
                      <a:pt x="431400" y="682612"/>
                      <a:pt x="432835" y="682612"/>
                      <a:pt x="433553" y="683330"/>
                    </a:cubicBezTo>
                    <a:cubicBezTo>
                      <a:pt x="450776" y="691227"/>
                      <a:pt x="460823" y="707738"/>
                      <a:pt x="462258" y="725685"/>
                    </a:cubicBezTo>
                    <a:cubicBezTo>
                      <a:pt x="462976" y="734300"/>
                      <a:pt x="461541" y="743632"/>
                      <a:pt x="457235" y="752247"/>
                    </a:cubicBezTo>
                    <a:cubicBezTo>
                      <a:pt x="457235" y="752247"/>
                      <a:pt x="457235" y="752247"/>
                      <a:pt x="422788" y="821881"/>
                    </a:cubicBezTo>
                    <a:cubicBezTo>
                      <a:pt x="422788" y="821881"/>
                      <a:pt x="422788" y="821881"/>
                      <a:pt x="411306" y="844853"/>
                    </a:cubicBezTo>
                    <a:cubicBezTo>
                      <a:pt x="411306" y="844853"/>
                      <a:pt x="411306" y="844853"/>
                      <a:pt x="401259" y="865671"/>
                    </a:cubicBezTo>
                    <a:cubicBezTo>
                      <a:pt x="399106" y="870697"/>
                      <a:pt x="393365" y="873568"/>
                      <a:pt x="388342" y="873568"/>
                    </a:cubicBezTo>
                    <a:cubicBezTo>
                      <a:pt x="386189" y="873568"/>
                      <a:pt x="384036" y="873568"/>
                      <a:pt x="381883" y="872132"/>
                    </a:cubicBezTo>
                    <a:cubicBezTo>
                      <a:pt x="381883" y="872132"/>
                      <a:pt x="381883" y="872132"/>
                      <a:pt x="315860" y="839828"/>
                    </a:cubicBezTo>
                    <a:cubicBezTo>
                      <a:pt x="308684" y="836238"/>
                      <a:pt x="305813" y="827624"/>
                      <a:pt x="309401" y="819727"/>
                    </a:cubicBezTo>
                    <a:cubicBezTo>
                      <a:pt x="309401" y="819727"/>
                      <a:pt x="309401" y="819727"/>
                      <a:pt x="364660" y="707020"/>
                    </a:cubicBezTo>
                    <a:cubicBezTo>
                      <a:pt x="373989" y="688355"/>
                      <a:pt x="391930" y="678305"/>
                      <a:pt x="411306" y="678305"/>
                    </a:cubicBezTo>
                    <a:close/>
                    <a:moveTo>
                      <a:pt x="330324" y="565593"/>
                    </a:moveTo>
                    <a:cubicBezTo>
                      <a:pt x="337489" y="565593"/>
                      <a:pt x="345371" y="567022"/>
                      <a:pt x="352536" y="570595"/>
                    </a:cubicBezTo>
                    <a:cubicBezTo>
                      <a:pt x="378332" y="583459"/>
                      <a:pt x="388363" y="614187"/>
                      <a:pt x="376182" y="639199"/>
                    </a:cubicBezTo>
                    <a:cubicBezTo>
                      <a:pt x="376182" y="639199"/>
                      <a:pt x="376182" y="639199"/>
                      <a:pt x="299513" y="794270"/>
                    </a:cubicBezTo>
                    <a:cubicBezTo>
                      <a:pt x="297363" y="799273"/>
                      <a:pt x="292347" y="802131"/>
                      <a:pt x="286615" y="802131"/>
                    </a:cubicBezTo>
                    <a:cubicBezTo>
                      <a:pt x="284465" y="802131"/>
                      <a:pt x="282316" y="801417"/>
                      <a:pt x="280166" y="800702"/>
                    </a:cubicBezTo>
                    <a:cubicBezTo>
                      <a:pt x="280166" y="800702"/>
                      <a:pt x="280166" y="800702"/>
                      <a:pt x="250788" y="786410"/>
                    </a:cubicBezTo>
                    <a:cubicBezTo>
                      <a:pt x="250788" y="786410"/>
                      <a:pt x="250788" y="786410"/>
                      <a:pt x="214245" y="768544"/>
                    </a:cubicBezTo>
                    <a:cubicBezTo>
                      <a:pt x="207079" y="764971"/>
                      <a:pt x="204213" y="756396"/>
                      <a:pt x="207796" y="748535"/>
                    </a:cubicBezTo>
                    <a:cubicBezTo>
                      <a:pt x="207796" y="748535"/>
                      <a:pt x="207796" y="748535"/>
                      <a:pt x="268701" y="624906"/>
                    </a:cubicBezTo>
                    <a:cubicBezTo>
                      <a:pt x="268701" y="624906"/>
                      <a:pt x="268701" y="624906"/>
                      <a:pt x="283749" y="594178"/>
                    </a:cubicBezTo>
                    <a:cubicBezTo>
                      <a:pt x="293064" y="576312"/>
                      <a:pt x="310977" y="565593"/>
                      <a:pt x="330324" y="565593"/>
                    </a:cubicBezTo>
                    <a:close/>
                    <a:moveTo>
                      <a:pt x="206729" y="538605"/>
                    </a:moveTo>
                    <a:cubicBezTo>
                      <a:pt x="210297" y="538605"/>
                      <a:pt x="213866" y="539320"/>
                      <a:pt x="218148" y="540036"/>
                    </a:cubicBezTo>
                    <a:cubicBezTo>
                      <a:pt x="221717" y="541466"/>
                      <a:pt x="225285" y="542181"/>
                      <a:pt x="228854" y="544327"/>
                    </a:cubicBezTo>
                    <a:cubicBezTo>
                      <a:pt x="254547" y="556485"/>
                      <a:pt x="264539" y="587238"/>
                      <a:pt x="252406" y="612985"/>
                    </a:cubicBezTo>
                    <a:cubicBezTo>
                      <a:pt x="252406" y="612985"/>
                      <a:pt x="252406" y="612985"/>
                      <a:pt x="189600" y="740288"/>
                    </a:cubicBezTo>
                    <a:cubicBezTo>
                      <a:pt x="187458" y="745294"/>
                      <a:pt x="181749" y="748155"/>
                      <a:pt x="176753" y="748155"/>
                    </a:cubicBezTo>
                    <a:cubicBezTo>
                      <a:pt x="174612" y="748155"/>
                      <a:pt x="172471" y="748155"/>
                      <a:pt x="170329" y="746725"/>
                    </a:cubicBezTo>
                    <a:cubicBezTo>
                      <a:pt x="170329" y="746725"/>
                      <a:pt x="170329" y="746725"/>
                      <a:pt x="104668" y="714541"/>
                    </a:cubicBezTo>
                    <a:cubicBezTo>
                      <a:pt x="97531" y="710965"/>
                      <a:pt x="94676" y="702383"/>
                      <a:pt x="98245" y="695231"/>
                    </a:cubicBezTo>
                    <a:cubicBezTo>
                      <a:pt x="98245" y="695231"/>
                      <a:pt x="98245" y="695231"/>
                      <a:pt x="99672" y="690940"/>
                    </a:cubicBezTo>
                    <a:cubicBezTo>
                      <a:pt x="99672" y="690940"/>
                      <a:pt x="99672" y="690940"/>
                      <a:pt x="160337" y="567928"/>
                    </a:cubicBezTo>
                    <a:cubicBezTo>
                      <a:pt x="165333" y="557915"/>
                      <a:pt x="172471" y="550763"/>
                      <a:pt x="181035" y="545757"/>
                    </a:cubicBezTo>
                    <a:cubicBezTo>
                      <a:pt x="182462" y="545042"/>
                      <a:pt x="184604" y="543611"/>
                      <a:pt x="186745" y="542896"/>
                    </a:cubicBezTo>
                    <a:cubicBezTo>
                      <a:pt x="193168" y="540036"/>
                      <a:pt x="199592" y="538605"/>
                      <a:pt x="206729" y="538605"/>
                    </a:cubicBezTo>
                    <a:close/>
                    <a:moveTo>
                      <a:pt x="90318" y="497330"/>
                    </a:moveTo>
                    <a:cubicBezTo>
                      <a:pt x="98143" y="497330"/>
                      <a:pt x="105968" y="498758"/>
                      <a:pt x="113082" y="502326"/>
                    </a:cubicBezTo>
                    <a:cubicBezTo>
                      <a:pt x="137980" y="515173"/>
                      <a:pt x="148651" y="545862"/>
                      <a:pt x="136558" y="570842"/>
                    </a:cubicBezTo>
                    <a:cubicBezTo>
                      <a:pt x="136558" y="570842"/>
                      <a:pt x="136558" y="570842"/>
                      <a:pt x="93163" y="658629"/>
                    </a:cubicBezTo>
                    <a:cubicBezTo>
                      <a:pt x="90318" y="664338"/>
                      <a:pt x="85338" y="667193"/>
                      <a:pt x="80358" y="667193"/>
                    </a:cubicBezTo>
                    <a:cubicBezTo>
                      <a:pt x="78224" y="667193"/>
                      <a:pt x="75379" y="666479"/>
                      <a:pt x="73956" y="665766"/>
                    </a:cubicBezTo>
                    <a:cubicBezTo>
                      <a:pt x="73956" y="665766"/>
                      <a:pt x="73956" y="665766"/>
                      <a:pt x="8509" y="633649"/>
                    </a:cubicBezTo>
                    <a:cubicBezTo>
                      <a:pt x="1395" y="630080"/>
                      <a:pt x="-2162" y="620802"/>
                      <a:pt x="1395" y="613665"/>
                    </a:cubicBezTo>
                    <a:cubicBezTo>
                      <a:pt x="1395" y="613665"/>
                      <a:pt x="1395" y="613665"/>
                      <a:pt x="44789" y="525879"/>
                    </a:cubicBezTo>
                    <a:cubicBezTo>
                      <a:pt x="53326" y="508036"/>
                      <a:pt x="71822" y="497330"/>
                      <a:pt x="90318" y="497330"/>
                    </a:cubicBezTo>
                    <a:close/>
                    <a:moveTo>
                      <a:pt x="395766" y="183"/>
                    </a:moveTo>
                    <a:cubicBezTo>
                      <a:pt x="447824" y="-1962"/>
                      <a:pt x="483302" y="15376"/>
                      <a:pt x="505408" y="22168"/>
                    </a:cubicBezTo>
                    <a:cubicBezTo>
                      <a:pt x="576007" y="42901"/>
                      <a:pt x="752861" y="135130"/>
                      <a:pt x="805632" y="147284"/>
                    </a:cubicBezTo>
                    <a:cubicBezTo>
                      <a:pt x="844141" y="156578"/>
                      <a:pt x="950396" y="83653"/>
                      <a:pt x="1001028" y="45761"/>
                    </a:cubicBezTo>
                    <a:cubicBezTo>
                      <a:pt x="1012437" y="37897"/>
                      <a:pt x="1028126" y="45761"/>
                      <a:pt x="1028126" y="59345"/>
                    </a:cubicBezTo>
                    <a:cubicBezTo>
                      <a:pt x="1028126" y="59345"/>
                      <a:pt x="1028126" y="59345"/>
                      <a:pt x="1028126" y="408239"/>
                    </a:cubicBezTo>
                    <a:cubicBezTo>
                      <a:pt x="1028126" y="412529"/>
                      <a:pt x="1025987" y="415389"/>
                      <a:pt x="1022421" y="416819"/>
                    </a:cubicBezTo>
                    <a:cubicBezTo>
                      <a:pt x="1022421" y="416819"/>
                      <a:pt x="1022421" y="416819"/>
                      <a:pt x="898338" y="448276"/>
                    </a:cubicBezTo>
                    <a:cubicBezTo>
                      <a:pt x="895486" y="449706"/>
                      <a:pt x="891920" y="448991"/>
                      <a:pt x="889781" y="447561"/>
                    </a:cubicBezTo>
                    <a:cubicBezTo>
                      <a:pt x="849846" y="421823"/>
                      <a:pt x="514679" y="209484"/>
                      <a:pt x="465474" y="192325"/>
                    </a:cubicBezTo>
                    <a:cubicBezTo>
                      <a:pt x="426965" y="178026"/>
                      <a:pt x="352800" y="179456"/>
                      <a:pt x="318571" y="180171"/>
                    </a:cubicBezTo>
                    <a:cubicBezTo>
                      <a:pt x="307161" y="180886"/>
                      <a:pt x="296464" y="185891"/>
                      <a:pt x="289333" y="194470"/>
                    </a:cubicBezTo>
                    <a:cubicBezTo>
                      <a:pt x="276496" y="208769"/>
                      <a:pt x="264373" y="220208"/>
                      <a:pt x="252250" y="229503"/>
                    </a:cubicBezTo>
                    <a:cubicBezTo>
                      <a:pt x="209463" y="262390"/>
                      <a:pt x="172381" y="267395"/>
                      <a:pt x="142430" y="260245"/>
                    </a:cubicBezTo>
                    <a:cubicBezTo>
                      <a:pt x="133872" y="258100"/>
                      <a:pt x="126028" y="255241"/>
                      <a:pt x="118897" y="251666"/>
                    </a:cubicBezTo>
                    <a:cubicBezTo>
                      <a:pt x="87519" y="235937"/>
                      <a:pt x="80388" y="194470"/>
                      <a:pt x="105347" y="169447"/>
                    </a:cubicBezTo>
                    <a:cubicBezTo>
                      <a:pt x="111765" y="163012"/>
                      <a:pt x="117470" y="156578"/>
                      <a:pt x="123889" y="150858"/>
                    </a:cubicBezTo>
                    <a:cubicBezTo>
                      <a:pt x="133159" y="142279"/>
                      <a:pt x="141717" y="133700"/>
                      <a:pt x="150274" y="125835"/>
                    </a:cubicBezTo>
                    <a:cubicBezTo>
                      <a:pt x="163110" y="115111"/>
                      <a:pt x="175233" y="104387"/>
                      <a:pt x="186643" y="95093"/>
                    </a:cubicBezTo>
                    <a:cubicBezTo>
                      <a:pt x="275070" y="23955"/>
                      <a:pt x="343708" y="2328"/>
                      <a:pt x="395766" y="183"/>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95" name="Freeform 8">
                <a:extLst>
                  <a:ext uri="{FF2B5EF4-FFF2-40B4-BE49-F238E27FC236}">
                    <a16:creationId xmlns:a16="http://schemas.microsoft.com/office/drawing/2014/main" id="{19901BEA-EBC4-663A-CB46-62F556E54B67}"/>
                  </a:ext>
                </a:extLst>
              </p:cNvPr>
              <p:cNvSpPr>
                <a:spLocks/>
              </p:cNvSpPr>
              <p:nvPr/>
            </p:nvSpPr>
            <p:spPr bwMode="auto">
              <a:xfrm>
                <a:off x="1951038" y="2957512"/>
                <a:ext cx="1134038" cy="922338"/>
              </a:xfrm>
              <a:custGeom>
                <a:avLst/>
                <a:gdLst>
                  <a:gd name="connsiteX0" fmla="*/ 562236 w 1134038"/>
                  <a:gd name="connsiteY0" fmla="*/ 392951 h 922338"/>
                  <a:gd name="connsiteX1" fmla="*/ 579575 w 1134038"/>
                  <a:gd name="connsiteY1" fmla="*/ 396072 h 922338"/>
                  <a:gd name="connsiteX2" fmla="*/ 586725 w 1134038"/>
                  <a:gd name="connsiteY2" fmla="*/ 428181 h 922338"/>
                  <a:gd name="connsiteX3" fmla="*/ 567420 w 1134038"/>
                  <a:gd name="connsiteY3" fmla="*/ 438884 h 922338"/>
                  <a:gd name="connsiteX4" fmla="*/ 546684 w 1134038"/>
                  <a:gd name="connsiteY4" fmla="*/ 470993 h 922338"/>
                  <a:gd name="connsiteX5" fmla="*/ 675390 w 1134038"/>
                  <a:gd name="connsiteY5" fmla="*/ 553763 h 922338"/>
                  <a:gd name="connsiteX6" fmla="*/ 681825 w 1134038"/>
                  <a:gd name="connsiteY6" fmla="*/ 558044 h 922338"/>
                  <a:gd name="connsiteX7" fmla="*/ 685400 w 1134038"/>
                  <a:gd name="connsiteY7" fmla="*/ 575169 h 922338"/>
                  <a:gd name="connsiteX8" fmla="*/ 679680 w 1134038"/>
                  <a:gd name="connsiteY8" fmla="*/ 584445 h 922338"/>
                  <a:gd name="connsiteX9" fmla="*/ 655369 w 1134038"/>
                  <a:gd name="connsiteY9" fmla="*/ 620835 h 922338"/>
                  <a:gd name="connsiteX10" fmla="*/ 653939 w 1134038"/>
                  <a:gd name="connsiteY10" fmla="*/ 643668 h 922338"/>
                  <a:gd name="connsiteX11" fmla="*/ 622477 w 1134038"/>
                  <a:gd name="connsiteY11" fmla="*/ 650803 h 922338"/>
                  <a:gd name="connsiteX12" fmla="*/ 615327 w 1134038"/>
                  <a:gd name="connsiteY12" fmla="*/ 618694 h 922338"/>
                  <a:gd name="connsiteX13" fmla="*/ 635348 w 1134038"/>
                  <a:gd name="connsiteY13" fmla="*/ 607991 h 922338"/>
                  <a:gd name="connsiteX14" fmla="*/ 658944 w 1134038"/>
                  <a:gd name="connsiteY14" fmla="*/ 571601 h 922338"/>
                  <a:gd name="connsiteX15" fmla="*/ 523087 w 1134038"/>
                  <a:gd name="connsiteY15" fmla="*/ 484550 h 922338"/>
                  <a:gd name="connsiteX16" fmla="*/ 519512 w 1134038"/>
                  <a:gd name="connsiteY16" fmla="*/ 468139 h 922338"/>
                  <a:gd name="connsiteX17" fmla="*/ 546684 w 1134038"/>
                  <a:gd name="connsiteY17" fmla="*/ 426041 h 922338"/>
                  <a:gd name="connsiteX18" fmla="*/ 548114 w 1134038"/>
                  <a:gd name="connsiteY18" fmla="*/ 403208 h 922338"/>
                  <a:gd name="connsiteX19" fmla="*/ 562236 w 1134038"/>
                  <a:gd name="connsiteY19" fmla="*/ 392951 h 922338"/>
                  <a:gd name="connsiteX20" fmla="*/ 657977 w 1134038"/>
                  <a:gd name="connsiteY20" fmla="*/ 332541 h 922338"/>
                  <a:gd name="connsiteX21" fmla="*/ 675303 w 1134038"/>
                  <a:gd name="connsiteY21" fmla="*/ 335042 h 922338"/>
                  <a:gd name="connsiteX22" fmla="*/ 685965 w 1134038"/>
                  <a:gd name="connsiteY22" fmla="*/ 355044 h 922338"/>
                  <a:gd name="connsiteX23" fmla="*/ 729326 w 1134038"/>
                  <a:gd name="connsiteY23" fmla="*/ 382190 h 922338"/>
                  <a:gd name="connsiteX24" fmla="*/ 732880 w 1134038"/>
                  <a:gd name="connsiteY24" fmla="*/ 398621 h 922338"/>
                  <a:gd name="connsiteX25" fmla="*/ 725061 w 1134038"/>
                  <a:gd name="connsiteY25" fmla="*/ 411480 h 922338"/>
                  <a:gd name="connsiteX26" fmla="*/ 713688 w 1134038"/>
                  <a:gd name="connsiteY26" fmla="*/ 429339 h 922338"/>
                  <a:gd name="connsiteX27" fmla="*/ 705868 w 1134038"/>
                  <a:gd name="connsiteY27" fmla="*/ 441484 h 922338"/>
                  <a:gd name="connsiteX28" fmla="*/ 740699 w 1134038"/>
                  <a:gd name="connsiteY28" fmla="*/ 462915 h 922338"/>
                  <a:gd name="connsiteX29" fmla="*/ 746385 w 1134038"/>
                  <a:gd name="connsiteY29" fmla="*/ 467201 h 922338"/>
                  <a:gd name="connsiteX30" fmla="*/ 768421 w 1134038"/>
                  <a:gd name="connsiteY30" fmla="*/ 467916 h 922338"/>
                  <a:gd name="connsiteX31" fmla="*/ 776951 w 1134038"/>
                  <a:gd name="connsiteY31" fmla="*/ 497919 h 922338"/>
                  <a:gd name="connsiteX32" fmla="*/ 776240 w 1134038"/>
                  <a:gd name="connsiteY32" fmla="*/ 500063 h 922338"/>
                  <a:gd name="connsiteX33" fmla="*/ 744253 w 1134038"/>
                  <a:gd name="connsiteY33" fmla="*/ 507206 h 922338"/>
                  <a:gd name="connsiteX34" fmla="*/ 736434 w 1134038"/>
                  <a:gd name="connsiteY34" fmla="*/ 499348 h 922338"/>
                  <a:gd name="connsiteX35" fmla="*/ 733590 w 1134038"/>
                  <a:gd name="connsiteY35" fmla="*/ 487918 h 922338"/>
                  <a:gd name="connsiteX36" fmla="*/ 718663 w 1134038"/>
                  <a:gd name="connsiteY36" fmla="*/ 478631 h 922338"/>
                  <a:gd name="connsiteX37" fmla="*/ 693074 w 1134038"/>
                  <a:gd name="connsiteY37" fmla="*/ 462201 h 922338"/>
                  <a:gd name="connsiteX38" fmla="*/ 664641 w 1134038"/>
                  <a:gd name="connsiteY38" fmla="*/ 507921 h 922338"/>
                  <a:gd name="connsiteX39" fmla="*/ 644027 w 1134038"/>
                  <a:gd name="connsiteY39" fmla="*/ 495062 h 922338"/>
                  <a:gd name="connsiteX40" fmla="*/ 661798 w 1134038"/>
                  <a:gd name="connsiteY40" fmla="*/ 466487 h 922338"/>
                  <a:gd name="connsiteX41" fmla="*/ 662508 w 1134038"/>
                  <a:gd name="connsiteY41" fmla="*/ 464344 h 922338"/>
                  <a:gd name="connsiteX42" fmla="*/ 678857 w 1134038"/>
                  <a:gd name="connsiteY42" fmla="*/ 438626 h 922338"/>
                  <a:gd name="connsiteX43" fmla="*/ 680279 w 1134038"/>
                  <a:gd name="connsiteY43" fmla="*/ 437197 h 922338"/>
                  <a:gd name="connsiteX44" fmla="*/ 693074 w 1134038"/>
                  <a:gd name="connsiteY44" fmla="*/ 417195 h 922338"/>
                  <a:gd name="connsiteX45" fmla="*/ 704447 w 1134038"/>
                  <a:gd name="connsiteY45" fmla="*/ 398621 h 922338"/>
                  <a:gd name="connsiteX46" fmla="*/ 705868 w 1134038"/>
                  <a:gd name="connsiteY46" fmla="*/ 396478 h 922338"/>
                  <a:gd name="connsiteX47" fmla="*/ 673171 w 1134038"/>
                  <a:gd name="connsiteY47" fmla="*/ 375761 h 922338"/>
                  <a:gd name="connsiteX48" fmla="*/ 669617 w 1134038"/>
                  <a:gd name="connsiteY48" fmla="*/ 377190 h 922338"/>
                  <a:gd name="connsiteX49" fmla="*/ 650424 w 1134038"/>
                  <a:gd name="connsiteY49" fmla="*/ 375047 h 922338"/>
                  <a:gd name="connsiteX50" fmla="*/ 640473 w 1134038"/>
                  <a:gd name="connsiteY50" fmla="*/ 359330 h 922338"/>
                  <a:gd name="connsiteX51" fmla="*/ 643316 w 1134038"/>
                  <a:gd name="connsiteY51" fmla="*/ 342900 h 922338"/>
                  <a:gd name="connsiteX52" fmla="*/ 657977 w 1134038"/>
                  <a:gd name="connsiteY52" fmla="*/ 332541 h 922338"/>
                  <a:gd name="connsiteX53" fmla="*/ 460157 w 1134038"/>
                  <a:gd name="connsiteY53" fmla="*/ 264012 h 922338"/>
                  <a:gd name="connsiteX54" fmla="*/ 477632 w 1134038"/>
                  <a:gd name="connsiteY54" fmla="*/ 267496 h 922338"/>
                  <a:gd name="connsiteX55" fmla="*/ 479066 w 1134038"/>
                  <a:gd name="connsiteY55" fmla="*/ 268925 h 922338"/>
                  <a:gd name="connsiteX56" fmla="*/ 483368 w 1134038"/>
                  <a:gd name="connsiteY56" fmla="*/ 299653 h 922338"/>
                  <a:gd name="connsiteX57" fmla="*/ 476198 w 1134038"/>
                  <a:gd name="connsiteY57" fmla="*/ 306798 h 922338"/>
                  <a:gd name="connsiteX58" fmla="*/ 463293 w 1134038"/>
                  <a:gd name="connsiteY58" fmla="*/ 309657 h 922338"/>
                  <a:gd name="connsiteX59" fmla="*/ 446087 w 1134038"/>
                  <a:gd name="connsiteY59" fmla="*/ 333953 h 922338"/>
                  <a:gd name="connsiteX60" fmla="*/ 410240 w 1134038"/>
                  <a:gd name="connsiteY60" fmla="*/ 386118 h 922338"/>
                  <a:gd name="connsiteX61" fmla="*/ 466161 w 1134038"/>
                  <a:gd name="connsiteY61" fmla="*/ 423991 h 922338"/>
                  <a:gd name="connsiteX62" fmla="*/ 469029 w 1134038"/>
                  <a:gd name="connsiteY62" fmla="*/ 441141 h 922338"/>
                  <a:gd name="connsiteX63" fmla="*/ 458992 w 1134038"/>
                  <a:gd name="connsiteY63" fmla="*/ 455433 h 922338"/>
                  <a:gd name="connsiteX64" fmla="*/ 410957 w 1134038"/>
                  <a:gd name="connsiteY64" fmla="*/ 525463 h 922338"/>
                  <a:gd name="connsiteX65" fmla="*/ 387298 w 1134038"/>
                  <a:gd name="connsiteY65" fmla="*/ 521176 h 922338"/>
                  <a:gd name="connsiteX66" fmla="*/ 383713 w 1134038"/>
                  <a:gd name="connsiteY66" fmla="*/ 521890 h 922338"/>
                  <a:gd name="connsiteX67" fmla="*/ 438201 w 1134038"/>
                  <a:gd name="connsiteY67" fmla="*/ 443285 h 922338"/>
                  <a:gd name="connsiteX68" fmla="*/ 442502 w 1134038"/>
                  <a:gd name="connsiteY68" fmla="*/ 437569 h 922338"/>
                  <a:gd name="connsiteX69" fmla="*/ 386581 w 1134038"/>
                  <a:gd name="connsiteY69" fmla="*/ 398981 h 922338"/>
                  <a:gd name="connsiteX70" fmla="*/ 383713 w 1134038"/>
                  <a:gd name="connsiteY70" fmla="*/ 381830 h 922338"/>
                  <a:gd name="connsiteX71" fmla="*/ 420277 w 1134038"/>
                  <a:gd name="connsiteY71" fmla="*/ 328236 h 922338"/>
                  <a:gd name="connsiteX72" fmla="*/ 443219 w 1134038"/>
                  <a:gd name="connsiteY72" fmla="*/ 296080 h 922338"/>
                  <a:gd name="connsiteX73" fmla="*/ 445370 w 1134038"/>
                  <a:gd name="connsiteY73" fmla="*/ 273927 h 922338"/>
                  <a:gd name="connsiteX74" fmla="*/ 460157 w 1134038"/>
                  <a:gd name="connsiteY74" fmla="*/ 264012 h 922338"/>
                  <a:gd name="connsiteX75" fmla="*/ 567093 w 1134038"/>
                  <a:gd name="connsiteY75" fmla="*/ 219075 h 922338"/>
                  <a:gd name="connsiteX76" fmla="*/ 624191 w 1134038"/>
                  <a:gd name="connsiteY76" fmla="*/ 225507 h 922338"/>
                  <a:gd name="connsiteX77" fmla="*/ 1097395 w 1134038"/>
                  <a:gd name="connsiteY77" fmla="*/ 512101 h 922338"/>
                  <a:gd name="connsiteX78" fmla="*/ 1131654 w 1134038"/>
                  <a:gd name="connsiteY78" fmla="*/ 559271 h 922338"/>
                  <a:gd name="connsiteX79" fmla="*/ 1123089 w 1134038"/>
                  <a:gd name="connsiteY79" fmla="*/ 617877 h 922338"/>
                  <a:gd name="connsiteX80" fmla="*/ 1057426 w 1134038"/>
                  <a:gd name="connsiteY80" fmla="*/ 655041 h 922338"/>
                  <a:gd name="connsiteX81" fmla="*/ 1042438 w 1134038"/>
                  <a:gd name="connsiteY81" fmla="*/ 653612 h 922338"/>
                  <a:gd name="connsiteX82" fmla="*/ 1043865 w 1134038"/>
                  <a:gd name="connsiteY82" fmla="*/ 658615 h 922338"/>
                  <a:gd name="connsiteX83" fmla="*/ 1034587 w 1134038"/>
                  <a:gd name="connsiteY83" fmla="*/ 717220 h 922338"/>
                  <a:gd name="connsiteX84" fmla="*/ 968923 w 1134038"/>
                  <a:gd name="connsiteY84" fmla="*/ 753669 h 922338"/>
                  <a:gd name="connsiteX85" fmla="*/ 928954 w 1134038"/>
                  <a:gd name="connsiteY85" fmla="*/ 742949 h 922338"/>
                  <a:gd name="connsiteX86" fmla="*/ 925386 w 1134038"/>
                  <a:gd name="connsiteY86" fmla="*/ 740090 h 922338"/>
                  <a:gd name="connsiteX87" fmla="*/ 916107 w 1134038"/>
                  <a:gd name="connsiteY87" fmla="*/ 798695 h 922338"/>
                  <a:gd name="connsiteX88" fmla="*/ 850444 w 1134038"/>
                  <a:gd name="connsiteY88" fmla="*/ 835860 h 922338"/>
                  <a:gd name="connsiteX89" fmla="*/ 812616 w 1134038"/>
                  <a:gd name="connsiteY89" fmla="*/ 825854 h 922338"/>
                  <a:gd name="connsiteX90" fmla="*/ 804765 w 1134038"/>
                  <a:gd name="connsiteY90" fmla="*/ 885174 h 922338"/>
                  <a:gd name="connsiteX91" fmla="*/ 738388 w 1134038"/>
                  <a:gd name="connsiteY91" fmla="*/ 922338 h 922338"/>
                  <a:gd name="connsiteX92" fmla="*/ 699133 w 1134038"/>
                  <a:gd name="connsiteY92" fmla="*/ 911618 h 922338"/>
                  <a:gd name="connsiteX93" fmla="*/ 616340 w 1134038"/>
                  <a:gd name="connsiteY93" fmla="*/ 861589 h 922338"/>
                  <a:gd name="connsiteX94" fmla="*/ 628474 w 1134038"/>
                  <a:gd name="connsiteY94" fmla="*/ 838718 h 922338"/>
                  <a:gd name="connsiteX95" fmla="*/ 672011 w 1134038"/>
                  <a:gd name="connsiteY95" fmla="*/ 865162 h 922338"/>
                  <a:gd name="connsiteX96" fmla="*/ 685572 w 1134038"/>
                  <a:gd name="connsiteY96" fmla="*/ 843007 h 922338"/>
                  <a:gd name="connsiteX97" fmla="*/ 682003 w 1134038"/>
                  <a:gd name="connsiteY97" fmla="*/ 830142 h 922338"/>
                  <a:gd name="connsiteX98" fmla="*/ 706984 w 1134038"/>
                  <a:gd name="connsiteY98" fmla="*/ 805128 h 922338"/>
                  <a:gd name="connsiteX99" fmla="*/ 731965 w 1134038"/>
                  <a:gd name="connsiteY99" fmla="*/ 830142 h 922338"/>
                  <a:gd name="connsiteX100" fmla="*/ 706984 w 1134038"/>
                  <a:gd name="connsiteY100" fmla="*/ 855157 h 922338"/>
                  <a:gd name="connsiteX101" fmla="*/ 704843 w 1134038"/>
                  <a:gd name="connsiteY101" fmla="*/ 855157 h 922338"/>
                  <a:gd name="connsiteX102" fmla="*/ 691282 w 1134038"/>
                  <a:gd name="connsiteY102" fmla="*/ 877312 h 922338"/>
                  <a:gd name="connsiteX103" fmla="*/ 711980 w 1134038"/>
                  <a:gd name="connsiteY103" fmla="*/ 889462 h 922338"/>
                  <a:gd name="connsiteX104" fmla="*/ 738388 w 1134038"/>
                  <a:gd name="connsiteY104" fmla="*/ 896609 h 922338"/>
                  <a:gd name="connsiteX105" fmla="*/ 782639 w 1134038"/>
                  <a:gd name="connsiteY105" fmla="*/ 872309 h 922338"/>
                  <a:gd name="connsiteX106" fmla="*/ 764796 w 1134038"/>
                  <a:gd name="connsiteY106" fmla="*/ 801554 h 922338"/>
                  <a:gd name="connsiteX107" fmla="*/ 677007 w 1134038"/>
                  <a:gd name="connsiteY107" fmla="*/ 748667 h 922338"/>
                  <a:gd name="connsiteX108" fmla="*/ 679148 w 1134038"/>
                  <a:gd name="connsiteY108" fmla="*/ 745093 h 922338"/>
                  <a:gd name="connsiteX109" fmla="*/ 689854 w 1134038"/>
                  <a:gd name="connsiteY109" fmla="*/ 725796 h 922338"/>
                  <a:gd name="connsiteX110" fmla="*/ 691282 w 1134038"/>
                  <a:gd name="connsiteY110" fmla="*/ 722223 h 922338"/>
                  <a:gd name="connsiteX111" fmla="*/ 780498 w 1134038"/>
                  <a:gd name="connsiteY111" fmla="*/ 775825 h 922338"/>
                  <a:gd name="connsiteX112" fmla="*/ 800483 w 1134038"/>
                  <a:gd name="connsiteY112" fmla="*/ 743664 h 922338"/>
                  <a:gd name="connsiteX113" fmla="*/ 763369 w 1134038"/>
                  <a:gd name="connsiteY113" fmla="*/ 720793 h 922338"/>
                  <a:gd name="connsiteX114" fmla="*/ 740529 w 1134038"/>
                  <a:gd name="connsiteY114" fmla="*/ 719364 h 922338"/>
                  <a:gd name="connsiteX115" fmla="*/ 733392 w 1134038"/>
                  <a:gd name="connsiteY115" fmla="*/ 687202 h 922338"/>
                  <a:gd name="connsiteX116" fmla="*/ 765510 w 1134038"/>
                  <a:gd name="connsiteY116" fmla="*/ 680055 h 922338"/>
                  <a:gd name="connsiteX117" fmla="*/ 776216 w 1134038"/>
                  <a:gd name="connsiteY117" fmla="*/ 700067 h 922338"/>
                  <a:gd name="connsiteX118" fmla="*/ 823322 w 1134038"/>
                  <a:gd name="connsiteY118" fmla="*/ 729370 h 922338"/>
                  <a:gd name="connsiteX119" fmla="*/ 827605 w 1134038"/>
                  <a:gd name="connsiteY119" fmla="*/ 745808 h 922338"/>
                  <a:gd name="connsiteX120" fmla="*/ 801196 w 1134038"/>
                  <a:gd name="connsiteY120" fmla="*/ 788690 h 922338"/>
                  <a:gd name="connsiteX121" fmla="*/ 824036 w 1134038"/>
                  <a:gd name="connsiteY121" fmla="*/ 802269 h 922338"/>
                  <a:gd name="connsiteX122" fmla="*/ 850444 w 1134038"/>
                  <a:gd name="connsiteY122" fmla="*/ 810131 h 922338"/>
                  <a:gd name="connsiteX123" fmla="*/ 893982 w 1134038"/>
                  <a:gd name="connsiteY123" fmla="*/ 785116 h 922338"/>
                  <a:gd name="connsiteX124" fmla="*/ 876852 w 1134038"/>
                  <a:gd name="connsiteY124" fmla="*/ 715076 h 922338"/>
                  <a:gd name="connsiteX125" fmla="*/ 739816 w 1134038"/>
                  <a:gd name="connsiteY125" fmla="*/ 632171 h 922338"/>
                  <a:gd name="connsiteX126" fmla="*/ 741957 w 1134038"/>
                  <a:gd name="connsiteY126" fmla="*/ 628597 h 922338"/>
                  <a:gd name="connsiteX127" fmla="*/ 752663 w 1134038"/>
                  <a:gd name="connsiteY127" fmla="*/ 609300 h 922338"/>
                  <a:gd name="connsiteX128" fmla="*/ 754090 w 1134038"/>
                  <a:gd name="connsiteY128" fmla="*/ 606442 h 922338"/>
                  <a:gd name="connsiteX129" fmla="*/ 811902 w 1134038"/>
                  <a:gd name="connsiteY129" fmla="*/ 641462 h 922338"/>
                  <a:gd name="connsiteX130" fmla="*/ 839024 w 1134038"/>
                  <a:gd name="connsiteY130" fmla="*/ 596436 h 922338"/>
                  <a:gd name="connsiteX131" fmla="*/ 855440 w 1134038"/>
                  <a:gd name="connsiteY131" fmla="*/ 592862 h 922338"/>
                  <a:gd name="connsiteX132" fmla="*/ 903260 w 1134038"/>
                  <a:gd name="connsiteY132" fmla="*/ 621450 h 922338"/>
                  <a:gd name="connsiteX133" fmla="*/ 926099 w 1134038"/>
                  <a:gd name="connsiteY133" fmla="*/ 622880 h 922338"/>
                  <a:gd name="connsiteX134" fmla="*/ 933237 w 1134038"/>
                  <a:gd name="connsiteY134" fmla="*/ 654326 h 922338"/>
                  <a:gd name="connsiteX135" fmla="*/ 901833 w 1134038"/>
                  <a:gd name="connsiteY135" fmla="*/ 662188 h 922338"/>
                  <a:gd name="connsiteX136" fmla="*/ 890413 w 1134038"/>
                  <a:gd name="connsiteY136" fmla="*/ 642176 h 922338"/>
                  <a:gd name="connsiteX137" fmla="*/ 853299 w 1134038"/>
                  <a:gd name="connsiteY137" fmla="*/ 620021 h 922338"/>
                  <a:gd name="connsiteX138" fmla="*/ 832601 w 1134038"/>
                  <a:gd name="connsiteY138" fmla="*/ 653612 h 922338"/>
                  <a:gd name="connsiteX139" fmla="*/ 942515 w 1134038"/>
                  <a:gd name="connsiteY139" fmla="*/ 720793 h 922338"/>
                  <a:gd name="connsiteX140" fmla="*/ 968923 w 1134038"/>
                  <a:gd name="connsiteY140" fmla="*/ 727940 h 922338"/>
                  <a:gd name="connsiteX141" fmla="*/ 1012461 w 1134038"/>
                  <a:gd name="connsiteY141" fmla="*/ 703641 h 922338"/>
                  <a:gd name="connsiteX142" fmla="*/ 995331 w 1134038"/>
                  <a:gd name="connsiteY142" fmla="*/ 632885 h 922338"/>
                  <a:gd name="connsiteX143" fmla="*/ 802624 w 1134038"/>
                  <a:gd name="connsiteY143" fmla="*/ 515675 h 922338"/>
                  <a:gd name="connsiteX144" fmla="*/ 804051 w 1134038"/>
                  <a:gd name="connsiteY144" fmla="*/ 514245 h 922338"/>
                  <a:gd name="connsiteX145" fmla="*/ 814757 w 1134038"/>
                  <a:gd name="connsiteY145" fmla="*/ 493519 h 922338"/>
                  <a:gd name="connsiteX146" fmla="*/ 816185 w 1134038"/>
                  <a:gd name="connsiteY146" fmla="*/ 491375 h 922338"/>
                  <a:gd name="connsiteX147" fmla="*/ 984625 w 1134038"/>
                  <a:gd name="connsiteY147" fmla="*/ 593577 h 922338"/>
                  <a:gd name="connsiteX148" fmla="*/ 1003896 w 1134038"/>
                  <a:gd name="connsiteY148" fmla="*/ 562845 h 922338"/>
                  <a:gd name="connsiteX149" fmla="*/ 886844 w 1134038"/>
                  <a:gd name="connsiteY149" fmla="*/ 491375 h 922338"/>
                  <a:gd name="connsiteX150" fmla="*/ 864005 w 1134038"/>
                  <a:gd name="connsiteY150" fmla="*/ 489946 h 922338"/>
                  <a:gd name="connsiteX151" fmla="*/ 856868 w 1134038"/>
                  <a:gd name="connsiteY151" fmla="*/ 457784 h 922338"/>
                  <a:gd name="connsiteX152" fmla="*/ 888985 w 1134038"/>
                  <a:gd name="connsiteY152" fmla="*/ 450637 h 922338"/>
                  <a:gd name="connsiteX153" fmla="*/ 899691 w 1134038"/>
                  <a:gd name="connsiteY153" fmla="*/ 470649 h 922338"/>
                  <a:gd name="connsiteX154" fmla="*/ 1027449 w 1134038"/>
                  <a:gd name="connsiteY154" fmla="*/ 549266 h 922338"/>
                  <a:gd name="connsiteX155" fmla="*/ 1031018 w 1134038"/>
                  <a:gd name="connsiteY155" fmla="*/ 565704 h 922338"/>
                  <a:gd name="connsiteX156" fmla="*/ 1005324 w 1134038"/>
                  <a:gd name="connsiteY156" fmla="*/ 606442 h 922338"/>
                  <a:gd name="connsiteX157" fmla="*/ 1031018 w 1134038"/>
                  <a:gd name="connsiteY157" fmla="*/ 621450 h 922338"/>
                  <a:gd name="connsiteX158" fmla="*/ 1057426 w 1134038"/>
                  <a:gd name="connsiteY158" fmla="*/ 629312 h 922338"/>
                  <a:gd name="connsiteX159" fmla="*/ 1100964 w 1134038"/>
                  <a:gd name="connsiteY159" fmla="*/ 604297 h 922338"/>
                  <a:gd name="connsiteX160" fmla="*/ 1083834 w 1134038"/>
                  <a:gd name="connsiteY160" fmla="*/ 534257 h 922338"/>
                  <a:gd name="connsiteX161" fmla="*/ 619195 w 1134038"/>
                  <a:gd name="connsiteY161" fmla="*/ 252666 h 922338"/>
                  <a:gd name="connsiteX162" fmla="*/ 573516 w 1134038"/>
                  <a:gd name="connsiteY162" fmla="*/ 317703 h 922338"/>
                  <a:gd name="connsiteX163" fmla="*/ 566379 w 1134038"/>
                  <a:gd name="connsiteY163" fmla="*/ 327709 h 922338"/>
                  <a:gd name="connsiteX164" fmla="*/ 567806 w 1134038"/>
                  <a:gd name="connsiteY164" fmla="*/ 341289 h 922338"/>
                  <a:gd name="connsiteX165" fmla="*/ 564238 w 1134038"/>
                  <a:gd name="connsiteY165" fmla="*/ 350580 h 922338"/>
                  <a:gd name="connsiteX166" fmla="*/ 549963 w 1134038"/>
                  <a:gd name="connsiteY166" fmla="*/ 359871 h 922338"/>
                  <a:gd name="connsiteX167" fmla="*/ 532120 w 1134038"/>
                  <a:gd name="connsiteY167" fmla="*/ 356297 h 922338"/>
                  <a:gd name="connsiteX168" fmla="*/ 522841 w 1134038"/>
                  <a:gd name="connsiteY168" fmla="*/ 343433 h 922338"/>
                  <a:gd name="connsiteX169" fmla="*/ 525696 w 1134038"/>
                  <a:gd name="connsiteY169" fmla="*/ 324136 h 922338"/>
                  <a:gd name="connsiteX170" fmla="*/ 531406 w 1134038"/>
                  <a:gd name="connsiteY170" fmla="*/ 319133 h 922338"/>
                  <a:gd name="connsiteX171" fmla="*/ 546394 w 1134038"/>
                  <a:gd name="connsiteY171" fmla="*/ 314130 h 922338"/>
                  <a:gd name="connsiteX172" fmla="*/ 552818 w 1134038"/>
                  <a:gd name="connsiteY172" fmla="*/ 305554 h 922338"/>
                  <a:gd name="connsiteX173" fmla="*/ 598497 w 1134038"/>
                  <a:gd name="connsiteY173" fmla="*/ 239801 h 922338"/>
                  <a:gd name="connsiteX174" fmla="*/ 567806 w 1134038"/>
                  <a:gd name="connsiteY174" fmla="*/ 221219 h 922338"/>
                  <a:gd name="connsiteX175" fmla="*/ 567093 w 1134038"/>
                  <a:gd name="connsiteY175" fmla="*/ 219075 h 922338"/>
                  <a:gd name="connsiteX176" fmla="*/ 216455 w 1134038"/>
                  <a:gd name="connsiteY176" fmla="*/ 209392 h 922338"/>
                  <a:gd name="connsiteX177" fmla="*/ 235029 w 1134038"/>
                  <a:gd name="connsiteY177" fmla="*/ 212252 h 922338"/>
                  <a:gd name="connsiteX178" fmla="*/ 235744 w 1134038"/>
                  <a:gd name="connsiteY178" fmla="*/ 212252 h 922338"/>
                  <a:gd name="connsiteX179" fmla="*/ 242887 w 1134038"/>
                  <a:gd name="connsiteY179" fmla="*/ 242998 h 922338"/>
                  <a:gd name="connsiteX180" fmla="*/ 242173 w 1134038"/>
                  <a:gd name="connsiteY180" fmla="*/ 244428 h 922338"/>
                  <a:gd name="connsiteX181" fmla="*/ 222885 w 1134038"/>
                  <a:gd name="connsiteY181" fmla="*/ 255153 h 922338"/>
                  <a:gd name="connsiteX182" fmla="*/ 217170 w 1134038"/>
                  <a:gd name="connsiteY182" fmla="*/ 264448 h 922338"/>
                  <a:gd name="connsiteX183" fmla="*/ 202168 w 1134038"/>
                  <a:gd name="connsiteY183" fmla="*/ 287329 h 922338"/>
                  <a:gd name="connsiteX184" fmla="*/ 265033 w 1134038"/>
                  <a:gd name="connsiteY184" fmla="*/ 328084 h 922338"/>
                  <a:gd name="connsiteX185" fmla="*/ 269319 w 1134038"/>
                  <a:gd name="connsiteY185" fmla="*/ 330944 h 922338"/>
                  <a:gd name="connsiteX186" fmla="*/ 287179 w 1134038"/>
                  <a:gd name="connsiteY186" fmla="*/ 342385 h 922338"/>
                  <a:gd name="connsiteX187" fmla="*/ 291465 w 1134038"/>
                  <a:gd name="connsiteY187" fmla="*/ 345245 h 922338"/>
                  <a:gd name="connsiteX188" fmla="*/ 337185 w 1134038"/>
                  <a:gd name="connsiteY188" fmla="*/ 374560 h 922338"/>
                  <a:gd name="connsiteX189" fmla="*/ 342900 w 1134038"/>
                  <a:gd name="connsiteY189" fmla="*/ 386000 h 922338"/>
                  <a:gd name="connsiteX190" fmla="*/ 340757 w 1134038"/>
                  <a:gd name="connsiteY190" fmla="*/ 391721 h 922338"/>
                  <a:gd name="connsiteX191" fmla="*/ 310753 w 1134038"/>
                  <a:gd name="connsiteY191" fmla="*/ 437481 h 922338"/>
                  <a:gd name="connsiteX192" fmla="*/ 309324 w 1134038"/>
                  <a:gd name="connsiteY192" fmla="*/ 460362 h 922338"/>
                  <a:gd name="connsiteX193" fmla="*/ 277177 w 1134038"/>
                  <a:gd name="connsiteY193" fmla="*/ 467512 h 922338"/>
                  <a:gd name="connsiteX194" fmla="*/ 270748 w 1134038"/>
                  <a:gd name="connsiteY194" fmla="*/ 435336 h 922338"/>
                  <a:gd name="connsiteX195" fmla="*/ 290750 w 1134038"/>
                  <a:gd name="connsiteY195" fmla="*/ 424611 h 922338"/>
                  <a:gd name="connsiteX196" fmla="*/ 313610 w 1134038"/>
                  <a:gd name="connsiteY196" fmla="*/ 388146 h 922338"/>
                  <a:gd name="connsiteX197" fmla="*/ 282178 w 1134038"/>
                  <a:gd name="connsiteY197" fmla="*/ 368125 h 922338"/>
                  <a:gd name="connsiteX198" fmla="*/ 260747 w 1134038"/>
                  <a:gd name="connsiteY198" fmla="*/ 353825 h 922338"/>
                  <a:gd name="connsiteX199" fmla="*/ 255746 w 1134038"/>
                  <a:gd name="connsiteY199" fmla="*/ 350965 h 922338"/>
                  <a:gd name="connsiteX200" fmla="*/ 178594 w 1134038"/>
                  <a:gd name="connsiteY200" fmla="*/ 301629 h 922338"/>
                  <a:gd name="connsiteX201" fmla="*/ 175022 w 1134038"/>
                  <a:gd name="connsiteY201" fmla="*/ 284469 h 922338"/>
                  <a:gd name="connsiteX202" fmla="*/ 202168 w 1134038"/>
                  <a:gd name="connsiteY202" fmla="*/ 242283 h 922338"/>
                  <a:gd name="connsiteX203" fmla="*/ 203597 w 1134038"/>
                  <a:gd name="connsiteY203" fmla="*/ 219402 h 922338"/>
                  <a:gd name="connsiteX204" fmla="*/ 216455 w 1134038"/>
                  <a:gd name="connsiteY204" fmla="*/ 209392 h 922338"/>
                  <a:gd name="connsiteX205" fmla="*/ 25600 w 1134038"/>
                  <a:gd name="connsiteY205" fmla="*/ 0 h 922338"/>
                  <a:gd name="connsiteX206" fmla="*/ 43378 w 1134038"/>
                  <a:gd name="connsiteY206" fmla="*/ 6414 h 922338"/>
                  <a:gd name="connsiteX207" fmla="*/ 110222 w 1134038"/>
                  <a:gd name="connsiteY207" fmla="*/ 68420 h 922338"/>
                  <a:gd name="connsiteX208" fmla="*/ 110933 w 1134038"/>
                  <a:gd name="connsiteY208" fmla="*/ 69133 h 922338"/>
                  <a:gd name="connsiteX209" fmla="*/ 230399 w 1134038"/>
                  <a:gd name="connsiteY209" fmla="*/ 135415 h 922338"/>
                  <a:gd name="connsiteX210" fmla="*/ 252444 w 1134038"/>
                  <a:gd name="connsiteY210" fmla="*/ 129714 h 922338"/>
                  <a:gd name="connsiteX211" fmla="*/ 258132 w 1134038"/>
                  <a:gd name="connsiteY211" fmla="*/ 126863 h 922338"/>
                  <a:gd name="connsiteX212" fmla="*/ 293688 w 1134038"/>
                  <a:gd name="connsiteY212" fmla="*/ 114747 h 922338"/>
                  <a:gd name="connsiteX213" fmla="*/ 260266 w 1134038"/>
                  <a:gd name="connsiteY213" fmla="*/ 147532 h 922338"/>
                  <a:gd name="connsiteX214" fmla="*/ 251021 w 1134038"/>
                  <a:gd name="connsiteY214" fmla="*/ 158222 h 922338"/>
                  <a:gd name="connsiteX215" fmla="*/ 230399 w 1134038"/>
                  <a:gd name="connsiteY215" fmla="*/ 161073 h 922338"/>
                  <a:gd name="connsiteX216" fmla="*/ 93155 w 1134038"/>
                  <a:gd name="connsiteY216" fmla="*/ 87664 h 922338"/>
                  <a:gd name="connsiteX217" fmla="*/ 25600 w 1134038"/>
                  <a:gd name="connsiteY217" fmla="*/ 25658 h 922338"/>
                  <a:gd name="connsiteX218" fmla="*/ 25600 w 1134038"/>
                  <a:gd name="connsiteY218" fmla="*/ 276533 h 922338"/>
                  <a:gd name="connsiteX219" fmla="*/ 91733 w 1134038"/>
                  <a:gd name="connsiteY219" fmla="*/ 281522 h 922338"/>
                  <a:gd name="connsiteX220" fmla="*/ 96711 w 1134038"/>
                  <a:gd name="connsiteY220" fmla="*/ 211676 h 922338"/>
                  <a:gd name="connsiteX221" fmla="*/ 87466 w 1134038"/>
                  <a:gd name="connsiteY221" fmla="*/ 191720 h 922338"/>
                  <a:gd name="connsiteX222" fmla="*/ 112355 w 1134038"/>
                  <a:gd name="connsiteY222" fmla="*/ 170338 h 922338"/>
                  <a:gd name="connsiteX223" fmla="*/ 133688 w 1134038"/>
                  <a:gd name="connsiteY223" fmla="*/ 195283 h 922338"/>
                  <a:gd name="connsiteX224" fmla="*/ 120888 w 1134038"/>
                  <a:gd name="connsiteY224" fmla="*/ 213814 h 922338"/>
                  <a:gd name="connsiteX225" fmla="*/ 114488 w 1134038"/>
                  <a:gd name="connsiteY225" fmla="*/ 295063 h 922338"/>
                  <a:gd name="connsiteX226" fmla="*/ 101689 w 1134038"/>
                  <a:gd name="connsiteY226" fmla="*/ 306467 h 922338"/>
                  <a:gd name="connsiteX227" fmla="*/ 25600 w 1134038"/>
                  <a:gd name="connsiteY227" fmla="*/ 300765 h 922338"/>
                  <a:gd name="connsiteX228" fmla="*/ 25600 w 1134038"/>
                  <a:gd name="connsiteY228" fmla="*/ 397694 h 922338"/>
                  <a:gd name="connsiteX229" fmla="*/ 103822 w 1134038"/>
                  <a:gd name="connsiteY229" fmla="*/ 455424 h 922338"/>
                  <a:gd name="connsiteX230" fmla="*/ 130133 w 1134038"/>
                  <a:gd name="connsiteY230" fmla="*/ 416937 h 922338"/>
                  <a:gd name="connsiteX231" fmla="*/ 93866 w 1134038"/>
                  <a:gd name="connsiteY231" fmla="*/ 392705 h 922338"/>
                  <a:gd name="connsiteX232" fmla="*/ 71822 w 1134038"/>
                  <a:gd name="connsiteY232" fmla="*/ 390567 h 922338"/>
                  <a:gd name="connsiteX233" fmla="*/ 65422 w 1134038"/>
                  <a:gd name="connsiteY233" fmla="*/ 358495 h 922338"/>
                  <a:gd name="connsiteX234" fmla="*/ 98133 w 1134038"/>
                  <a:gd name="connsiteY234" fmla="*/ 352081 h 922338"/>
                  <a:gd name="connsiteX235" fmla="*/ 108088 w 1134038"/>
                  <a:gd name="connsiteY235" fmla="*/ 372749 h 922338"/>
                  <a:gd name="connsiteX236" fmla="*/ 153599 w 1134038"/>
                  <a:gd name="connsiteY236" fmla="*/ 404109 h 922338"/>
                  <a:gd name="connsiteX237" fmla="*/ 156444 w 1134038"/>
                  <a:gd name="connsiteY237" fmla="*/ 421214 h 922338"/>
                  <a:gd name="connsiteX238" fmla="*/ 123022 w 1134038"/>
                  <a:gd name="connsiteY238" fmla="*/ 469678 h 922338"/>
                  <a:gd name="connsiteX239" fmla="*/ 191999 w 1134038"/>
                  <a:gd name="connsiteY239" fmla="*/ 520994 h 922338"/>
                  <a:gd name="connsiteX240" fmla="*/ 181333 w 1134038"/>
                  <a:gd name="connsiteY240" fmla="*/ 544513 h 922338"/>
                  <a:gd name="connsiteX241" fmla="*/ 180622 w 1134038"/>
                  <a:gd name="connsiteY241" fmla="*/ 543800 h 922338"/>
                  <a:gd name="connsiteX242" fmla="*/ 10667 w 1134038"/>
                  <a:gd name="connsiteY242" fmla="*/ 418363 h 922338"/>
                  <a:gd name="connsiteX243" fmla="*/ 0 w 1134038"/>
                  <a:gd name="connsiteY243" fmla="*/ 397694 h 922338"/>
                  <a:gd name="connsiteX244" fmla="*/ 0 w 1134038"/>
                  <a:gd name="connsiteY244" fmla="*/ 25658 h 922338"/>
                  <a:gd name="connsiteX245" fmla="*/ 15644 w 1134038"/>
                  <a:gd name="connsiteY245" fmla="*/ 2138 h 922338"/>
                  <a:gd name="connsiteX246" fmla="*/ 25600 w 1134038"/>
                  <a:gd name="connsiteY246" fmla="*/ 0 h 92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Lst>
                <a:rect l="l" t="t" r="r" b="b"/>
                <a:pathLst>
                  <a:path w="1134038" h="922338">
                    <a:moveTo>
                      <a:pt x="562236" y="392951"/>
                    </a:moveTo>
                    <a:cubicBezTo>
                      <a:pt x="567956" y="391613"/>
                      <a:pt x="574212" y="392505"/>
                      <a:pt x="579575" y="396072"/>
                    </a:cubicBezTo>
                    <a:cubicBezTo>
                      <a:pt x="591016" y="403208"/>
                      <a:pt x="593161" y="417478"/>
                      <a:pt x="586725" y="428181"/>
                    </a:cubicBezTo>
                    <a:cubicBezTo>
                      <a:pt x="582435" y="434603"/>
                      <a:pt x="575285" y="438171"/>
                      <a:pt x="567420" y="438884"/>
                    </a:cubicBezTo>
                    <a:cubicBezTo>
                      <a:pt x="546684" y="470993"/>
                      <a:pt x="546684" y="470993"/>
                      <a:pt x="546684" y="470993"/>
                    </a:cubicBezTo>
                    <a:cubicBezTo>
                      <a:pt x="632488" y="525935"/>
                      <a:pt x="663949" y="546628"/>
                      <a:pt x="675390" y="553763"/>
                    </a:cubicBezTo>
                    <a:cubicBezTo>
                      <a:pt x="681825" y="558044"/>
                      <a:pt x="681825" y="558044"/>
                      <a:pt x="681825" y="558044"/>
                    </a:cubicBezTo>
                    <a:cubicBezTo>
                      <a:pt x="687545" y="561612"/>
                      <a:pt x="688975" y="569461"/>
                      <a:pt x="685400" y="575169"/>
                    </a:cubicBezTo>
                    <a:cubicBezTo>
                      <a:pt x="683255" y="578023"/>
                      <a:pt x="681110" y="581591"/>
                      <a:pt x="679680" y="584445"/>
                    </a:cubicBezTo>
                    <a:cubicBezTo>
                      <a:pt x="656084" y="620835"/>
                      <a:pt x="655369" y="620835"/>
                      <a:pt x="655369" y="620835"/>
                    </a:cubicBezTo>
                    <a:cubicBezTo>
                      <a:pt x="658944" y="628684"/>
                      <a:pt x="658944" y="636533"/>
                      <a:pt x="653939" y="643668"/>
                    </a:cubicBezTo>
                    <a:cubicBezTo>
                      <a:pt x="647503" y="654371"/>
                      <a:pt x="633203" y="657225"/>
                      <a:pt x="622477" y="650803"/>
                    </a:cubicBezTo>
                    <a:cubicBezTo>
                      <a:pt x="611752" y="643668"/>
                      <a:pt x="608176" y="629397"/>
                      <a:pt x="615327" y="618694"/>
                    </a:cubicBezTo>
                    <a:cubicBezTo>
                      <a:pt x="619617" y="611559"/>
                      <a:pt x="627482" y="607991"/>
                      <a:pt x="635348" y="607991"/>
                    </a:cubicBezTo>
                    <a:cubicBezTo>
                      <a:pt x="658944" y="571601"/>
                      <a:pt x="658944" y="571601"/>
                      <a:pt x="658944" y="571601"/>
                    </a:cubicBezTo>
                    <a:cubicBezTo>
                      <a:pt x="523087" y="484550"/>
                      <a:pt x="523087" y="484550"/>
                      <a:pt x="523087" y="484550"/>
                    </a:cubicBezTo>
                    <a:cubicBezTo>
                      <a:pt x="518082" y="480983"/>
                      <a:pt x="515937" y="473847"/>
                      <a:pt x="519512" y="468139"/>
                    </a:cubicBezTo>
                    <a:cubicBezTo>
                      <a:pt x="546684" y="426041"/>
                      <a:pt x="546684" y="426041"/>
                      <a:pt x="546684" y="426041"/>
                    </a:cubicBezTo>
                    <a:cubicBezTo>
                      <a:pt x="543108" y="418905"/>
                      <a:pt x="543108" y="410343"/>
                      <a:pt x="548114" y="403208"/>
                    </a:cubicBezTo>
                    <a:cubicBezTo>
                      <a:pt x="551331" y="397856"/>
                      <a:pt x="556515" y="394289"/>
                      <a:pt x="562236" y="392951"/>
                    </a:cubicBezTo>
                    <a:close/>
                    <a:moveTo>
                      <a:pt x="657977" y="332541"/>
                    </a:moveTo>
                    <a:cubicBezTo>
                      <a:pt x="663752" y="331113"/>
                      <a:pt x="669972" y="331827"/>
                      <a:pt x="675303" y="335042"/>
                    </a:cubicBezTo>
                    <a:cubicBezTo>
                      <a:pt x="682411" y="339328"/>
                      <a:pt x="685965" y="347186"/>
                      <a:pt x="685965" y="355044"/>
                    </a:cubicBezTo>
                    <a:cubicBezTo>
                      <a:pt x="729326" y="382190"/>
                      <a:pt x="729326" y="382190"/>
                      <a:pt x="729326" y="382190"/>
                    </a:cubicBezTo>
                    <a:cubicBezTo>
                      <a:pt x="734301" y="385762"/>
                      <a:pt x="736434" y="393620"/>
                      <a:pt x="732880" y="398621"/>
                    </a:cubicBezTo>
                    <a:cubicBezTo>
                      <a:pt x="730036" y="403622"/>
                      <a:pt x="727193" y="407908"/>
                      <a:pt x="725061" y="411480"/>
                    </a:cubicBezTo>
                    <a:cubicBezTo>
                      <a:pt x="720085" y="419338"/>
                      <a:pt x="716531" y="425053"/>
                      <a:pt x="713688" y="429339"/>
                    </a:cubicBezTo>
                    <a:cubicBezTo>
                      <a:pt x="705868" y="441484"/>
                      <a:pt x="705868" y="441484"/>
                      <a:pt x="705868" y="441484"/>
                    </a:cubicBezTo>
                    <a:cubicBezTo>
                      <a:pt x="725061" y="453628"/>
                      <a:pt x="735012" y="460057"/>
                      <a:pt x="740699" y="462915"/>
                    </a:cubicBezTo>
                    <a:cubicBezTo>
                      <a:pt x="746385" y="467201"/>
                      <a:pt x="746385" y="467201"/>
                      <a:pt x="746385" y="467201"/>
                    </a:cubicBezTo>
                    <a:cubicBezTo>
                      <a:pt x="753493" y="463629"/>
                      <a:pt x="762023" y="463629"/>
                      <a:pt x="768421" y="467916"/>
                    </a:cubicBezTo>
                    <a:cubicBezTo>
                      <a:pt x="779083" y="474345"/>
                      <a:pt x="782637" y="487204"/>
                      <a:pt x="776951" y="497919"/>
                    </a:cubicBezTo>
                    <a:cubicBezTo>
                      <a:pt x="776951" y="498634"/>
                      <a:pt x="776240" y="499348"/>
                      <a:pt x="776240" y="500063"/>
                    </a:cubicBezTo>
                    <a:cubicBezTo>
                      <a:pt x="769132" y="511493"/>
                      <a:pt x="754915" y="514350"/>
                      <a:pt x="744253" y="507206"/>
                    </a:cubicBezTo>
                    <a:cubicBezTo>
                      <a:pt x="740699" y="505063"/>
                      <a:pt x="737855" y="502206"/>
                      <a:pt x="736434" y="499348"/>
                    </a:cubicBezTo>
                    <a:cubicBezTo>
                      <a:pt x="734301" y="495776"/>
                      <a:pt x="733590" y="491490"/>
                      <a:pt x="733590" y="487918"/>
                    </a:cubicBezTo>
                    <a:cubicBezTo>
                      <a:pt x="727904" y="484346"/>
                      <a:pt x="722928" y="481489"/>
                      <a:pt x="718663" y="478631"/>
                    </a:cubicBezTo>
                    <a:cubicBezTo>
                      <a:pt x="693074" y="462201"/>
                      <a:pt x="693074" y="462201"/>
                      <a:pt x="693074" y="462201"/>
                    </a:cubicBezTo>
                    <a:cubicBezTo>
                      <a:pt x="672460" y="495776"/>
                      <a:pt x="666773" y="505063"/>
                      <a:pt x="664641" y="507921"/>
                    </a:cubicBezTo>
                    <a:cubicBezTo>
                      <a:pt x="664641" y="507921"/>
                      <a:pt x="664641" y="507921"/>
                      <a:pt x="644027" y="495062"/>
                    </a:cubicBezTo>
                    <a:cubicBezTo>
                      <a:pt x="661798" y="467201"/>
                      <a:pt x="661798" y="466487"/>
                      <a:pt x="661798" y="466487"/>
                    </a:cubicBezTo>
                    <a:cubicBezTo>
                      <a:pt x="662508" y="466487"/>
                      <a:pt x="661798" y="465773"/>
                      <a:pt x="662508" y="464344"/>
                    </a:cubicBezTo>
                    <a:cubicBezTo>
                      <a:pt x="678857" y="438626"/>
                      <a:pt x="678857" y="438626"/>
                      <a:pt x="678857" y="438626"/>
                    </a:cubicBezTo>
                    <a:cubicBezTo>
                      <a:pt x="679568" y="437912"/>
                      <a:pt x="680279" y="437912"/>
                      <a:pt x="680279" y="437197"/>
                    </a:cubicBezTo>
                    <a:cubicBezTo>
                      <a:pt x="685965" y="428625"/>
                      <a:pt x="689520" y="422196"/>
                      <a:pt x="693074" y="417195"/>
                    </a:cubicBezTo>
                    <a:cubicBezTo>
                      <a:pt x="700182" y="406479"/>
                      <a:pt x="703025" y="400764"/>
                      <a:pt x="704447" y="398621"/>
                    </a:cubicBezTo>
                    <a:cubicBezTo>
                      <a:pt x="705868" y="396478"/>
                      <a:pt x="705868" y="396478"/>
                      <a:pt x="705868" y="396478"/>
                    </a:cubicBezTo>
                    <a:cubicBezTo>
                      <a:pt x="673171" y="375761"/>
                      <a:pt x="673171" y="375761"/>
                      <a:pt x="673171" y="375761"/>
                    </a:cubicBezTo>
                    <a:cubicBezTo>
                      <a:pt x="671749" y="376475"/>
                      <a:pt x="671038" y="376475"/>
                      <a:pt x="669617" y="377190"/>
                    </a:cubicBezTo>
                    <a:cubicBezTo>
                      <a:pt x="663219" y="379333"/>
                      <a:pt x="656822" y="378619"/>
                      <a:pt x="650424" y="375047"/>
                    </a:cubicBezTo>
                    <a:cubicBezTo>
                      <a:pt x="644738" y="371475"/>
                      <a:pt x="641184" y="365045"/>
                      <a:pt x="640473" y="359330"/>
                    </a:cubicBezTo>
                    <a:cubicBezTo>
                      <a:pt x="639762" y="353615"/>
                      <a:pt x="640473" y="347900"/>
                      <a:pt x="643316" y="342900"/>
                    </a:cubicBezTo>
                    <a:cubicBezTo>
                      <a:pt x="646870" y="337542"/>
                      <a:pt x="652201" y="333970"/>
                      <a:pt x="657977" y="332541"/>
                    </a:cubicBezTo>
                    <a:close/>
                    <a:moveTo>
                      <a:pt x="460157" y="264012"/>
                    </a:moveTo>
                    <a:cubicBezTo>
                      <a:pt x="465982" y="262851"/>
                      <a:pt x="472255" y="263923"/>
                      <a:pt x="477632" y="267496"/>
                    </a:cubicBezTo>
                    <a:cubicBezTo>
                      <a:pt x="478349" y="268211"/>
                      <a:pt x="478349" y="268211"/>
                      <a:pt x="479066" y="268925"/>
                    </a:cubicBezTo>
                    <a:cubicBezTo>
                      <a:pt x="488386" y="276071"/>
                      <a:pt x="490537" y="289648"/>
                      <a:pt x="483368" y="299653"/>
                    </a:cubicBezTo>
                    <a:cubicBezTo>
                      <a:pt x="481217" y="302511"/>
                      <a:pt x="479066" y="305369"/>
                      <a:pt x="476198" y="306798"/>
                    </a:cubicBezTo>
                    <a:cubicBezTo>
                      <a:pt x="471897" y="308942"/>
                      <a:pt x="467595" y="309657"/>
                      <a:pt x="463293" y="309657"/>
                    </a:cubicBezTo>
                    <a:cubicBezTo>
                      <a:pt x="456841" y="318947"/>
                      <a:pt x="451105" y="326807"/>
                      <a:pt x="446087" y="333953"/>
                    </a:cubicBezTo>
                    <a:cubicBezTo>
                      <a:pt x="410240" y="386118"/>
                      <a:pt x="410240" y="386118"/>
                      <a:pt x="410240" y="386118"/>
                    </a:cubicBezTo>
                    <a:cubicBezTo>
                      <a:pt x="466161" y="423991"/>
                      <a:pt x="466161" y="423991"/>
                      <a:pt x="466161" y="423991"/>
                    </a:cubicBezTo>
                    <a:cubicBezTo>
                      <a:pt x="471897" y="427564"/>
                      <a:pt x="472613" y="435425"/>
                      <a:pt x="469029" y="441141"/>
                    </a:cubicBezTo>
                    <a:cubicBezTo>
                      <a:pt x="465444" y="446144"/>
                      <a:pt x="461859" y="451146"/>
                      <a:pt x="458992" y="455433"/>
                    </a:cubicBezTo>
                    <a:cubicBezTo>
                      <a:pt x="436767" y="487590"/>
                      <a:pt x="421711" y="509742"/>
                      <a:pt x="410957" y="525463"/>
                    </a:cubicBezTo>
                    <a:cubicBezTo>
                      <a:pt x="403071" y="522605"/>
                      <a:pt x="395184" y="521176"/>
                      <a:pt x="387298" y="521176"/>
                    </a:cubicBezTo>
                    <a:cubicBezTo>
                      <a:pt x="385864" y="521176"/>
                      <a:pt x="385147" y="521890"/>
                      <a:pt x="383713" y="521890"/>
                    </a:cubicBezTo>
                    <a:cubicBezTo>
                      <a:pt x="418126" y="471869"/>
                      <a:pt x="432465" y="451860"/>
                      <a:pt x="438201" y="443285"/>
                    </a:cubicBezTo>
                    <a:cubicBezTo>
                      <a:pt x="442502" y="437569"/>
                      <a:pt x="442502" y="437569"/>
                      <a:pt x="442502" y="437569"/>
                    </a:cubicBezTo>
                    <a:cubicBezTo>
                      <a:pt x="386581" y="398981"/>
                      <a:pt x="386581" y="398981"/>
                      <a:pt x="386581" y="398981"/>
                    </a:cubicBezTo>
                    <a:cubicBezTo>
                      <a:pt x="380846" y="395408"/>
                      <a:pt x="379412" y="388262"/>
                      <a:pt x="383713" y="381830"/>
                    </a:cubicBezTo>
                    <a:cubicBezTo>
                      <a:pt x="400203" y="358249"/>
                      <a:pt x="411674" y="341099"/>
                      <a:pt x="420277" y="328236"/>
                    </a:cubicBezTo>
                    <a:cubicBezTo>
                      <a:pt x="443219" y="296080"/>
                      <a:pt x="443219" y="296080"/>
                      <a:pt x="443219" y="296080"/>
                    </a:cubicBezTo>
                    <a:cubicBezTo>
                      <a:pt x="439634" y="288934"/>
                      <a:pt x="440351" y="280359"/>
                      <a:pt x="445370" y="273927"/>
                    </a:cubicBezTo>
                    <a:cubicBezTo>
                      <a:pt x="448955" y="268568"/>
                      <a:pt x="454332" y="265174"/>
                      <a:pt x="460157" y="264012"/>
                    </a:cubicBezTo>
                    <a:close/>
                    <a:moveTo>
                      <a:pt x="567093" y="219075"/>
                    </a:moveTo>
                    <a:cubicBezTo>
                      <a:pt x="594928" y="219790"/>
                      <a:pt x="612771" y="222649"/>
                      <a:pt x="624191" y="225507"/>
                    </a:cubicBezTo>
                    <a:cubicBezTo>
                      <a:pt x="624191" y="225507"/>
                      <a:pt x="624191" y="225507"/>
                      <a:pt x="1097395" y="512101"/>
                    </a:cubicBezTo>
                    <a:cubicBezTo>
                      <a:pt x="1114524" y="522822"/>
                      <a:pt x="1127372" y="539975"/>
                      <a:pt x="1131654" y="559271"/>
                    </a:cubicBezTo>
                    <a:cubicBezTo>
                      <a:pt x="1136650" y="579283"/>
                      <a:pt x="1133795" y="600009"/>
                      <a:pt x="1123089" y="617877"/>
                    </a:cubicBezTo>
                    <a:cubicBezTo>
                      <a:pt x="1108815" y="640747"/>
                      <a:pt x="1084548" y="655041"/>
                      <a:pt x="1057426" y="655041"/>
                    </a:cubicBezTo>
                    <a:cubicBezTo>
                      <a:pt x="1052430" y="655041"/>
                      <a:pt x="1047434" y="654326"/>
                      <a:pt x="1042438" y="653612"/>
                    </a:cubicBezTo>
                    <a:cubicBezTo>
                      <a:pt x="1042438" y="655041"/>
                      <a:pt x="1043151" y="657185"/>
                      <a:pt x="1043865" y="658615"/>
                    </a:cubicBezTo>
                    <a:cubicBezTo>
                      <a:pt x="1048861" y="678626"/>
                      <a:pt x="1045293" y="699352"/>
                      <a:pt x="1034587" y="717220"/>
                    </a:cubicBezTo>
                    <a:cubicBezTo>
                      <a:pt x="1020312" y="740090"/>
                      <a:pt x="996045" y="753669"/>
                      <a:pt x="968923" y="753669"/>
                    </a:cubicBezTo>
                    <a:cubicBezTo>
                      <a:pt x="954649" y="753669"/>
                      <a:pt x="941088" y="750096"/>
                      <a:pt x="928954" y="742949"/>
                    </a:cubicBezTo>
                    <a:cubicBezTo>
                      <a:pt x="928954" y="742949"/>
                      <a:pt x="928954" y="742949"/>
                      <a:pt x="925386" y="740090"/>
                    </a:cubicBezTo>
                    <a:cubicBezTo>
                      <a:pt x="929668" y="760102"/>
                      <a:pt x="926813" y="780828"/>
                      <a:pt x="916107" y="798695"/>
                    </a:cubicBezTo>
                    <a:cubicBezTo>
                      <a:pt x="902546" y="821566"/>
                      <a:pt x="877566" y="835860"/>
                      <a:pt x="850444" y="835860"/>
                    </a:cubicBezTo>
                    <a:cubicBezTo>
                      <a:pt x="837597" y="835860"/>
                      <a:pt x="824036" y="832286"/>
                      <a:pt x="812616" y="825854"/>
                    </a:cubicBezTo>
                    <a:cubicBezTo>
                      <a:pt x="818326" y="845151"/>
                      <a:pt x="815471" y="866592"/>
                      <a:pt x="804765" y="885174"/>
                    </a:cubicBezTo>
                    <a:cubicBezTo>
                      <a:pt x="790491" y="908044"/>
                      <a:pt x="765510" y="922338"/>
                      <a:pt x="738388" y="922338"/>
                    </a:cubicBezTo>
                    <a:cubicBezTo>
                      <a:pt x="724827" y="922338"/>
                      <a:pt x="711266" y="918765"/>
                      <a:pt x="699133" y="911618"/>
                    </a:cubicBezTo>
                    <a:cubicBezTo>
                      <a:pt x="699133" y="911618"/>
                      <a:pt x="699133" y="911618"/>
                      <a:pt x="616340" y="861589"/>
                    </a:cubicBezTo>
                    <a:cubicBezTo>
                      <a:pt x="616340" y="861589"/>
                      <a:pt x="616340" y="861589"/>
                      <a:pt x="628474" y="838718"/>
                    </a:cubicBezTo>
                    <a:cubicBezTo>
                      <a:pt x="628474" y="838718"/>
                      <a:pt x="628474" y="838718"/>
                      <a:pt x="672011" y="865162"/>
                    </a:cubicBezTo>
                    <a:cubicBezTo>
                      <a:pt x="672011" y="865162"/>
                      <a:pt x="672011" y="865162"/>
                      <a:pt x="685572" y="843007"/>
                    </a:cubicBezTo>
                    <a:cubicBezTo>
                      <a:pt x="683431" y="839433"/>
                      <a:pt x="682003" y="834430"/>
                      <a:pt x="682003" y="830142"/>
                    </a:cubicBezTo>
                    <a:cubicBezTo>
                      <a:pt x="682003" y="816563"/>
                      <a:pt x="692709" y="805128"/>
                      <a:pt x="706984" y="805128"/>
                    </a:cubicBezTo>
                    <a:cubicBezTo>
                      <a:pt x="720545" y="805128"/>
                      <a:pt x="731965" y="816563"/>
                      <a:pt x="731965" y="830142"/>
                    </a:cubicBezTo>
                    <a:cubicBezTo>
                      <a:pt x="731965" y="843721"/>
                      <a:pt x="720545" y="855157"/>
                      <a:pt x="706984" y="855157"/>
                    </a:cubicBezTo>
                    <a:cubicBezTo>
                      <a:pt x="706270" y="855157"/>
                      <a:pt x="705557" y="855157"/>
                      <a:pt x="704843" y="855157"/>
                    </a:cubicBezTo>
                    <a:cubicBezTo>
                      <a:pt x="704843" y="855157"/>
                      <a:pt x="704843" y="855157"/>
                      <a:pt x="691282" y="877312"/>
                    </a:cubicBezTo>
                    <a:cubicBezTo>
                      <a:pt x="691282" y="877312"/>
                      <a:pt x="691282" y="877312"/>
                      <a:pt x="711980" y="889462"/>
                    </a:cubicBezTo>
                    <a:cubicBezTo>
                      <a:pt x="720545" y="894465"/>
                      <a:pt x="729823" y="896609"/>
                      <a:pt x="738388" y="896609"/>
                    </a:cubicBezTo>
                    <a:cubicBezTo>
                      <a:pt x="756231" y="896609"/>
                      <a:pt x="772647" y="888033"/>
                      <a:pt x="782639" y="872309"/>
                    </a:cubicBezTo>
                    <a:cubicBezTo>
                      <a:pt x="796914" y="848010"/>
                      <a:pt x="789063" y="816563"/>
                      <a:pt x="764796" y="801554"/>
                    </a:cubicBezTo>
                    <a:cubicBezTo>
                      <a:pt x="764796" y="801554"/>
                      <a:pt x="764796" y="801554"/>
                      <a:pt x="677007" y="748667"/>
                    </a:cubicBezTo>
                    <a:cubicBezTo>
                      <a:pt x="677007" y="748667"/>
                      <a:pt x="677007" y="748667"/>
                      <a:pt x="679148" y="745093"/>
                    </a:cubicBezTo>
                    <a:cubicBezTo>
                      <a:pt x="679148" y="745093"/>
                      <a:pt x="679148" y="745093"/>
                      <a:pt x="689854" y="725796"/>
                    </a:cubicBezTo>
                    <a:cubicBezTo>
                      <a:pt x="689854" y="725796"/>
                      <a:pt x="689854" y="725796"/>
                      <a:pt x="691282" y="722223"/>
                    </a:cubicBezTo>
                    <a:cubicBezTo>
                      <a:pt x="691282" y="722223"/>
                      <a:pt x="691282" y="722223"/>
                      <a:pt x="780498" y="775825"/>
                    </a:cubicBezTo>
                    <a:cubicBezTo>
                      <a:pt x="800483" y="743664"/>
                      <a:pt x="800483" y="743664"/>
                      <a:pt x="800483" y="743664"/>
                    </a:cubicBezTo>
                    <a:cubicBezTo>
                      <a:pt x="763369" y="720793"/>
                      <a:pt x="763369" y="720793"/>
                      <a:pt x="763369" y="720793"/>
                    </a:cubicBezTo>
                    <a:cubicBezTo>
                      <a:pt x="756231" y="723652"/>
                      <a:pt x="747667" y="723652"/>
                      <a:pt x="740529" y="719364"/>
                    </a:cubicBezTo>
                    <a:cubicBezTo>
                      <a:pt x="729823" y="712932"/>
                      <a:pt x="726255" y="698638"/>
                      <a:pt x="733392" y="687202"/>
                    </a:cubicBezTo>
                    <a:cubicBezTo>
                      <a:pt x="739816" y="676482"/>
                      <a:pt x="754804" y="672908"/>
                      <a:pt x="765510" y="680055"/>
                    </a:cubicBezTo>
                    <a:cubicBezTo>
                      <a:pt x="771934" y="684344"/>
                      <a:pt x="776216" y="692205"/>
                      <a:pt x="776216" y="700067"/>
                    </a:cubicBezTo>
                    <a:cubicBezTo>
                      <a:pt x="823322" y="729370"/>
                      <a:pt x="823322" y="729370"/>
                      <a:pt x="823322" y="729370"/>
                    </a:cubicBezTo>
                    <a:cubicBezTo>
                      <a:pt x="829032" y="732943"/>
                      <a:pt x="831173" y="740090"/>
                      <a:pt x="827605" y="745808"/>
                    </a:cubicBezTo>
                    <a:cubicBezTo>
                      <a:pt x="814757" y="766534"/>
                      <a:pt x="806193" y="780113"/>
                      <a:pt x="801196" y="788690"/>
                    </a:cubicBezTo>
                    <a:cubicBezTo>
                      <a:pt x="801196" y="788690"/>
                      <a:pt x="801196" y="788690"/>
                      <a:pt x="824036" y="802269"/>
                    </a:cubicBezTo>
                    <a:cubicBezTo>
                      <a:pt x="832601" y="807272"/>
                      <a:pt x="841165" y="810131"/>
                      <a:pt x="850444" y="810131"/>
                    </a:cubicBezTo>
                    <a:cubicBezTo>
                      <a:pt x="867573" y="810131"/>
                      <a:pt x="884703" y="800839"/>
                      <a:pt x="893982" y="785116"/>
                    </a:cubicBezTo>
                    <a:cubicBezTo>
                      <a:pt x="908970" y="760816"/>
                      <a:pt x="901119" y="729370"/>
                      <a:pt x="876852" y="715076"/>
                    </a:cubicBezTo>
                    <a:cubicBezTo>
                      <a:pt x="876852" y="715076"/>
                      <a:pt x="876852" y="715076"/>
                      <a:pt x="739816" y="632171"/>
                    </a:cubicBezTo>
                    <a:cubicBezTo>
                      <a:pt x="739816" y="632171"/>
                      <a:pt x="739816" y="632171"/>
                      <a:pt x="741957" y="628597"/>
                    </a:cubicBezTo>
                    <a:cubicBezTo>
                      <a:pt x="741957" y="628597"/>
                      <a:pt x="741957" y="628597"/>
                      <a:pt x="752663" y="609300"/>
                    </a:cubicBezTo>
                    <a:cubicBezTo>
                      <a:pt x="752663" y="609300"/>
                      <a:pt x="752663" y="609300"/>
                      <a:pt x="754090" y="606442"/>
                    </a:cubicBezTo>
                    <a:cubicBezTo>
                      <a:pt x="754090" y="606442"/>
                      <a:pt x="754090" y="606442"/>
                      <a:pt x="811902" y="641462"/>
                    </a:cubicBezTo>
                    <a:cubicBezTo>
                      <a:pt x="816899" y="632885"/>
                      <a:pt x="825463" y="618591"/>
                      <a:pt x="839024" y="596436"/>
                    </a:cubicBezTo>
                    <a:cubicBezTo>
                      <a:pt x="842593" y="590718"/>
                      <a:pt x="849730" y="589289"/>
                      <a:pt x="855440" y="592862"/>
                    </a:cubicBezTo>
                    <a:cubicBezTo>
                      <a:pt x="855440" y="592862"/>
                      <a:pt x="855440" y="592862"/>
                      <a:pt x="903260" y="621450"/>
                    </a:cubicBezTo>
                    <a:cubicBezTo>
                      <a:pt x="910397" y="618591"/>
                      <a:pt x="918962" y="618591"/>
                      <a:pt x="926099" y="622880"/>
                    </a:cubicBezTo>
                    <a:cubicBezTo>
                      <a:pt x="936805" y="629312"/>
                      <a:pt x="940374" y="643606"/>
                      <a:pt x="933237" y="654326"/>
                    </a:cubicBezTo>
                    <a:cubicBezTo>
                      <a:pt x="926813" y="665761"/>
                      <a:pt x="912539" y="668620"/>
                      <a:pt x="901833" y="662188"/>
                    </a:cubicBezTo>
                    <a:cubicBezTo>
                      <a:pt x="894695" y="657900"/>
                      <a:pt x="890413" y="650753"/>
                      <a:pt x="890413" y="642176"/>
                    </a:cubicBezTo>
                    <a:cubicBezTo>
                      <a:pt x="890413" y="642176"/>
                      <a:pt x="890413" y="642176"/>
                      <a:pt x="853299" y="620021"/>
                    </a:cubicBezTo>
                    <a:cubicBezTo>
                      <a:pt x="853299" y="620021"/>
                      <a:pt x="853299" y="620021"/>
                      <a:pt x="832601" y="653612"/>
                    </a:cubicBezTo>
                    <a:cubicBezTo>
                      <a:pt x="832601" y="653612"/>
                      <a:pt x="832601" y="653612"/>
                      <a:pt x="942515" y="720793"/>
                    </a:cubicBezTo>
                    <a:cubicBezTo>
                      <a:pt x="951080" y="725796"/>
                      <a:pt x="959645" y="727940"/>
                      <a:pt x="968923" y="727940"/>
                    </a:cubicBezTo>
                    <a:cubicBezTo>
                      <a:pt x="986053" y="727940"/>
                      <a:pt x="1003182" y="719364"/>
                      <a:pt x="1012461" y="703641"/>
                    </a:cubicBezTo>
                    <a:cubicBezTo>
                      <a:pt x="1027449" y="679341"/>
                      <a:pt x="1019598" y="647894"/>
                      <a:pt x="995331" y="632885"/>
                    </a:cubicBezTo>
                    <a:cubicBezTo>
                      <a:pt x="995331" y="632885"/>
                      <a:pt x="995331" y="632885"/>
                      <a:pt x="802624" y="515675"/>
                    </a:cubicBezTo>
                    <a:cubicBezTo>
                      <a:pt x="802624" y="515675"/>
                      <a:pt x="802624" y="515675"/>
                      <a:pt x="804051" y="514245"/>
                    </a:cubicBezTo>
                    <a:cubicBezTo>
                      <a:pt x="804051" y="514245"/>
                      <a:pt x="804051" y="514245"/>
                      <a:pt x="814757" y="493519"/>
                    </a:cubicBezTo>
                    <a:cubicBezTo>
                      <a:pt x="814757" y="493519"/>
                      <a:pt x="814757" y="493519"/>
                      <a:pt x="816185" y="491375"/>
                    </a:cubicBezTo>
                    <a:cubicBezTo>
                      <a:pt x="816185" y="491375"/>
                      <a:pt x="816185" y="491375"/>
                      <a:pt x="984625" y="593577"/>
                    </a:cubicBezTo>
                    <a:cubicBezTo>
                      <a:pt x="1003896" y="563560"/>
                      <a:pt x="1003896" y="562845"/>
                      <a:pt x="1003896" y="562845"/>
                    </a:cubicBezTo>
                    <a:cubicBezTo>
                      <a:pt x="966782" y="539975"/>
                      <a:pt x="886844" y="491375"/>
                      <a:pt x="886844" y="491375"/>
                    </a:cubicBezTo>
                    <a:cubicBezTo>
                      <a:pt x="879707" y="494234"/>
                      <a:pt x="871142" y="494234"/>
                      <a:pt x="864005" y="489946"/>
                    </a:cubicBezTo>
                    <a:cubicBezTo>
                      <a:pt x="853299" y="483513"/>
                      <a:pt x="850444" y="468505"/>
                      <a:pt x="856868" y="457784"/>
                    </a:cubicBezTo>
                    <a:cubicBezTo>
                      <a:pt x="864005" y="447064"/>
                      <a:pt x="878279" y="444205"/>
                      <a:pt x="888985" y="450637"/>
                    </a:cubicBezTo>
                    <a:cubicBezTo>
                      <a:pt x="896123" y="454926"/>
                      <a:pt x="899691" y="462787"/>
                      <a:pt x="899691" y="470649"/>
                    </a:cubicBezTo>
                    <a:cubicBezTo>
                      <a:pt x="946798" y="500666"/>
                      <a:pt x="1027449" y="549266"/>
                      <a:pt x="1027449" y="549266"/>
                    </a:cubicBezTo>
                    <a:cubicBezTo>
                      <a:pt x="1032445" y="552839"/>
                      <a:pt x="1034587" y="559986"/>
                      <a:pt x="1031018" y="565704"/>
                    </a:cubicBezTo>
                    <a:cubicBezTo>
                      <a:pt x="1018884" y="585001"/>
                      <a:pt x="1011033" y="597865"/>
                      <a:pt x="1005324" y="606442"/>
                    </a:cubicBezTo>
                    <a:cubicBezTo>
                      <a:pt x="1005324" y="606442"/>
                      <a:pt x="1005324" y="606442"/>
                      <a:pt x="1031018" y="621450"/>
                    </a:cubicBezTo>
                    <a:cubicBezTo>
                      <a:pt x="1038869" y="626453"/>
                      <a:pt x="1048147" y="629312"/>
                      <a:pt x="1057426" y="629312"/>
                    </a:cubicBezTo>
                    <a:cubicBezTo>
                      <a:pt x="1074556" y="629312"/>
                      <a:pt x="1091685" y="620021"/>
                      <a:pt x="1100964" y="604297"/>
                    </a:cubicBezTo>
                    <a:cubicBezTo>
                      <a:pt x="1115952" y="579998"/>
                      <a:pt x="1108101" y="548551"/>
                      <a:pt x="1083834" y="534257"/>
                    </a:cubicBezTo>
                    <a:cubicBezTo>
                      <a:pt x="1083834" y="534257"/>
                      <a:pt x="1083834" y="534257"/>
                      <a:pt x="619195" y="252666"/>
                    </a:cubicBezTo>
                    <a:cubicBezTo>
                      <a:pt x="601352" y="278395"/>
                      <a:pt x="582795" y="304124"/>
                      <a:pt x="573516" y="317703"/>
                    </a:cubicBezTo>
                    <a:cubicBezTo>
                      <a:pt x="569234" y="324136"/>
                      <a:pt x="566379" y="327709"/>
                      <a:pt x="566379" y="327709"/>
                    </a:cubicBezTo>
                    <a:cubicBezTo>
                      <a:pt x="568520" y="331997"/>
                      <a:pt x="568520" y="336286"/>
                      <a:pt x="567806" y="341289"/>
                    </a:cubicBezTo>
                    <a:cubicBezTo>
                      <a:pt x="567093" y="344147"/>
                      <a:pt x="566379" y="347721"/>
                      <a:pt x="564238" y="350580"/>
                    </a:cubicBezTo>
                    <a:cubicBezTo>
                      <a:pt x="560669" y="355582"/>
                      <a:pt x="555673" y="359156"/>
                      <a:pt x="549963" y="359871"/>
                    </a:cubicBezTo>
                    <a:cubicBezTo>
                      <a:pt x="543540" y="361300"/>
                      <a:pt x="537116" y="360585"/>
                      <a:pt x="532120" y="356297"/>
                    </a:cubicBezTo>
                    <a:cubicBezTo>
                      <a:pt x="527124" y="353438"/>
                      <a:pt x="524269" y="348435"/>
                      <a:pt x="522841" y="343433"/>
                    </a:cubicBezTo>
                    <a:cubicBezTo>
                      <a:pt x="520700" y="337000"/>
                      <a:pt x="522128" y="329853"/>
                      <a:pt x="525696" y="324136"/>
                    </a:cubicBezTo>
                    <a:cubicBezTo>
                      <a:pt x="527124" y="321992"/>
                      <a:pt x="529265" y="320562"/>
                      <a:pt x="531406" y="319133"/>
                    </a:cubicBezTo>
                    <a:cubicBezTo>
                      <a:pt x="535688" y="315559"/>
                      <a:pt x="541398" y="313415"/>
                      <a:pt x="546394" y="314130"/>
                    </a:cubicBezTo>
                    <a:cubicBezTo>
                      <a:pt x="548536" y="311271"/>
                      <a:pt x="550677" y="308412"/>
                      <a:pt x="552818" y="305554"/>
                    </a:cubicBezTo>
                    <a:cubicBezTo>
                      <a:pt x="569948" y="279824"/>
                      <a:pt x="589932" y="251237"/>
                      <a:pt x="598497" y="239801"/>
                    </a:cubicBezTo>
                    <a:cubicBezTo>
                      <a:pt x="598497" y="239801"/>
                      <a:pt x="598497" y="239801"/>
                      <a:pt x="567806" y="221219"/>
                    </a:cubicBezTo>
                    <a:cubicBezTo>
                      <a:pt x="567806" y="220505"/>
                      <a:pt x="567806" y="219790"/>
                      <a:pt x="567093" y="219075"/>
                    </a:cubicBezTo>
                    <a:close/>
                    <a:moveTo>
                      <a:pt x="216455" y="209392"/>
                    </a:moveTo>
                    <a:cubicBezTo>
                      <a:pt x="222885" y="207962"/>
                      <a:pt x="229314" y="208677"/>
                      <a:pt x="235029" y="212252"/>
                    </a:cubicBezTo>
                    <a:cubicBezTo>
                      <a:pt x="235029" y="212252"/>
                      <a:pt x="235744" y="212252"/>
                      <a:pt x="235744" y="212252"/>
                    </a:cubicBezTo>
                    <a:cubicBezTo>
                      <a:pt x="245745" y="219402"/>
                      <a:pt x="248602" y="232273"/>
                      <a:pt x="242887" y="242998"/>
                    </a:cubicBezTo>
                    <a:cubicBezTo>
                      <a:pt x="242173" y="242998"/>
                      <a:pt x="242173" y="243713"/>
                      <a:pt x="242173" y="244428"/>
                    </a:cubicBezTo>
                    <a:cubicBezTo>
                      <a:pt x="237887" y="250863"/>
                      <a:pt x="230743" y="254438"/>
                      <a:pt x="222885" y="255153"/>
                    </a:cubicBezTo>
                    <a:cubicBezTo>
                      <a:pt x="220742" y="258728"/>
                      <a:pt x="218599" y="261588"/>
                      <a:pt x="217170" y="264448"/>
                    </a:cubicBezTo>
                    <a:cubicBezTo>
                      <a:pt x="202168" y="287329"/>
                      <a:pt x="202168" y="287329"/>
                      <a:pt x="202168" y="287329"/>
                    </a:cubicBezTo>
                    <a:cubicBezTo>
                      <a:pt x="227885" y="303774"/>
                      <a:pt x="247888" y="317359"/>
                      <a:pt x="265033" y="328084"/>
                    </a:cubicBezTo>
                    <a:cubicBezTo>
                      <a:pt x="266462" y="328799"/>
                      <a:pt x="267890" y="330229"/>
                      <a:pt x="269319" y="330944"/>
                    </a:cubicBezTo>
                    <a:cubicBezTo>
                      <a:pt x="275749" y="335235"/>
                      <a:pt x="282178" y="338810"/>
                      <a:pt x="287179" y="342385"/>
                    </a:cubicBezTo>
                    <a:cubicBezTo>
                      <a:pt x="288607" y="343100"/>
                      <a:pt x="290036" y="344530"/>
                      <a:pt x="291465" y="345245"/>
                    </a:cubicBezTo>
                    <a:cubicBezTo>
                      <a:pt x="337185" y="374560"/>
                      <a:pt x="337185" y="374560"/>
                      <a:pt x="337185" y="374560"/>
                    </a:cubicBezTo>
                    <a:cubicBezTo>
                      <a:pt x="341471" y="377420"/>
                      <a:pt x="342900" y="381710"/>
                      <a:pt x="342900" y="386000"/>
                    </a:cubicBezTo>
                    <a:cubicBezTo>
                      <a:pt x="342900" y="388146"/>
                      <a:pt x="342185" y="389576"/>
                      <a:pt x="340757" y="391721"/>
                    </a:cubicBezTo>
                    <a:cubicBezTo>
                      <a:pt x="310753" y="437481"/>
                      <a:pt x="310753" y="437481"/>
                      <a:pt x="310753" y="437481"/>
                    </a:cubicBezTo>
                    <a:cubicBezTo>
                      <a:pt x="314325" y="445347"/>
                      <a:pt x="314325" y="453212"/>
                      <a:pt x="309324" y="460362"/>
                    </a:cubicBezTo>
                    <a:cubicBezTo>
                      <a:pt x="302895" y="471087"/>
                      <a:pt x="287893" y="474662"/>
                      <a:pt x="277177" y="467512"/>
                    </a:cubicBezTo>
                    <a:cubicBezTo>
                      <a:pt x="267176" y="460362"/>
                      <a:pt x="263604" y="446062"/>
                      <a:pt x="270748" y="435336"/>
                    </a:cubicBezTo>
                    <a:cubicBezTo>
                      <a:pt x="275034" y="428186"/>
                      <a:pt x="282892" y="424611"/>
                      <a:pt x="290750" y="424611"/>
                    </a:cubicBezTo>
                    <a:cubicBezTo>
                      <a:pt x="313610" y="388146"/>
                      <a:pt x="313610" y="388146"/>
                      <a:pt x="313610" y="388146"/>
                    </a:cubicBezTo>
                    <a:cubicBezTo>
                      <a:pt x="302180" y="380995"/>
                      <a:pt x="292179" y="374560"/>
                      <a:pt x="282178" y="368125"/>
                    </a:cubicBezTo>
                    <a:cubicBezTo>
                      <a:pt x="274320" y="363120"/>
                      <a:pt x="267176" y="358115"/>
                      <a:pt x="260747" y="353825"/>
                    </a:cubicBezTo>
                    <a:cubicBezTo>
                      <a:pt x="258604" y="353110"/>
                      <a:pt x="257175" y="351680"/>
                      <a:pt x="255746" y="350965"/>
                    </a:cubicBezTo>
                    <a:cubicBezTo>
                      <a:pt x="178594" y="301629"/>
                      <a:pt x="178594" y="301629"/>
                      <a:pt x="178594" y="301629"/>
                    </a:cubicBezTo>
                    <a:cubicBezTo>
                      <a:pt x="173593" y="298054"/>
                      <a:pt x="171450" y="290189"/>
                      <a:pt x="175022" y="284469"/>
                    </a:cubicBezTo>
                    <a:cubicBezTo>
                      <a:pt x="202168" y="242283"/>
                      <a:pt x="202168" y="242283"/>
                      <a:pt x="202168" y="242283"/>
                    </a:cubicBezTo>
                    <a:cubicBezTo>
                      <a:pt x="198596" y="235133"/>
                      <a:pt x="198596" y="226552"/>
                      <a:pt x="203597" y="219402"/>
                    </a:cubicBezTo>
                    <a:cubicBezTo>
                      <a:pt x="206454" y="214397"/>
                      <a:pt x="211455" y="210822"/>
                      <a:pt x="216455" y="209392"/>
                    </a:cubicBezTo>
                    <a:close/>
                    <a:moveTo>
                      <a:pt x="25600" y="0"/>
                    </a:moveTo>
                    <a:cubicBezTo>
                      <a:pt x="32000" y="0"/>
                      <a:pt x="38400" y="2138"/>
                      <a:pt x="43378" y="6414"/>
                    </a:cubicBezTo>
                    <a:cubicBezTo>
                      <a:pt x="43378" y="6414"/>
                      <a:pt x="43378" y="6414"/>
                      <a:pt x="110222" y="68420"/>
                    </a:cubicBezTo>
                    <a:cubicBezTo>
                      <a:pt x="110933" y="69133"/>
                      <a:pt x="110933" y="69133"/>
                      <a:pt x="110933" y="69133"/>
                    </a:cubicBezTo>
                    <a:cubicBezTo>
                      <a:pt x="129422" y="87664"/>
                      <a:pt x="187022" y="135415"/>
                      <a:pt x="230399" y="135415"/>
                    </a:cubicBezTo>
                    <a:cubicBezTo>
                      <a:pt x="238932" y="135415"/>
                      <a:pt x="246044" y="133990"/>
                      <a:pt x="252444" y="129714"/>
                    </a:cubicBezTo>
                    <a:cubicBezTo>
                      <a:pt x="254577" y="128288"/>
                      <a:pt x="255999" y="127576"/>
                      <a:pt x="258132" y="126863"/>
                    </a:cubicBezTo>
                    <a:cubicBezTo>
                      <a:pt x="258132" y="126863"/>
                      <a:pt x="258132" y="126863"/>
                      <a:pt x="293688" y="114747"/>
                    </a:cubicBezTo>
                    <a:cubicBezTo>
                      <a:pt x="282310" y="125437"/>
                      <a:pt x="271643" y="136128"/>
                      <a:pt x="260266" y="147532"/>
                    </a:cubicBezTo>
                    <a:cubicBezTo>
                      <a:pt x="256710" y="151095"/>
                      <a:pt x="253866" y="154659"/>
                      <a:pt x="251021" y="158222"/>
                    </a:cubicBezTo>
                    <a:cubicBezTo>
                      <a:pt x="244621" y="160360"/>
                      <a:pt x="237510" y="161073"/>
                      <a:pt x="230399" y="161073"/>
                    </a:cubicBezTo>
                    <a:cubicBezTo>
                      <a:pt x="166399" y="161073"/>
                      <a:pt x="93155" y="87664"/>
                      <a:pt x="93155" y="87664"/>
                    </a:cubicBezTo>
                    <a:cubicBezTo>
                      <a:pt x="93155" y="87664"/>
                      <a:pt x="93155" y="87664"/>
                      <a:pt x="25600" y="25658"/>
                    </a:cubicBezTo>
                    <a:cubicBezTo>
                      <a:pt x="25600" y="25658"/>
                      <a:pt x="25600" y="25658"/>
                      <a:pt x="25600" y="276533"/>
                    </a:cubicBezTo>
                    <a:cubicBezTo>
                      <a:pt x="38400" y="277246"/>
                      <a:pt x="59022" y="278671"/>
                      <a:pt x="91733" y="281522"/>
                    </a:cubicBezTo>
                    <a:cubicBezTo>
                      <a:pt x="91733" y="281522"/>
                      <a:pt x="91733" y="281522"/>
                      <a:pt x="96711" y="211676"/>
                    </a:cubicBezTo>
                    <a:cubicBezTo>
                      <a:pt x="91022" y="207399"/>
                      <a:pt x="86755" y="200272"/>
                      <a:pt x="87466" y="191720"/>
                    </a:cubicBezTo>
                    <a:cubicBezTo>
                      <a:pt x="88889" y="178891"/>
                      <a:pt x="99555" y="169626"/>
                      <a:pt x="112355" y="170338"/>
                    </a:cubicBezTo>
                    <a:cubicBezTo>
                      <a:pt x="125866" y="171764"/>
                      <a:pt x="134400" y="182454"/>
                      <a:pt x="133688" y="195283"/>
                    </a:cubicBezTo>
                    <a:cubicBezTo>
                      <a:pt x="132977" y="203836"/>
                      <a:pt x="128000" y="210250"/>
                      <a:pt x="120888" y="213814"/>
                    </a:cubicBezTo>
                    <a:cubicBezTo>
                      <a:pt x="120888" y="213814"/>
                      <a:pt x="120888" y="213814"/>
                      <a:pt x="114488" y="295063"/>
                    </a:cubicBezTo>
                    <a:cubicBezTo>
                      <a:pt x="114488" y="302191"/>
                      <a:pt x="108800" y="307180"/>
                      <a:pt x="101689" y="306467"/>
                    </a:cubicBezTo>
                    <a:cubicBezTo>
                      <a:pt x="101689" y="306467"/>
                      <a:pt x="101689" y="306467"/>
                      <a:pt x="25600" y="300765"/>
                    </a:cubicBezTo>
                    <a:cubicBezTo>
                      <a:pt x="25600" y="300765"/>
                      <a:pt x="25600" y="300765"/>
                      <a:pt x="25600" y="397694"/>
                    </a:cubicBezTo>
                    <a:cubicBezTo>
                      <a:pt x="25600" y="397694"/>
                      <a:pt x="25600" y="397694"/>
                      <a:pt x="103822" y="455424"/>
                    </a:cubicBezTo>
                    <a:cubicBezTo>
                      <a:pt x="130133" y="417650"/>
                      <a:pt x="130133" y="416937"/>
                      <a:pt x="130133" y="416937"/>
                    </a:cubicBezTo>
                    <a:cubicBezTo>
                      <a:pt x="93866" y="392705"/>
                      <a:pt x="93866" y="392705"/>
                      <a:pt x="93866" y="392705"/>
                    </a:cubicBezTo>
                    <a:cubicBezTo>
                      <a:pt x="86755" y="395556"/>
                      <a:pt x="78222" y="394843"/>
                      <a:pt x="71822" y="390567"/>
                    </a:cubicBezTo>
                    <a:cubicBezTo>
                      <a:pt x="61155" y="383440"/>
                      <a:pt x="58311" y="368473"/>
                      <a:pt x="65422" y="358495"/>
                    </a:cubicBezTo>
                    <a:cubicBezTo>
                      <a:pt x="73244" y="347804"/>
                      <a:pt x="87466" y="344953"/>
                      <a:pt x="98133" y="352081"/>
                    </a:cubicBezTo>
                    <a:cubicBezTo>
                      <a:pt x="104533" y="357070"/>
                      <a:pt x="108088" y="364909"/>
                      <a:pt x="108088" y="372749"/>
                    </a:cubicBezTo>
                    <a:cubicBezTo>
                      <a:pt x="153599" y="404109"/>
                      <a:pt x="153599" y="404109"/>
                      <a:pt x="153599" y="404109"/>
                    </a:cubicBezTo>
                    <a:cubicBezTo>
                      <a:pt x="159288" y="407672"/>
                      <a:pt x="159999" y="415512"/>
                      <a:pt x="156444" y="421214"/>
                    </a:cubicBezTo>
                    <a:cubicBezTo>
                      <a:pt x="137955" y="448297"/>
                      <a:pt x="128000" y="462551"/>
                      <a:pt x="123022" y="469678"/>
                    </a:cubicBezTo>
                    <a:cubicBezTo>
                      <a:pt x="123022" y="469678"/>
                      <a:pt x="123022" y="469678"/>
                      <a:pt x="191999" y="520994"/>
                    </a:cubicBezTo>
                    <a:cubicBezTo>
                      <a:pt x="191999" y="520994"/>
                      <a:pt x="191999" y="520994"/>
                      <a:pt x="181333" y="544513"/>
                    </a:cubicBezTo>
                    <a:cubicBezTo>
                      <a:pt x="181333" y="544513"/>
                      <a:pt x="180622" y="544513"/>
                      <a:pt x="180622" y="543800"/>
                    </a:cubicBezTo>
                    <a:cubicBezTo>
                      <a:pt x="180622" y="543800"/>
                      <a:pt x="180622" y="543800"/>
                      <a:pt x="10667" y="418363"/>
                    </a:cubicBezTo>
                    <a:cubicBezTo>
                      <a:pt x="4267" y="413374"/>
                      <a:pt x="0" y="405534"/>
                      <a:pt x="0" y="397694"/>
                    </a:cubicBezTo>
                    <a:cubicBezTo>
                      <a:pt x="0" y="397694"/>
                      <a:pt x="0" y="397694"/>
                      <a:pt x="0" y="25658"/>
                    </a:cubicBezTo>
                    <a:cubicBezTo>
                      <a:pt x="0" y="14967"/>
                      <a:pt x="6400" y="5702"/>
                      <a:pt x="15644" y="2138"/>
                    </a:cubicBezTo>
                    <a:cubicBezTo>
                      <a:pt x="19200" y="713"/>
                      <a:pt x="22044" y="0"/>
                      <a:pt x="25600"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dirty="0"/>
              </a:p>
            </p:txBody>
          </p:sp>
        </p:grpSp>
        <p:sp>
          <p:nvSpPr>
            <p:cNvPr id="93" name="Freeform 28">
              <a:extLst>
                <a:ext uri="{FF2B5EF4-FFF2-40B4-BE49-F238E27FC236}">
                  <a16:creationId xmlns:a16="http://schemas.microsoft.com/office/drawing/2014/main" id="{BAB09965-3D8D-BD6D-AFC5-CF43E2AFD32D}"/>
                </a:ext>
              </a:extLst>
            </p:cNvPr>
            <p:cNvSpPr>
              <a:spLocks/>
            </p:cNvSpPr>
            <p:nvPr/>
          </p:nvSpPr>
          <p:spPr bwMode="auto">
            <a:xfrm>
              <a:off x="2489200" y="3167063"/>
              <a:ext cx="1588"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96" name="Group 36">
            <a:extLst>
              <a:ext uri="{FF2B5EF4-FFF2-40B4-BE49-F238E27FC236}">
                <a16:creationId xmlns:a16="http://schemas.microsoft.com/office/drawing/2014/main" id="{9AA10F31-336D-3650-8421-70C5E3641C2C}"/>
              </a:ext>
            </a:extLst>
          </p:cNvPr>
          <p:cNvGrpSpPr>
            <a:grpSpLocks noChangeAspect="1"/>
          </p:cNvGrpSpPr>
          <p:nvPr/>
        </p:nvGrpSpPr>
        <p:grpSpPr>
          <a:xfrm>
            <a:off x="6905371" y="2374711"/>
            <a:ext cx="306910" cy="306910"/>
            <a:chOff x="628650" y="4271963"/>
            <a:chExt cx="269875" cy="269875"/>
          </a:xfrm>
        </p:grpSpPr>
        <p:sp>
          <p:nvSpPr>
            <p:cNvPr id="97" name="Oval 40">
              <a:extLst>
                <a:ext uri="{FF2B5EF4-FFF2-40B4-BE49-F238E27FC236}">
                  <a16:creationId xmlns:a16="http://schemas.microsoft.com/office/drawing/2014/main" id="{B7BE9E3E-AA4E-3996-D433-63567D9BB09B}"/>
                </a:ext>
              </a:extLst>
            </p:cNvPr>
            <p:cNvSpPr>
              <a:spLocks noChangeArrowheads="1"/>
            </p:cNvSpPr>
            <p:nvPr/>
          </p:nvSpPr>
          <p:spPr bwMode="auto">
            <a:xfrm>
              <a:off x="628650" y="4271963"/>
              <a:ext cx="269875" cy="269875"/>
            </a:xfrm>
            <a:prstGeom prst="ellipse">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
          <p:nvSpPr>
            <p:cNvPr id="98" name="Freeform 41">
              <a:extLst>
                <a:ext uri="{FF2B5EF4-FFF2-40B4-BE49-F238E27FC236}">
                  <a16:creationId xmlns:a16="http://schemas.microsoft.com/office/drawing/2014/main" id="{58A52A1F-9183-447E-75BA-847D36487F2B}"/>
                </a:ext>
              </a:extLst>
            </p:cNvPr>
            <p:cNvSpPr>
              <a:spLocks noEditPoints="1"/>
            </p:cNvSpPr>
            <p:nvPr/>
          </p:nvSpPr>
          <p:spPr bwMode="auto">
            <a:xfrm>
              <a:off x="748506" y="4333082"/>
              <a:ext cx="30162" cy="147637"/>
            </a:xfrm>
            <a:custGeom>
              <a:avLst/>
              <a:gdLst>
                <a:gd name="T0" fmla="*/ 50 w 137"/>
                <a:gd name="T1" fmla="*/ 506 h 689"/>
                <a:gd name="T2" fmla="*/ 15 w 137"/>
                <a:gd name="T3" fmla="*/ 187 h 689"/>
                <a:gd name="T4" fmla="*/ 15 w 137"/>
                <a:gd name="T5" fmla="*/ 0 h 689"/>
                <a:gd name="T6" fmla="*/ 118 w 137"/>
                <a:gd name="T7" fmla="*/ 0 h 689"/>
                <a:gd name="T8" fmla="*/ 118 w 137"/>
                <a:gd name="T9" fmla="*/ 187 h 689"/>
                <a:gd name="T10" fmla="*/ 82 w 137"/>
                <a:gd name="T11" fmla="*/ 506 h 689"/>
                <a:gd name="T12" fmla="*/ 50 w 137"/>
                <a:gd name="T13" fmla="*/ 506 h 689"/>
                <a:gd name="T14" fmla="*/ 69 w 137"/>
                <a:gd name="T15" fmla="*/ 552 h 689"/>
                <a:gd name="T16" fmla="*/ 21 w 137"/>
                <a:gd name="T17" fmla="*/ 572 h 689"/>
                <a:gd name="T18" fmla="*/ 0 w 137"/>
                <a:gd name="T19" fmla="*/ 620 h 689"/>
                <a:gd name="T20" fmla="*/ 21 w 137"/>
                <a:gd name="T21" fmla="*/ 669 h 689"/>
                <a:gd name="T22" fmla="*/ 69 w 137"/>
                <a:gd name="T23" fmla="*/ 689 h 689"/>
                <a:gd name="T24" fmla="*/ 117 w 137"/>
                <a:gd name="T25" fmla="*/ 669 h 689"/>
                <a:gd name="T26" fmla="*/ 137 w 137"/>
                <a:gd name="T27" fmla="*/ 620 h 689"/>
                <a:gd name="T28" fmla="*/ 117 w 137"/>
                <a:gd name="T29" fmla="*/ 572 h 689"/>
                <a:gd name="T30" fmla="*/ 69 w 137"/>
                <a:gd name="T31" fmla="*/ 552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7" h="689">
                  <a:moveTo>
                    <a:pt x="50" y="506"/>
                  </a:moveTo>
                  <a:cubicBezTo>
                    <a:pt x="26" y="353"/>
                    <a:pt x="15" y="247"/>
                    <a:pt x="15" y="187"/>
                  </a:cubicBezTo>
                  <a:cubicBezTo>
                    <a:pt x="15" y="0"/>
                    <a:pt x="15" y="0"/>
                    <a:pt x="15" y="0"/>
                  </a:cubicBezTo>
                  <a:cubicBezTo>
                    <a:pt x="118" y="0"/>
                    <a:pt x="118" y="0"/>
                    <a:pt x="118" y="0"/>
                  </a:cubicBezTo>
                  <a:cubicBezTo>
                    <a:pt x="118" y="187"/>
                    <a:pt x="118" y="187"/>
                    <a:pt x="118" y="187"/>
                  </a:cubicBezTo>
                  <a:cubicBezTo>
                    <a:pt x="118" y="245"/>
                    <a:pt x="106" y="351"/>
                    <a:pt x="82" y="506"/>
                  </a:cubicBezTo>
                  <a:lnTo>
                    <a:pt x="50" y="506"/>
                  </a:lnTo>
                  <a:close/>
                  <a:moveTo>
                    <a:pt x="69" y="552"/>
                  </a:moveTo>
                  <a:cubicBezTo>
                    <a:pt x="50" y="552"/>
                    <a:pt x="34" y="558"/>
                    <a:pt x="21" y="572"/>
                  </a:cubicBezTo>
                  <a:cubicBezTo>
                    <a:pt x="7" y="585"/>
                    <a:pt x="0" y="601"/>
                    <a:pt x="0" y="620"/>
                  </a:cubicBezTo>
                  <a:cubicBezTo>
                    <a:pt x="0" y="639"/>
                    <a:pt x="7" y="655"/>
                    <a:pt x="21" y="669"/>
                  </a:cubicBezTo>
                  <a:cubicBezTo>
                    <a:pt x="34" y="682"/>
                    <a:pt x="50" y="689"/>
                    <a:pt x="69" y="689"/>
                  </a:cubicBezTo>
                  <a:cubicBezTo>
                    <a:pt x="88" y="689"/>
                    <a:pt x="104" y="682"/>
                    <a:pt x="117" y="669"/>
                  </a:cubicBezTo>
                  <a:cubicBezTo>
                    <a:pt x="131" y="655"/>
                    <a:pt x="137" y="639"/>
                    <a:pt x="137" y="620"/>
                  </a:cubicBezTo>
                  <a:cubicBezTo>
                    <a:pt x="137" y="601"/>
                    <a:pt x="131" y="585"/>
                    <a:pt x="117" y="572"/>
                  </a:cubicBezTo>
                  <a:cubicBezTo>
                    <a:pt x="104" y="558"/>
                    <a:pt x="88" y="552"/>
                    <a:pt x="69" y="55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grpSp>
      <p:sp>
        <p:nvSpPr>
          <p:cNvPr id="99" name="部分円 98">
            <a:extLst>
              <a:ext uri="{FF2B5EF4-FFF2-40B4-BE49-F238E27FC236}">
                <a16:creationId xmlns:a16="http://schemas.microsoft.com/office/drawing/2014/main" id="{3E596BB0-E6D2-2C1E-79C8-5CD2B1D690FF}"/>
              </a:ext>
            </a:extLst>
          </p:cNvPr>
          <p:cNvSpPr/>
          <p:nvPr/>
        </p:nvSpPr>
        <p:spPr>
          <a:xfrm>
            <a:off x="2578632" y="3486281"/>
            <a:ext cx="1308100" cy="1308100"/>
          </a:xfrm>
          <a:prstGeom prst="pie">
            <a:avLst>
              <a:gd name="adj1" fmla="val 10805503"/>
              <a:gd name="adj2" fmla="val 162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00" name="部分円 99">
            <a:extLst>
              <a:ext uri="{FF2B5EF4-FFF2-40B4-BE49-F238E27FC236}">
                <a16:creationId xmlns:a16="http://schemas.microsoft.com/office/drawing/2014/main" id="{7414BF0A-91CF-56A1-ACF1-1F1EFADBDD45}"/>
              </a:ext>
            </a:extLst>
          </p:cNvPr>
          <p:cNvSpPr/>
          <p:nvPr/>
        </p:nvSpPr>
        <p:spPr>
          <a:xfrm flipH="1">
            <a:off x="2669602" y="3486281"/>
            <a:ext cx="1308100" cy="1308100"/>
          </a:xfrm>
          <a:prstGeom prst="pie">
            <a:avLst>
              <a:gd name="adj1" fmla="val 10805503"/>
              <a:gd name="adj2" fmla="val 162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01" name="部分円 100">
            <a:extLst>
              <a:ext uri="{FF2B5EF4-FFF2-40B4-BE49-F238E27FC236}">
                <a16:creationId xmlns:a16="http://schemas.microsoft.com/office/drawing/2014/main" id="{5A705391-F4F6-FE0D-E0BF-9524C7759374}"/>
              </a:ext>
            </a:extLst>
          </p:cNvPr>
          <p:cNvSpPr/>
          <p:nvPr/>
        </p:nvSpPr>
        <p:spPr>
          <a:xfrm flipV="1">
            <a:off x="2578632" y="3558852"/>
            <a:ext cx="1308100" cy="1308100"/>
          </a:xfrm>
          <a:prstGeom prst="pie">
            <a:avLst>
              <a:gd name="adj1" fmla="val 10805503"/>
              <a:gd name="adj2" fmla="val 162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
        <p:nvSpPr>
          <p:cNvPr id="102" name="部分円 101">
            <a:extLst>
              <a:ext uri="{FF2B5EF4-FFF2-40B4-BE49-F238E27FC236}">
                <a16:creationId xmlns:a16="http://schemas.microsoft.com/office/drawing/2014/main" id="{453137D4-8C61-AC34-E7EA-0BDE05F755D1}"/>
              </a:ext>
            </a:extLst>
          </p:cNvPr>
          <p:cNvSpPr/>
          <p:nvPr/>
        </p:nvSpPr>
        <p:spPr>
          <a:xfrm flipH="1" flipV="1">
            <a:off x="2669602" y="3558852"/>
            <a:ext cx="1308100" cy="1308100"/>
          </a:xfrm>
          <a:prstGeom prst="pie">
            <a:avLst>
              <a:gd name="adj1" fmla="val 10805503"/>
              <a:gd name="adj2" fmla="val 162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grpSp>
        <p:nvGrpSpPr>
          <p:cNvPr id="103" name="グループ化 102">
            <a:extLst>
              <a:ext uri="{FF2B5EF4-FFF2-40B4-BE49-F238E27FC236}">
                <a16:creationId xmlns:a16="http://schemas.microsoft.com/office/drawing/2014/main" id="{FE8363A9-5C1D-8A07-4800-6B76C727C20F}"/>
              </a:ext>
            </a:extLst>
          </p:cNvPr>
          <p:cNvGrpSpPr/>
          <p:nvPr/>
        </p:nvGrpSpPr>
        <p:grpSpPr>
          <a:xfrm>
            <a:off x="2863745" y="3724886"/>
            <a:ext cx="829561" cy="903465"/>
            <a:chOff x="2863743" y="3699429"/>
            <a:chExt cx="829561" cy="903465"/>
          </a:xfrm>
        </p:grpSpPr>
        <p:grpSp>
          <p:nvGrpSpPr>
            <p:cNvPr id="104" name="グループ化 103">
              <a:extLst>
                <a:ext uri="{FF2B5EF4-FFF2-40B4-BE49-F238E27FC236}">
                  <a16:creationId xmlns:a16="http://schemas.microsoft.com/office/drawing/2014/main" id="{2FBFFB07-216D-7F0E-9CF9-245DC5846F4E}"/>
                </a:ext>
              </a:extLst>
            </p:cNvPr>
            <p:cNvGrpSpPr/>
            <p:nvPr/>
          </p:nvGrpSpPr>
          <p:grpSpPr>
            <a:xfrm>
              <a:off x="2863743" y="3699429"/>
              <a:ext cx="829561" cy="306910"/>
              <a:chOff x="2844670" y="3699429"/>
              <a:chExt cx="829561" cy="306910"/>
            </a:xfrm>
          </p:grpSpPr>
          <p:sp>
            <p:nvSpPr>
              <p:cNvPr id="108" name="Oval 40">
                <a:extLst>
                  <a:ext uri="{FF2B5EF4-FFF2-40B4-BE49-F238E27FC236}">
                    <a16:creationId xmlns:a16="http://schemas.microsoft.com/office/drawing/2014/main" id="{4F19CEE3-FA3F-30F2-2987-E8D319E97572}"/>
                  </a:ext>
                </a:extLst>
              </p:cNvPr>
              <p:cNvSpPr>
                <a:spLocks noChangeArrowheads="1"/>
              </p:cNvSpPr>
              <p:nvPr/>
            </p:nvSpPr>
            <p:spPr bwMode="auto">
              <a:xfrm>
                <a:off x="2844670" y="3699429"/>
                <a:ext cx="306910" cy="306910"/>
              </a:xfrm>
              <a:prstGeom prst="ellipse">
                <a:avLst/>
              </a:prstGeom>
              <a:noFill/>
              <a:ln>
                <a:noFill/>
              </a:ln>
              <a:extLst>
                <a:ext uri="{909E8E84-426E-40DD-AFC4-6F175D3DCCD1}">
                  <a14:hiddenFill xmlns:a14="http://schemas.microsoft.com/office/drawing/2010/main">
                    <a:solidFill>
                      <a:schemeClr val="bg2"/>
                    </a:solidFill>
                  </a14:hiddenFill>
                </a:ext>
              </a:extLst>
            </p:spPr>
            <p:txBody>
              <a:bodyPr vert="horz" wrap="square" lIns="91440" tIns="45720" rIns="91440" bIns="45720" numCol="1" anchor="ctr" anchorCtr="0" compatLnSpc="1">
                <a:prstTxWarp prst="textNoShape">
                  <a:avLst/>
                </a:prstTxWarp>
              </a:bodyPr>
              <a:lstStyle/>
              <a:p>
                <a:pPr algn="ctr"/>
                <a:r>
                  <a:rPr lang="en-US" sz="2800" b="1" dirty="0">
                    <a:solidFill>
                      <a:schemeClr val="bg1"/>
                    </a:solidFill>
                  </a:rPr>
                  <a:t>1</a:t>
                </a:r>
              </a:p>
            </p:txBody>
          </p:sp>
          <p:sp>
            <p:nvSpPr>
              <p:cNvPr id="109" name="Oval 40">
                <a:extLst>
                  <a:ext uri="{FF2B5EF4-FFF2-40B4-BE49-F238E27FC236}">
                    <a16:creationId xmlns:a16="http://schemas.microsoft.com/office/drawing/2014/main" id="{D985BD7B-0CC3-FAA8-0E96-547BDB65BA45}"/>
                  </a:ext>
                </a:extLst>
              </p:cNvPr>
              <p:cNvSpPr>
                <a:spLocks noChangeArrowheads="1"/>
              </p:cNvSpPr>
              <p:nvPr/>
            </p:nvSpPr>
            <p:spPr bwMode="auto">
              <a:xfrm>
                <a:off x="3367321" y="3699429"/>
                <a:ext cx="306910" cy="306910"/>
              </a:xfrm>
              <a:prstGeom prst="ellipse">
                <a:avLst/>
              </a:prstGeom>
              <a:noFill/>
              <a:ln>
                <a:noFill/>
              </a:ln>
              <a:extLst>
                <a:ext uri="{909E8E84-426E-40DD-AFC4-6F175D3DCCD1}">
                  <a14:hiddenFill xmlns:a14="http://schemas.microsoft.com/office/drawing/2010/main">
                    <a:solidFill>
                      <a:schemeClr val="bg2"/>
                    </a:solidFill>
                  </a14:hiddenFill>
                </a:ext>
              </a:extLst>
            </p:spPr>
            <p:txBody>
              <a:bodyPr vert="horz" wrap="square" lIns="91440" tIns="45720" rIns="91440" bIns="45720" numCol="1" anchor="ctr" anchorCtr="0" compatLnSpc="1">
                <a:prstTxWarp prst="textNoShape">
                  <a:avLst/>
                </a:prstTxWarp>
              </a:bodyPr>
              <a:lstStyle/>
              <a:p>
                <a:pPr algn="ctr"/>
                <a:r>
                  <a:rPr lang="en-US" sz="2800" b="1" dirty="0">
                    <a:solidFill>
                      <a:schemeClr val="bg1"/>
                    </a:solidFill>
                  </a:rPr>
                  <a:t>2</a:t>
                </a:r>
              </a:p>
            </p:txBody>
          </p:sp>
        </p:grpSp>
        <p:grpSp>
          <p:nvGrpSpPr>
            <p:cNvPr id="105" name="グループ化 104">
              <a:extLst>
                <a:ext uri="{FF2B5EF4-FFF2-40B4-BE49-F238E27FC236}">
                  <a16:creationId xmlns:a16="http://schemas.microsoft.com/office/drawing/2014/main" id="{24CD3A39-5665-878B-123A-B3937AECC3CC}"/>
                </a:ext>
              </a:extLst>
            </p:cNvPr>
            <p:cNvGrpSpPr/>
            <p:nvPr/>
          </p:nvGrpSpPr>
          <p:grpSpPr>
            <a:xfrm>
              <a:off x="2863743" y="4295984"/>
              <a:ext cx="829561" cy="306910"/>
              <a:chOff x="2844670" y="3699429"/>
              <a:chExt cx="829561" cy="306910"/>
            </a:xfrm>
          </p:grpSpPr>
          <p:sp>
            <p:nvSpPr>
              <p:cNvPr id="106" name="Oval 40">
                <a:extLst>
                  <a:ext uri="{FF2B5EF4-FFF2-40B4-BE49-F238E27FC236}">
                    <a16:creationId xmlns:a16="http://schemas.microsoft.com/office/drawing/2014/main" id="{01A177B4-A81F-FF10-99AB-5E62D0CC738C}"/>
                  </a:ext>
                </a:extLst>
              </p:cNvPr>
              <p:cNvSpPr>
                <a:spLocks noChangeArrowheads="1"/>
              </p:cNvSpPr>
              <p:nvPr/>
            </p:nvSpPr>
            <p:spPr bwMode="auto">
              <a:xfrm>
                <a:off x="2844670" y="3699429"/>
                <a:ext cx="306910" cy="306910"/>
              </a:xfrm>
              <a:prstGeom prst="ellipse">
                <a:avLst/>
              </a:prstGeom>
              <a:noFill/>
              <a:ln>
                <a:noFill/>
              </a:ln>
              <a:extLst>
                <a:ext uri="{909E8E84-426E-40DD-AFC4-6F175D3DCCD1}">
                  <a14:hiddenFill xmlns:a14="http://schemas.microsoft.com/office/drawing/2010/main">
                    <a:solidFill>
                      <a:schemeClr val="bg2"/>
                    </a:solidFill>
                  </a14:hiddenFill>
                </a:ext>
              </a:extLst>
            </p:spPr>
            <p:txBody>
              <a:bodyPr vert="horz" wrap="square" lIns="91440" tIns="45720" rIns="91440" bIns="45720" numCol="1" anchor="ctr" anchorCtr="0" compatLnSpc="1">
                <a:prstTxWarp prst="textNoShape">
                  <a:avLst/>
                </a:prstTxWarp>
              </a:bodyPr>
              <a:lstStyle/>
              <a:p>
                <a:pPr algn="ctr"/>
                <a:r>
                  <a:rPr lang="en-US" sz="2800" b="1" dirty="0">
                    <a:solidFill>
                      <a:schemeClr val="bg1"/>
                    </a:solidFill>
                  </a:rPr>
                  <a:t>3</a:t>
                </a:r>
              </a:p>
            </p:txBody>
          </p:sp>
          <p:sp>
            <p:nvSpPr>
              <p:cNvPr id="107" name="Oval 40">
                <a:extLst>
                  <a:ext uri="{FF2B5EF4-FFF2-40B4-BE49-F238E27FC236}">
                    <a16:creationId xmlns:a16="http://schemas.microsoft.com/office/drawing/2014/main" id="{201D06EC-3676-967D-661D-2B4D90CDA0CB}"/>
                  </a:ext>
                </a:extLst>
              </p:cNvPr>
              <p:cNvSpPr>
                <a:spLocks noChangeArrowheads="1"/>
              </p:cNvSpPr>
              <p:nvPr/>
            </p:nvSpPr>
            <p:spPr bwMode="auto">
              <a:xfrm>
                <a:off x="3367321" y="3699429"/>
                <a:ext cx="306910" cy="306910"/>
              </a:xfrm>
              <a:prstGeom prst="ellipse">
                <a:avLst/>
              </a:prstGeom>
              <a:noFill/>
              <a:ln>
                <a:noFill/>
              </a:ln>
              <a:extLst>
                <a:ext uri="{909E8E84-426E-40DD-AFC4-6F175D3DCCD1}">
                  <a14:hiddenFill xmlns:a14="http://schemas.microsoft.com/office/drawing/2010/main">
                    <a:solidFill>
                      <a:schemeClr val="bg2"/>
                    </a:solidFill>
                  </a14:hiddenFill>
                </a:ext>
              </a:extLst>
            </p:spPr>
            <p:txBody>
              <a:bodyPr vert="horz" wrap="square" lIns="91440" tIns="45720" rIns="91440" bIns="45720" numCol="1" anchor="ctr" anchorCtr="0" compatLnSpc="1">
                <a:prstTxWarp prst="textNoShape">
                  <a:avLst/>
                </a:prstTxWarp>
              </a:bodyPr>
              <a:lstStyle/>
              <a:p>
                <a:pPr algn="ctr"/>
                <a:r>
                  <a:rPr lang="en-US" sz="2800" b="1" dirty="0">
                    <a:solidFill>
                      <a:schemeClr val="bg1"/>
                    </a:solidFill>
                  </a:rPr>
                  <a:t>4</a:t>
                </a:r>
              </a:p>
            </p:txBody>
          </p:sp>
        </p:grpSp>
      </p:grpSp>
      <p:sp>
        <p:nvSpPr>
          <p:cNvPr id="110" name="Rectangle: Rounded Corners 72">
            <a:extLst>
              <a:ext uri="{FF2B5EF4-FFF2-40B4-BE49-F238E27FC236}">
                <a16:creationId xmlns:a16="http://schemas.microsoft.com/office/drawing/2014/main" id="{FBF0784C-4E0B-9D95-85E9-0A8E694D77DF}"/>
              </a:ext>
            </a:extLst>
          </p:cNvPr>
          <p:cNvSpPr/>
          <p:nvPr/>
        </p:nvSpPr>
        <p:spPr>
          <a:xfrm>
            <a:off x="6973639" y="5296968"/>
            <a:ext cx="2448000" cy="36000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solidFill>
                  <a:srgbClr val="FFFFFF"/>
                </a:solidFill>
                <a:latin typeface="Meiryo UI" panose="020B0604030504040204" pitchFamily="50" charset="-128"/>
                <a:ea typeface="Meiryo UI" panose="020B0604030504040204" pitchFamily="50" charset="-128"/>
              </a:rPr>
              <a:t>今年度以降、地域・全国へ</a:t>
            </a:r>
          </a:p>
        </p:txBody>
      </p:sp>
      <p:sp>
        <p:nvSpPr>
          <p:cNvPr id="111" name="Isosceles Triangle 9">
            <a:extLst>
              <a:ext uri="{FF2B5EF4-FFF2-40B4-BE49-F238E27FC236}">
                <a16:creationId xmlns:a16="http://schemas.microsoft.com/office/drawing/2014/main" id="{7F647E0A-1ADE-D9DD-66A6-2E54854044BA}"/>
              </a:ext>
            </a:extLst>
          </p:cNvPr>
          <p:cNvSpPr/>
          <p:nvPr/>
        </p:nvSpPr>
        <p:spPr>
          <a:xfrm rot="10800000">
            <a:off x="8000886" y="4823075"/>
            <a:ext cx="254033" cy="190473"/>
          </a:xfrm>
          <a:prstGeom prst="triangle">
            <a:avLst/>
          </a:prstGeom>
          <a:solidFill>
            <a:srgbClr val="808080"/>
          </a:solidFill>
          <a:ln w="12700" cap="flat" cmpd="sng" algn="ctr">
            <a:solidFill>
              <a:srgbClr val="8080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057231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F79BF2-1E84-47CA-90AB-4D68361B1480}"/>
              </a:ext>
            </a:extLst>
          </p:cNvPr>
          <p:cNvGraphicFramePr>
            <a:graphicFrameLocks noChangeAspect="1"/>
          </p:cNvGraphicFramePr>
          <p:nvPr>
            <p:custDataLst>
              <p:tags r:id="rId1"/>
            </p:custDataLst>
            <p:extLst>
              <p:ext uri="{D42A27DB-BD31-4B8C-83A1-F6EECF244321}">
                <p14:modId xmlns:p14="http://schemas.microsoft.com/office/powerpoint/2010/main" val="1952009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92" imgH="591" progId="TCLayout.ActiveDocument.1">
                  <p:embed/>
                </p:oleObj>
              </mc:Choice>
              <mc:Fallback>
                <p:oleObj name="think-cell スライド" r:id="rId3" imgW="592" imgH="591" progId="TCLayout.ActiveDocument.1">
                  <p:embed/>
                  <p:pic>
                    <p:nvPicPr>
                      <p:cNvPr id="3" name="Object 2" hidden="1">
                        <a:extLst>
                          <a:ext uri="{FF2B5EF4-FFF2-40B4-BE49-F238E27FC236}">
                            <a16:creationId xmlns:a16="http://schemas.microsoft.com/office/drawing/2014/main" id="{76F79BF2-1E84-47CA-90AB-4D68361B14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8" name="Rectangle: Rounded Corners 37">
            <a:extLst>
              <a:ext uri="{FF2B5EF4-FFF2-40B4-BE49-F238E27FC236}">
                <a16:creationId xmlns:a16="http://schemas.microsoft.com/office/drawing/2014/main" id="{5B590AD7-91E5-445D-B7DF-5101A0E8E2AB}"/>
              </a:ext>
            </a:extLst>
          </p:cNvPr>
          <p:cNvSpPr/>
          <p:nvPr/>
        </p:nvSpPr>
        <p:spPr>
          <a:xfrm>
            <a:off x="5549839" y="2762252"/>
            <a:ext cx="4324419" cy="1013883"/>
          </a:xfrm>
          <a:prstGeom prst="roundRect">
            <a:avLst>
              <a:gd name="adj" fmla="val 619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939824">
              <a:lnSpc>
                <a:spcPct val="90000"/>
              </a:lnSpc>
              <a:spcAft>
                <a:spcPts val="600"/>
              </a:spcAft>
            </a:pPr>
            <a:r>
              <a:rPr lang="ja-JP" altLang="en-US" sz="16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デジタル活用や製品、サービスを</a:t>
            </a:r>
            <a:br>
              <a:rPr lang="en-US" altLang="ja-JP" sz="16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br>
            <a:r>
              <a:rPr lang="ja-JP" altLang="en-US" sz="16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組み合わせた新たな豊かな暮らしの</a:t>
            </a:r>
            <a:br>
              <a:rPr lang="en-US" altLang="ja-JP" sz="16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br>
            <a:r>
              <a:rPr lang="ja-JP" altLang="en-US" sz="16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パッケージ提案、機会・場の創出など</a:t>
            </a:r>
            <a:br>
              <a:rPr lang="en-US" altLang="ja-JP" sz="16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br>
            <a:r>
              <a:rPr lang="ja-JP" altLang="en-US" sz="1600" dirty="0">
                <a:solidFill>
                  <a:schemeClr val="tx1"/>
                </a:solidFill>
                <a:latin typeface="Meiryo UI" panose="020B0604030504040204" pitchFamily="50" charset="-128"/>
                <a:ea typeface="Meiryo UI" panose="020B0604030504040204" pitchFamily="50" charset="-128"/>
                <a:sym typeface="Meiryo UI" panose="020B0604030504040204" pitchFamily="50" charset="-128"/>
              </a:rPr>
              <a:t>消費者への効果的な訴求に向けた連携</a:t>
            </a:r>
          </a:p>
        </p:txBody>
      </p:sp>
      <p:pic>
        <p:nvPicPr>
          <p:cNvPr id="44" name="Picture 43" descr="A picture containing bubble&#10;&#10;Description automatically generated">
            <a:extLst>
              <a:ext uri="{FF2B5EF4-FFF2-40B4-BE49-F238E27FC236}">
                <a16:creationId xmlns:a16="http://schemas.microsoft.com/office/drawing/2014/main" id="{5DC2F9D4-E3FC-4122-B4C5-01338C2FD969}"/>
              </a:ext>
            </a:extLst>
          </p:cNvPr>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a:xfrm>
            <a:off x="5764006" y="2945252"/>
            <a:ext cx="647876" cy="647876"/>
          </a:xfrm>
          <a:custGeom>
            <a:avLst/>
            <a:gdLst>
              <a:gd name="connsiteX0" fmla="*/ 323938 w 647876"/>
              <a:gd name="connsiteY0" fmla="*/ 0 h 647876"/>
              <a:gd name="connsiteX1" fmla="*/ 647876 w 647876"/>
              <a:gd name="connsiteY1" fmla="*/ 323938 h 647876"/>
              <a:gd name="connsiteX2" fmla="*/ 323938 w 647876"/>
              <a:gd name="connsiteY2" fmla="*/ 647876 h 647876"/>
              <a:gd name="connsiteX3" fmla="*/ 0 w 647876"/>
              <a:gd name="connsiteY3" fmla="*/ 323938 h 647876"/>
              <a:gd name="connsiteX4" fmla="*/ 323938 w 647876"/>
              <a:gd name="connsiteY4" fmla="*/ 0 h 647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876" h="647876">
                <a:moveTo>
                  <a:pt x="323938" y="0"/>
                </a:moveTo>
                <a:cubicBezTo>
                  <a:pt x="502844" y="0"/>
                  <a:pt x="647876" y="145032"/>
                  <a:pt x="647876" y="323938"/>
                </a:cubicBezTo>
                <a:cubicBezTo>
                  <a:pt x="647876" y="502844"/>
                  <a:pt x="502844" y="647876"/>
                  <a:pt x="323938" y="647876"/>
                </a:cubicBezTo>
                <a:cubicBezTo>
                  <a:pt x="145032" y="647876"/>
                  <a:pt x="0" y="502844"/>
                  <a:pt x="0" y="323938"/>
                </a:cubicBezTo>
                <a:cubicBezTo>
                  <a:pt x="0" y="145032"/>
                  <a:pt x="145032" y="0"/>
                  <a:pt x="323938" y="0"/>
                </a:cubicBezTo>
                <a:close/>
              </a:path>
            </a:pathLst>
          </a:custGeom>
        </p:spPr>
      </p:pic>
      <p:sp>
        <p:nvSpPr>
          <p:cNvPr id="2" name="Arrow: Pentagon 1">
            <a:extLst>
              <a:ext uri="{FF2B5EF4-FFF2-40B4-BE49-F238E27FC236}">
                <a16:creationId xmlns:a16="http://schemas.microsoft.com/office/drawing/2014/main" id="{E813FA92-84DB-40DF-A4AA-3C161DE7D1DF}"/>
              </a:ext>
            </a:extLst>
          </p:cNvPr>
          <p:cNvSpPr/>
          <p:nvPr/>
        </p:nvSpPr>
        <p:spPr>
          <a:xfrm>
            <a:off x="4" y="1638054"/>
            <a:ext cx="5169073" cy="5219948"/>
          </a:xfrm>
          <a:prstGeom prst="homePlate">
            <a:avLst>
              <a:gd name="adj" fmla="val 14481"/>
            </a:avLst>
          </a:prstGeom>
          <a:gradFill flip="none" rotWithShape="1">
            <a:gsLst>
              <a:gs pos="0">
                <a:schemeClr val="bg1"/>
              </a:gs>
              <a:gs pos="100000">
                <a:srgbClr val="EAEAE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sp>
        <p:nvSpPr>
          <p:cNvPr id="5" name="タイトル 4"/>
          <p:cNvSpPr>
            <a:spLocks noGrp="1"/>
          </p:cNvSpPr>
          <p:nvPr>
            <p:ph type="title"/>
          </p:nvPr>
        </p:nvSpPr>
        <p:spPr>
          <a:xfrm>
            <a:off x="181069" y="257881"/>
            <a:ext cx="9297676" cy="587854"/>
          </a:xfrm>
        </p:spPr>
        <p:txBody>
          <a:bodyPr vert="horz" lIns="252000" tIns="36000" rIns="0" bIns="0" anchor="ctr" anchorCtr="0"/>
          <a:lstStyle/>
          <a:p>
            <a:r>
              <a:rPr lang="ja-JP" altLang="en-US" sz="2400" dirty="0"/>
              <a:t>デコ活応援団（</a:t>
            </a:r>
            <a:r>
              <a:rPr lang="zh-TW" altLang="en-US" sz="2400" dirty="0"/>
              <a:t>新国民運動官民連携協議会</a:t>
            </a:r>
            <a:r>
              <a:rPr lang="ja-JP" altLang="en-US" sz="2400" dirty="0"/>
              <a:t>）</a:t>
            </a:r>
            <a:endParaRPr lang="ja-JP" altLang="en-US" sz="2400" dirty="0">
              <a:sym typeface="Meiryo UI" panose="020B0604030504040204" pitchFamily="50" charset="-128"/>
            </a:endParaRPr>
          </a:p>
        </p:txBody>
      </p:sp>
      <p:sp>
        <p:nvSpPr>
          <p:cNvPr id="9" name="正方形/長方形 9">
            <a:extLst>
              <a:ext uri="{FF2B5EF4-FFF2-40B4-BE49-F238E27FC236}">
                <a16:creationId xmlns:a16="http://schemas.microsoft.com/office/drawing/2014/main" id="{E5E99632-6879-4F6D-9ED4-68DF0381A0B1}"/>
              </a:ext>
            </a:extLst>
          </p:cNvPr>
          <p:cNvSpPr/>
          <p:nvPr/>
        </p:nvSpPr>
        <p:spPr>
          <a:xfrm>
            <a:off x="412507" y="1050201"/>
            <a:ext cx="9080986" cy="587853"/>
          </a:xfrm>
          <a:prstGeom prst="rect">
            <a:avLst/>
          </a:prstGeom>
          <a:noFill/>
          <a:ln w="28575">
            <a:solidFill>
              <a:srgbClr val="00584E"/>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265120" indent="-176217"/>
            <a:r>
              <a:rPr lang="ja-JP" altLang="en-US" sz="1600" dirty="0">
                <a:solidFill>
                  <a:prstClr val="black"/>
                </a:solidFill>
                <a:latin typeface="Meiryo UI" panose="020B0604030504040204" pitchFamily="50" charset="-128"/>
                <a:ea typeface="Meiryo UI" panose="020B0604030504040204" pitchFamily="50" charset="-128"/>
                <a:sym typeface="Meiryo UI" panose="020B0604030504040204" pitchFamily="50" charset="-128"/>
              </a:rPr>
              <a:t>○官民連携で効果的な実施につなげるため、国、自治体、企業、団体、消費者等による</a:t>
            </a:r>
            <a:r>
              <a:rPr lang="zh-TW" altLang="en-US" sz="1600" dirty="0">
                <a:solidFill>
                  <a:srgbClr val="000000"/>
                </a:solidFill>
              </a:rPr>
              <a:t>官民連携協議会</a:t>
            </a:r>
            <a:endParaRPr lang="en-US" altLang="zh-TW" sz="1600" dirty="0">
              <a:solidFill>
                <a:srgbClr val="000000"/>
              </a:solidFill>
            </a:endParaRPr>
          </a:p>
          <a:p>
            <a:pPr marL="265120" indent="-176217"/>
            <a:r>
              <a:rPr lang="ja-JP" altLang="en-US" sz="1600" dirty="0">
                <a:solidFill>
                  <a:srgbClr val="000000"/>
                </a:solidFill>
              </a:rPr>
              <a:t>　</a:t>
            </a:r>
            <a:r>
              <a:rPr lang="en-US" altLang="zh-TW" sz="1600" dirty="0">
                <a:solidFill>
                  <a:srgbClr val="000000"/>
                </a:solidFill>
              </a:rPr>
              <a:t> </a:t>
            </a:r>
            <a:r>
              <a:rPr lang="en-US" altLang="ja-JP" sz="1600" dirty="0">
                <a:solidFill>
                  <a:prstClr val="black"/>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600" dirty="0">
                <a:solidFill>
                  <a:prstClr val="black"/>
                </a:solidFill>
                <a:latin typeface="Meiryo UI" panose="020B0604030504040204" pitchFamily="50" charset="-128"/>
                <a:ea typeface="Meiryo UI" panose="020B0604030504040204" pitchFamily="50" charset="-128"/>
                <a:sym typeface="Meiryo UI" panose="020B0604030504040204" pitchFamily="50" charset="-128"/>
              </a:rPr>
              <a:t>プラットフォーム</a:t>
            </a:r>
            <a:r>
              <a:rPr lang="en-US" altLang="ja-JP" sz="1600" dirty="0">
                <a:solidFill>
                  <a:prstClr val="black"/>
                </a:solidFill>
                <a:latin typeface="Meiryo UI" panose="020B0604030504040204" pitchFamily="50" charset="-128"/>
                <a:ea typeface="Meiryo UI" panose="020B0604030504040204" pitchFamily="50" charset="-128"/>
                <a:sym typeface="Meiryo UI" panose="020B0604030504040204" pitchFamily="50" charset="-128"/>
              </a:rPr>
              <a:t>) </a:t>
            </a:r>
            <a:r>
              <a:rPr lang="ja-JP" altLang="en-US" sz="1600" dirty="0">
                <a:solidFill>
                  <a:prstClr val="black"/>
                </a:solidFill>
                <a:latin typeface="Meiryo UI" panose="020B0604030504040204" pitchFamily="50" charset="-128"/>
                <a:ea typeface="Meiryo UI" panose="020B0604030504040204" pitchFamily="50" charset="-128"/>
                <a:sym typeface="Meiryo UI" panose="020B0604030504040204" pitchFamily="50" charset="-128"/>
              </a:rPr>
              <a:t>を、新国民運動と同時に立ち上げ、一体的な展開を図っています。</a:t>
            </a:r>
            <a:endParaRPr kumimoji="1" lang="ja-JP" altLang="en-US" sz="1600" dirty="0">
              <a:solidFill>
                <a:prstClr val="black"/>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64" name="Rectangle: Rounded Corners 63">
            <a:extLst>
              <a:ext uri="{FF2B5EF4-FFF2-40B4-BE49-F238E27FC236}">
                <a16:creationId xmlns:a16="http://schemas.microsoft.com/office/drawing/2014/main" id="{C64E9FD6-B172-48B8-949B-1C1226C63CC8}"/>
              </a:ext>
            </a:extLst>
          </p:cNvPr>
          <p:cNvSpPr/>
          <p:nvPr/>
        </p:nvSpPr>
        <p:spPr>
          <a:xfrm>
            <a:off x="5549839" y="4044014"/>
            <a:ext cx="4324419" cy="1013883"/>
          </a:xfrm>
          <a:prstGeom prst="roundRect">
            <a:avLst>
              <a:gd name="adj" fmla="val 619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939824">
              <a:lnSpc>
                <a:spcPct val="90000"/>
              </a:lnSpc>
              <a:spcAft>
                <a:spcPts val="600"/>
              </a:spcAft>
            </a:pPr>
            <a:r>
              <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各主体の取組で得られた</a:t>
            </a:r>
            <a:br>
              <a:rPr lang="en-US" altLang="ja-JP"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br>
            <a:r>
              <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知見・経験・教訓の共有と</a:t>
            </a:r>
            <a:br>
              <a:rPr lang="en-US" altLang="ja-JP"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br>
            <a:r>
              <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ベストプラクティスの横展開</a:t>
            </a:r>
            <a:br>
              <a:rPr lang="en-US" altLang="ja-JP"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br>
            <a:r>
              <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グリーンライフポイント事業等）</a:t>
            </a:r>
          </a:p>
        </p:txBody>
      </p:sp>
      <p:sp>
        <p:nvSpPr>
          <p:cNvPr id="65" name="Rectangle: Rounded Corners 64">
            <a:extLst>
              <a:ext uri="{FF2B5EF4-FFF2-40B4-BE49-F238E27FC236}">
                <a16:creationId xmlns:a16="http://schemas.microsoft.com/office/drawing/2014/main" id="{6BCE267C-0BD1-4BE1-8BEF-5C58AC38CFD4}"/>
              </a:ext>
            </a:extLst>
          </p:cNvPr>
          <p:cNvSpPr/>
          <p:nvPr/>
        </p:nvSpPr>
        <p:spPr>
          <a:xfrm>
            <a:off x="5549839" y="5325777"/>
            <a:ext cx="4324419" cy="1013883"/>
          </a:xfrm>
          <a:prstGeom prst="roundRect">
            <a:avLst>
              <a:gd name="adj" fmla="val 619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939824">
              <a:lnSpc>
                <a:spcPct val="90000"/>
              </a:lnSpc>
              <a:spcAft>
                <a:spcPts val="600"/>
              </a:spcAft>
            </a:pPr>
            <a:r>
              <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政府施策への提案・要望</a:t>
            </a:r>
            <a:br>
              <a:rPr lang="en-US" altLang="ja-JP"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br>
            <a:r>
              <a:rPr lang="en-US" altLang="ja-JP"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r>
              <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環境省普及啓発予算の</a:t>
            </a:r>
            <a:br>
              <a:rPr lang="en-US" altLang="ja-JP"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br>
            <a:r>
              <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具体的な使い道・アイデア等</a:t>
            </a:r>
            <a:r>
              <a:rPr lang="en-US" altLang="ja-JP"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a:t>
            </a:r>
            <a:endPar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grpSp>
        <p:nvGrpSpPr>
          <p:cNvPr id="19" name="Group 18">
            <a:extLst>
              <a:ext uri="{FF2B5EF4-FFF2-40B4-BE49-F238E27FC236}">
                <a16:creationId xmlns:a16="http://schemas.microsoft.com/office/drawing/2014/main" id="{37C94EB2-F2AB-4579-B995-1C1C01956BFF}"/>
              </a:ext>
            </a:extLst>
          </p:cNvPr>
          <p:cNvGrpSpPr/>
          <p:nvPr/>
        </p:nvGrpSpPr>
        <p:grpSpPr>
          <a:xfrm>
            <a:off x="246994" y="1847852"/>
            <a:ext cx="4212864" cy="598327"/>
            <a:chOff x="412507" y="1847849"/>
            <a:chExt cx="3798107" cy="598327"/>
          </a:xfrm>
        </p:grpSpPr>
        <p:sp>
          <p:nvSpPr>
            <p:cNvPr id="11" name="Rectangle 10">
              <a:extLst>
                <a:ext uri="{FF2B5EF4-FFF2-40B4-BE49-F238E27FC236}">
                  <a16:creationId xmlns:a16="http://schemas.microsoft.com/office/drawing/2014/main" id="{4458AC45-D892-4CCE-9031-7F8A6862CEA7}"/>
                </a:ext>
              </a:extLst>
            </p:cNvPr>
            <p:cNvSpPr/>
            <p:nvPr/>
          </p:nvSpPr>
          <p:spPr>
            <a:xfrm>
              <a:off x="443615" y="1847849"/>
              <a:ext cx="3728112" cy="566577"/>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nSpc>
                  <a:spcPct val="90000"/>
                </a:lnSpc>
                <a:spcAft>
                  <a:spcPts val="600"/>
                </a:spcAft>
              </a:pPr>
              <a:r>
                <a:rPr lang="ja-JP" altLang="en-US">
                  <a:solidFill>
                    <a:srgbClr val="00584E"/>
                  </a:solidFill>
                  <a:latin typeface="Meiryo UI" panose="020B0604030504040204" pitchFamily="50" charset="-128"/>
                  <a:ea typeface="Meiryo UI" panose="020B0604030504040204" pitchFamily="50" charset="-128"/>
                  <a:sym typeface="Meiryo UI" panose="020B0604030504040204" pitchFamily="50" charset="-128"/>
                </a:rPr>
                <a:t>「</a:t>
              </a:r>
              <a:r>
                <a:rPr lang="zh-TW" altLang="en-US">
                  <a:solidFill>
                    <a:srgbClr val="00584E"/>
                  </a:solidFill>
                  <a:latin typeface="Meiryo UI" panose="020B0604030504040204" pitchFamily="50" charset="-128"/>
                  <a:ea typeface="Meiryo UI" panose="020B0604030504040204" pitchFamily="50" charset="-128"/>
                  <a:sym typeface="Meiryo UI" panose="020B0604030504040204" pitchFamily="50" charset="-128"/>
                </a:rPr>
                <a:t>官民連携協議会</a:t>
              </a:r>
              <a:r>
                <a:rPr lang="ja-JP" altLang="en-US">
                  <a:solidFill>
                    <a:srgbClr val="00584E"/>
                  </a:solidFill>
                  <a:latin typeface="Meiryo UI" panose="020B0604030504040204" pitchFamily="50" charset="-128"/>
                  <a:ea typeface="Meiryo UI" panose="020B0604030504040204" pitchFamily="50" charset="-128"/>
                  <a:sym typeface="Meiryo UI" panose="020B0604030504040204" pitchFamily="50" charset="-128"/>
                </a:rPr>
                <a:t>」</a:t>
              </a:r>
              <a:r>
                <a:rPr lang="en-US" altLang="ja-JP">
                  <a:solidFill>
                    <a:srgbClr val="00584E"/>
                  </a:solidFill>
                  <a:latin typeface="Meiryo UI" panose="020B0604030504040204" pitchFamily="50" charset="-128"/>
                  <a:ea typeface="Meiryo UI" panose="020B0604030504040204" pitchFamily="50" charset="-128"/>
                  <a:sym typeface="Meiryo UI" panose="020B0604030504040204" pitchFamily="50" charset="-128"/>
                </a:rPr>
                <a:t> </a:t>
              </a:r>
              <a:r>
                <a:rPr lang="ja-JP" altLang="en-US">
                  <a:solidFill>
                    <a:srgbClr val="00584E"/>
                  </a:solidFill>
                  <a:latin typeface="Meiryo UI" panose="020B0604030504040204" pitchFamily="50" charset="-128"/>
                  <a:ea typeface="Meiryo UI" panose="020B0604030504040204" pitchFamily="50" charset="-128"/>
                  <a:sym typeface="Meiryo UI" panose="020B0604030504040204" pitchFamily="50" charset="-128"/>
                </a:rPr>
                <a:t>を立ち上げ</a:t>
              </a:r>
            </a:p>
          </p:txBody>
        </p:sp>
        <p:cxnSp>
          <p:nvCxnSpPr>
            <p:cNvPr id="18" name="Straight Connector 17">
              <a:extLst>
                <a:ext uri="{FF2B5EF4-FFF2-40B4-BE49-F238E27FC236}">
                  <a16:creationId xmlns:a16="http://schemas.microsoft.com/office/drawing/2014/main" id="{19FEC782-FB32-4D43-9CD9-53798D0752AF}"/>
                </a:ext>
              </a:extLst>
            </p:cNvPr>
            <p:cNvCxnSpPr/>
            <p:nvPr/>
          </p:nvCxnSpPr>
          <p:spPr>
            <a:xfrm>
              <a:off x="412507" y="2446176"/>
              <a:ext cx="3798107" cy="0"/>
            </a:xfrm>
            <a:prstGeom prst="line">
              <a:avLst/>
            </a:prstGeom>
            <a:ln w="9525" cap="flat" cmpd="sng" algn="ctr">
              <a:solidFill>
                <a:srgbClr val="00584E"/>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9" name="Rectangle 28">
            <a:extLst>
              <a:ext uri="{FF2B5EF4-FFF2-40B4-BE49-F238E27FC236}">
                <a16:creationId xmlns:a16="http://schemas.microsoft.com/office/drawing/2014/main" id="{EE24D88B-6ECE-4399-9779-DDD917503E51}"/>
              </a:ext>
            </a:extLst>
          </p:cNvPr>
          <p:cNvSpPr/>
          <p:nvPr/>
        </p:nvSpPr>
        <p:spPr>
          <a:xfrm>
            <a:off x="5571757" y="1847851"/>
            <a:ext cx="3921739" cy="566577"/>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lstStyle/>
          <a:p>
            <a:pPr>
              <a:lnSpc>
                <a:spcPct val="90000"/>
              </a:lnSpc>
              <a:spcAft>
                <a:spcPts val="600"/>
              </a:spcAft>
            </a:pPr>
            <a:r>
              <a:rPr lang="ja-JP" altLang="en-US">
                <a:solidFill>
                  <a:srgbClr val="00584E"/>
                </a:solidFill>
                <a:latin typeface="Meiryo UI" panose="020B0604030504040204" pitchFamily="50" charset="-128"/>
                <a:ea typeface="Meiryo UI" panose="020B0604030504040204" pitchFamily="50" charset="-128"/>
                <a:sym typeface="Meiryo UI" panose="020B0604030504040204" pitchFamily="50" charset="-128"/>
              </a:rPr>
              <a:t>参加者間で協議し、以下のアクションを実施</a:t>
            </a:r>
          </a:p>
        </p:txBody>
      </p:sp>
      <p:cxnSp>
        <p:nvCxnSpPr>
          <p:cNvPr id="39" name="Straight Connector 38">
            <a:extLst>
              <a:ext uri="{FF2B5EF4-FFF2-40B4-BE49-F238E27FC236}">
                <a16:creationId xmlns:a16="http://schemas.microsoft.com/office/drawing/2014/main" id="{9E0794A0-015B-47BE-A9F4-773650948C0C}"/>
              </a:ext>
            </a:extLst>
          </p:cNvPr>
          <p:cNvCxnSpPr/>
          <p:nvPr/>
        </p:nvCxnSpPr>
        <p:spPr>
          <a:xfrm>
            <a:off x="5571757" y="2446176"/>
            <a:ext cx="3921739" cy="0"/>
          </a:xfrm>
          <a:prstGeom prst="line">
            <a:avLst/>
          </a:prstGeom>
          <a:ln w="9525" cap="flat" cmpd="sng" algn="ctr">
            <a:solidFill>
              <a:srgbClr val="00584E"/>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49" name="Group 48">
            <a:extLst>
              <a:ext uri="{FF2B5EF4-FFF2-40B4-BE49-F238E27FC236}">
                <a16:creationId xmlns:a16="http://schemas.microsoft.com/office/drawing/2014/main" id="{B49E93EB-09A3-46EE-B4FE-952380E156B0}"/>
              </a:ext>
            </a:extLst>
          </p:cNvPr>
          <p:cNvGrpSpPr/>
          <p:nvPr/>
        </p:nvGrpSpPr>
        <p:grpSpPr>
          <a:xfrm>
            <a:off x="647621" y="2685434"/>
            <a:ext cx="3254725" cy="872067"/>
            <a:chOff x="955889" y="2667000"/>
            <a:chExt cx="3254725" cy="872067"/>
          </a:xfrm>
        </p:grpSpPr>
        <p:sp>
          <p:nvSpPr>
            <p:cNvPr id="13" name="Oval 12">
              <a:extLst>
                <a:ext uri="{FF2B5EF4-FFF2-40B4-BE49-F238E27FC236}">
                  <a16:creationId xmlns:a16="http://schemas.microsoft.com/office/drawing/2014/main" id="{EE008E7A-755C-418E-BBD5-9DDB34C10D16}"/>
                </a:ext>
              </a:extLst>
            </p:cNvPr>
            <p:cNvSpPr/>
            <p:nvPr/>
          </p:nvSpPr>
          <p:spPr>
            <a:xfrm>
              <a:off x="955889" y="2667000"/>
              <a:ext cx="872067" cy="872067"/>
            </a:xfrm>
            <a:prstGeom prst="ellipse">
              <a:avLst/>
            </a:prstGeom>
            <a:solidFill>
              <a:srgbClr val="FFFFFF"/>
            </a:solidFill>
            <a:ln w="19050" cap="flat" cmpd="sng" algn="ctr">
              <a:solidFill>
                <a:srgbClr val="B2B2B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600"/>
                </a:spcAft>
              </a:pPr>
              <a:r>
                <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国</a:t>
              </a:r>
            </a:p>
          </p:txBody>
        </p:sp>
        <p:sp>
          <p:nvSpPr>
            <p:cNvPr id="31" name="Oval 30">
              <a:extLst>
                <a:ext uri="{FF2B5EF4-FFF2-40B4-BE49-F238E27FC236}">
                  <a16:creationId xmlns:a16="http://schemas.microsoft.com/office/drawing/2014/main" id="{7910E298-6B66-4F1D-90B7-913DFF196D82}"/>
                </a:ext>
              </a:extLst>
            </p:cNvPr>
            <p:cNvSpPr/>
            <p:nvPr/>
          </p:nvSpPr>
          <p:spPr>
            <a:xfrm>
              <a:off x="3338547" y="2667000"/>
              <a:ext cx="872067" cy="872067"/>
            </a:xfrm>
            <a:prstGeom prst="ellipse">
              <a:avLst/>
            </a:prstGeom>
            <a:solidFill>
              <a:srgbClr val="FFFFFF"/>
            </a:solidFill>
            <a:ln w="19050" cap="flat" cmpd="sng" algn="ctr">
              <a:solidFill>
                <a:srgbClr val="B2B2B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600"/>
                </a:spcAft>
              </a:pPr>
              <a:r>
                <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企業</a:t>
              </a:r>
            </a:p>
          </p:txBody>
        </p:sp>
      </p:grpSp>
      <p:sp>
        <p:nvSpPr>
          <p:cNvPr id="37" name="Oval 36">
            <a:extLst>
              <a:ext uri="{FF2B5EF4-FFF2-40B4-BE49-F238E27FC236}">
                <a16:creationId xmlns:a16="http://schemas.microsoft.com/office/drawing/2014/main" id="{4F0AF008-5406-4EE2-91C3-C9CA4230D44E}"/>
              </a:ext>
            </a:extLst>
          </p:cNvPr>
          <p:cNvSpPr/>
          <p:nvPr/>
        </p:nvSpPr>
        <p:spPr>
          <a:xfrm>
            <a:off x="3066859" y="5285562"/>
            <a:ext cx="872067" cy="872067"/>
          </a:xfrm>
          <a:prstGeom prst="ellipse">
            <a:avLst/>
          </a:prstGeom>
          <a:solidFill>
            <a:srgbClr val="FFFFFF"/>
          </a:solidFill>
          <a:ln w="19050" cap="flat" cmpd="sng" algn="ctr">
            <a:solidFill>
              <a:srgbClr val="B2B2B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600"/>
              </a:spcAft>
            </a:pPr>
            <a:r>
              <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団体</a:t>
            </a:r>
          </a:p>
        </p:txBody>
      </p:sp>
      <p:sp>
        <p:nvSpPr>
          <p:cNvPr id="66" name="Oval 65">
            <a:extLst>
              <a:ext uri="{FF2B5EF4-FFF2-40B4-BE49-F238E27FC236}">
                <a16:creationId xmlns:a16="http://schemas.microsoft.com/office/drawing/2014/main" id="{5BE951F0-0105-414D-B4CC-6A4C1F04DA21}"/>
              </a:ext>
            </a:extLst>
          </p:cNvPr>
          <p:cNvSpPr/>
          <p:nvPr/>
        </p:nvSpPr>
        <p:spPr>
          <a:xfrm>
            <a:off x="5426204" y="3141781"/>
            <a:ext cx="254818" cy="254818"/>
          </a:xfrm>
          <a:prstGeom prst="ellipse">
            <a:avLst/>
          </a:prstGeom>
          <a:solidFill>
            <a:srgbClr val="FFFFFF"/>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sz="1400">
                <a:solidFill>
                  <a:schemeClr val="bg2"/>
                </a:solidFill>
                <a:latin typeface="Meiryo UI" panose="020B0604030504040204" pitchFamily="50" charset="-128"/>
                <a:ea typeface="Meiryo UI" panose="020B0604030504040204" pitchFamily="50" charset="-128"/>
              </a:rPr>
              <a:t>1</a:t>
            </a:r>
          </a:p>
        </p:txBody>
      </p:sp>
      <p:sp>
        <p:nvSpPr>
          <p:cNvPr id="67" name="Oval 66">
            <a:extLst>
              <a:ext uri="{FF2B5EF4-FFF2-40B4-BE49-F238E27FC236}">
                <a16:creationId xmlns:a16="http://schemas.microsoft.com/office/drawing/2014/main" id="{59AFA854-24F3-41CF-9902-8831BD4D2F83}"/>
              </a:ext>
            </a:extLst>
          </p:cNvPr>
          <p:cNvSpPr/>
          <p:nvPr/>
        </p:nvSpPr>
        <p:spPr>
          <a:xfrm>
            <a:off x="5426204" y="4423545"/>
            <a:ext cx="254818" cy="254818"/>
          </a:xfrm>
          <a:prstGeom prst="ellipse">
            <a:avLst/>
          </a:prstGeom>
          <a:solidFill>
            <a:srgbClr val="FFFFFF"/>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sz="1400">
                <a:solidFill>
                  <a:schemeClr val="bg2"/>
                </a:solidFill>
                <a:latin typeface="Meiryo UI" panose="020B0604030504040204" pitchFamily="50" charset="-128"/>
                <a:ea typeface="Meiryo UI" panose="020B0604030504040204" pitchFamily="50" charset="-128"/>
              </a:rPr>
              <a:t>2</a:t>
            </a:r>
          </a:p>
        </p:txBody>
      </p:sp>
      <p:sp>
        <p:nvSpPr>
          <p:cNvPr id="68" name="Oval 67">
            <a:extLst>
              <a:ext uri="{FF2B5EF4-FFF2-40B4-BE49-F238E27FC236}">
                <a16:creationId xmlns:a16="http://schemas.microsoft.com/office/drawing/2014/main" id="{E3D8362C-3717-4729-8EB9-2F347290D0BA}"/>
              </a:ext>
            </a:extLst>
          </p:cNvPr>
          <p:cNvSpPr/>
          <p:nvPr/>
        </p:nvSpPr>
        <p:spPr>
          <a:xfrm>
            <a:off x="5426204" y="5705307"/>
            <a:ext cx="254818" cy="254818"/>
          </a:xfrm>
          <a:prstGeom prst="ellipse">
            <a:avLst/>
          </a:prstGeom>
          <a:solidFill>
            <a:srgbClr val="FFFFFF"/>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sz="1400">
                <a:solidFill>
                  <a:schemeClr val="bg2"/>
                </a:solidFill>
                <a:latin typeface="Meiryo UI" panose="020B0604030504040204" pitchFamily="50" charset="-128"/>
                <a:ea typeface="Meiryo UI" panose="020B0604030504040204" pitchFamily="50" charset="-128"/>
              </a:rPr>
              <a:t>3</a:t>
            </a:r>
          </a:p>
        </p:txBody>
      </p:sp>
      <p:pic>
        <p:nvPicPr>
          <p:cNvPr id="42" name="Content Placeholder 41" descr="A picture containing text, person, computer, electronics&#10;&#10;Description automatically generated">
            <a:extLst>
              <a:ext uri="{FF2B5EF4-FFF2-40B4-BE49-F238E27FC236}">
                <a16:creationId xmlns:a16="http://schemas.microsoft.com/office/drawing/2014/main" id="{096D9B98-9817-4328-94E1-37383069FA1A}"/>
              </a:ext>
            </a:extLst>
          </p:cNvPr>
          <p:cNvPicPr>
            <a:picLocks noGrp="1" noChangeAspect="1"/>
          </p:cNvPicPr>
          <p:nvPr>
            <p:ph sz="quarter" idx="12"/>
          </p:nvPr>
        </p:nvPicPr>
        <p:blipFill>
          <a:blip r:embed="rId6" cstate="print">
            <a:extLst>
              <a:ext uri="{28A0092B-C50C-407E-A947-70E740481C1C}">
                <a14:useLocalDpi xmlns:a14="http://schemas.microsoft.com/office/drawing/2010/main"/>
              </a:ext>
            </a:extLst>
          </a:blip>
          <a:srcRect/>
          <a:stretch>
            <a:fillRect/>
          </a:stretch>
        </p:blipFill>
        <p:spPr>
          <a:xfrm>
            <a:off x="5764006" y="4227016"/>
            <a:ext cx="647876" cy="647876"/>
          </a:xfrm>
          <a:custGeom>
            <a:avLst/>
            <a:gdLst>
              <a:gd name="connsiteX0" fmla="*/ 323938 w 647876"/>
              <a:gd name="connsiteY0" fmla="*/ 0 h 647876"/>
              <a:gd name="connsiteX1" fmla="*/ 647876 w 647876"/>
              <a:gd name="connsiteY1" fmla="*/ 323938 h 647876"/>
              <a:gd name="connsiteX2" fmla="*/ 323938 w 647876"/>
              <a:gd name="connsiteY2" fmla="*/ 647876 h 647876"/>
              <a:gd name="connsiteX3" fmla="*/ 0 w 647876"/>
              <a:gd name="connsiteY3" fmla="*/ 323938 h 647876"/>
              <a:gd name="connsiteX4" fmla="*/ 323938 w 647876"/>
              <a:gd name="connsiteY4" fmla="*/ 0 h 647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876" h="647876">
                <a:moveTo>
                  <a:pt x="323938" y="0"/>
                </a:moveTo>
                <a:cubicBezTo>
                  <a:pt x="502844" y="0"/>
                  <a:pt x="647876" y="145032"/>
                  <a:pt x="647876" y="323938"/>
                </a:cubicBezTo>
                <a:cubicBezTo>
                  <a:pt x="647876" y="502844"/>
                  <a:pt x="502844" y="647876"/>
                  <a:pt x="323938" y="647876"/>
                </a:cubicBezTo>
                <a:cubicBezTo>
                  <a:pt x="145032" y="647876"/>
                  <a:pt x="0" y="502844"/>
                  <a:pt x="0" y="323938"/>
                </a:cubicBezTo>
                <a:cubicBezTo>
                  <a:pt x="0" y="145032"/>
                  <a:pt x="145032" y="0"/>
                  <a:pt x="323938" y="0"/>
                </a:cubicBezTo>
                <a:close/>
              </a:path>
            </a:pathLst>
          </a:custGeom>
          <a:ln w="19050">
            <a:noFill/>
          </a:ln>
          <a:extLst>
            <a:ext uri="{91240B29-F687-4F45-9708-019B960494DF}">
              <a14:hiddenLine xmlns:a14="http://schemas.microsoft.com/office/drawing/2010/main" w="19050">
                <a:solidFill>
                  <a:schemeClr val="tx2"/>
                </a:solidFill>
              </a14:hiddenLine>
            </a:ext>
          </a:extLst>
        </p:spPr>
      </p:pic>
      <p:pic>
        <p:nvPicPr>
          <p:cNvPr id="45" name="Picture 44" descr="Close-up of hands working on a computer&#10;&#10;Description automatically generated with medium confidence">
            <a:extLst>
              <a:ext uri="{FF2B5EF4-FFF2-40B4-BE49-F238E27FC236}">
                <a16:creationId xmlns:a16="http://schemas.microsoft.com/office/drawing/2014/main" id="{3263E922-A3F2-484E-8B2E-F60154233376}"/>
              </a:ext>
            </a:extLst>
          </p:cNvPr>
          <p:cNvPicPr>
            <a:picLocks noChangeAspect="1"/>
          </p:cNvPicPr>
          <p:nvPr/>
        </p:nvPicPr>
        <p:blipFill>
          <a:blip r:embed="rId7" cstate="print">
            <a:extLst>
              <a:ext uri="{28A0092B-C50C-407E-A947-70E740481C1C}">
                <a14:useLocalDpi xmlns:a14="http://schemas.microsoft.com/office/drawing/2010/main"/>
              </a:ext>
            </a:extLst>
          </a:blip>
          <a:srcRect/>
          <a:stretch>
            <a:fillRect/>
          </a:stretch>
        </p:blipFill>
        <p:spPr>
          <a:xfrm>
            <a:off x="5764006" y="5508778"/>
            <a:ext cx="647876" cy="644262"/>
          </a:xfrm>
          <a:custGeom>
            <a:avLst/>
            <a:gdLst>
              <a:gd name="connsiteX0" fmla="*/ 288088 w 647876"/>
              <a:gd name="connsiteY0" fmla="*/ 0 h 644262"/>
              <a:gd name="connsiteX1" fmla="*/ 359788 w 647876"/>
              <a:gd name="connsiteY1" fmla="*/ 0 h 644262"/>
              <a:gd name="connsiteX2" fmla="*/ 389223 w 647876"/>
              <a:gd name="connsiteY2" fmla="*/ 2967 h 644262"/>
              <a:gd name="connsiteX3" fmla="*/ 647876 w 647876"/>
              <a:gd name="connsiteY3" fmla="*/ 320324 h 644262"/>
              <a:gd name="connsiteX4" fmla="*/ 323938 w 647876"/>
              <a:gd name="connsiteY4" fmla="*/ 644262 h 644262"/>
              <a:gd name="connsiteX5" fmla="*/ 0 w 647876"/>
              <a:gd name="connsiteY5" fmla="*/ 320324 h 644262"/>
              <a:gd name="connsiteX6" fmla="*/ 258653 w 647876"/>
              <a:gd name="connsiteY6" fmla="*/ 2967 h 644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876" h="644262">
                <a:moveTo>
                  <a:pt x="288088" y="0"/>
                </a:moveTo>
                <a:lnTo>
                  <a:pt x="359788" y="0"/>
                </a:lnTo>
                <a:lnTo>
                  <a:pt x="389223" y="2967"/>
                </a:lnTo>
                <a:cubicBezTo>
                  <a:pt x="536836" y="33173"/>
                  <a:pt x="647876" y="163781"/>
                  <a:pt x="647876" y="320324"/>
                </a:cubicBezTo>
                <a:cubicBezTo>
                  <a:pt x="647876" y="499230"/>
                  <a:pt x="502844" y="644262"/>
                  <a:pt x="323938" y="644262"/>
                </a:cubicBezTo>
                <a:cubicBezTo>
                  <a:pt x="145032" y="644262"/>
                  <a:pt x="0" y="499230"/>
                  <a:pt x="0" y="320324"/>
                </a:cubicBezTo>
                <a:cubicBezTo>
                  <a:pt x="0" y="163781"/>
                  <a:pt x="111040" y="33173"/>
                  <a:pt x="258653" y="2967"/>
                </a:cubicBezTo>
                <a:close/>
              </a:path>
            </a:pathLst>
          </a:custGeom>
        </p:spPr>
      </p:pic>
      <p:grpSp>
        <p:nvGrpSpPr>
          <p:cNvPr id="470" name="Group 469">
            <a:extLst>
              <a:ext uri="{FF2B5EF4-FFF2-40B4-BE49-F238E27FC236}">
                <a16:creationId xmlns:a16="http://schemas.microsoft.com/office/drawing/2014/main" id="{BA05B88B-CAB0-4DDF-95B8-E8DA497BE930}"/>
              </a:ext>
            </a:extLst>
          </p:cNvPr>
          <p:cNvGrpSpPr/>
          <p:nvPr/>
        </p:nvGrpSpPr>
        <p:grpSpPr>
          <a:xfrm>
            <a:off x="1351182" y="3499659"/>
            <a:ext cx="1920756" cy="352572"/>
            <a:chOff x="1345349" y="3499658"/>
            <a:chExt cx="1920756" cy="352572"/>
          </a:xfrm>
        </p:grpSpPr>
        <p:cxnSp>
          <p:nvCxnSpPr>
            <p:cNvPr id="43" name="Straight Arrow Connector 42">
              <a:extLst>
                <a:ext uri="{FF2B5EF4-FFF2-40B4-BE49-F238E27FC236}">
                  <a16:creationId xmlns:a16="http://schemas.microsoft.com/office/drawing/2014/main" id="{878C46B5-B524-4939-B546-379A91ACAC63}"/>
                </a:ext>
              </a:extLst>
            </p:cNvPr>
            <p:cNvCxnSpPr>
              <a:cxnSpLocks/>
            </p:cNvCxnSpPr>
            <p:nvPr/>
          </p:nvCxnSpPr>
          <p:spPr>
            <a:xfrm>
              <a:off x="1345349" y="3499658"/>
              <a:ext cx="220056" cy="352572"/>
            </a:xfrm>
            <a:prstGeom prst="straightConnector1">
              <a:avLst/>
            </a:prstGeom>
            <a:ln w="19050" cap="flat" cmpd="sng" algn="ctr">
              <a:solidFill>
                <a:srgbClr val="B2B2B2"/>
              </a:solidFill>
              <a:prstDash val="solid"/>
              <a:miter lim="800000"/>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69" name="Straight Arrow Connector 468">
              <a:extLst>
                <a:ext uri="{FF2B5EF4-FFF2-40B4-BE49-F238E27FC236}">
                  <a16:creationId xmlns:a16="http://schemas.microsoft.com/office/drawing/2014/main" id="{C195A525-6605-4806-8B0B-77575F13472E}"/>
                </a:ext>
              </a:extLst>
            </p:cNvPr>
            <p:cNvCxnSpPr>
              <a:cxnSpLocks/>
            </p:cNvCxnSpPr>
            <p:nvPr/>
          </p:nvCxnSpPr>
          <p:spPr>
            <a:xfrm flipH="1">
              <a:off x="3046049" y="3499658"/>
              <a:ext cx="220056" cy="352572"/>
            </a:xfrm>
            <a:prstGeom prst="straightConnector1">
              <a:avLst/>
            </a:prstGeom>
            <a:ln w="19050" cap="flat" cmpd="sng" algn="ctr">
              <a:solidFill>
                <a:srgbClr val="B2B2B2"/>
              </a:solidFill>
              <a:prstDash val="solid"/>
              <a:miter lim="800000"/>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sp>
        <p:nvSpPr>
          <p:cNvPr id="36" name="Oval 35">
            <a:extLst>
              <a:ext uri="{FF2B5EF4-FFF2-40B4-BE49-F238E27FC236}">
                <a16:creationId xmlns:a16="http://schemas.microsoft.com/office/drawing/2014/main" id="{97A4D74E-D676-4B5B-AB94-BC7E5A13ECFE}"/>
              </a:ext>
            </a:extLst>
          </p:cNvPr>
          <p:cNvSpPr/>
          <p:nvPr/>
        </p:nvSpPr>
        <p:spPr>
          <a:xfrm>
            <a:off x="684201" y="5285562"/>
            <a:ext cx="872067" cy="872067"/>
          </a:xfrm>
          <a:prstGeom prst="ellipse">
            <a:avLst/>
          </a:prstGeom>
          <a:solidFill>
            <a:srgbClr val="FFFFFF"/>
          </a:solidFill>
          <a:ln w="19050" cap="flat" cmpd="sng" algn="ctr">
            <a:solidFill>
              <a:srgbClr val="B2B2B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600"/>
              </a:spcAft>
            </a:pPr>
            <a:r>
              <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自治体</a:t>
            </a:r>
          </a:p>
        </p:txBody>
      </p:sp>
      <p:cxnSp>
        <p:nvCxnSpPr>
          <p:cNvPr id="472" name="Straight Arrow Connector 471">
            <a:extLst>
              <a:ext uri="{FF2B5EF4-FFF2-40B4-BE49-F238E27FC236}">
                <a16:creationId xmlns:a16="http://schemas.microsoft.com/office/drawing/2014/main" id="{3AE92E78-C1C6-4520-AE36-27F6A72E6FA7}"/>
              </a:ext>
            </a:extLst>
          </p:cNvPr>
          <p:cNvCxnSpPr>
            <a:cxnSpLocks/>
          </p:cNvCxnSpPr>
          <p:nvPr/>
        </p:nvCxnSpPr>
        <p:spPr>
          <a:xfrm flipV="1">
            <a:off x="1351182" y="5003890"/>
            <a:ext cx="220056" cy="352572"/>
          </a:xfrm>
          <a:prstGeom prst="straightConnector1">
            <a:avLst/>
          </a:prstGeom>
          <a:ln w="19050" cap="flat" cmpd="sng" algn="ctr">
            <a:solidFill>
              <a:srgbClr val="B2B2B2"/>
            </a:solidFill>
            <a:prstDash val="solid"/>
            <a:miter lim="800000"/>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73" name="Straight Arrow Connector 472">
            <a:extLst>
              <a:ext uri="{FF2B5EF4-FFF2-40B4-BE49-F238E27FC236}">
                <a16:creationId xmlns:a16="http://schemas.microsoft.com/office/drawing/2014/main" id="{B39627B5-9E6E-4AEB-A0D5-F86A87F4B58E}"/>
              </a:ext>
            </a:extLst>
          </p:cNvPr>
          <p:cNvCxnSpPr>
            <a:cxnSpLocks/>
          </p:cNvCxnSpPr>
          <p:nvPr/>
        </p:nvCxnSpPr>
        <p:spPr>
          <a:xfrm flipH="1" flipV="1">
            <a:off x="3051882" y="5003890"/>
            <a:ext cx="220056" cy="352572"/>
          </a:xfrm>
          <a:prstGeom prst="straightConnector1">
            <a:avLst/>
          </a:prstGeom>
          <a:ln w="19050" cap="flat" cmpd="sng" algn="ctr">
            <a:solidFill>
              <a:srgbClr val="B2B2B2"/>
            </a:solidFill>
            <a:prstDash val="solid"/>
            <a:miter lim="800000"/>
            <a:headEnd type="none" w="med" len="med"/>
            <a:tailEnd type="triangle" w="lg" len="lg"/>
          </a:ln>
        </p:spPr>
        <p:style>
          <a:lnRef idx="1">
            <a:schemeClr val="accent1"/>
          </a:lnRef>
          <a:fillRef idx="0">
            <a:schemeClr val="accent1"/>
          </a:fillRef>
          <a:effectRef idx="0">
            <a:schemeClr val="accent1"/>
          </a:effectRef>
          <a:fontRef idx="minor">
            <a:schemeClr val="tx1"/>
          </a:fontRef>
        </p:style>
      </p:cxnSp>
      <p:grpSp>
        <p:nvGrpSpPr>
          <p:cNvPr id="663" name="Group 662">
            <a:extLst>
              <a:ext uri="{FF2B5EF4-FFF2-40B4-BE49-F238E27FC236}">
                <a16:creationId xmlns:a16="http://schemas.microsoft.com/office/drawing/2014/main" id="{1D1AD3F4-CBFB-42FA-9007-C467719564EC}"/>
              </a:ext>
            </a:extLst>
          </p:cNvPr>
          <p:cNvGrpSpPr/>
          <p:nvPr/>
        </p:nvGrpSpPr>
        <p:grpSpPr>
          <a:xfrm>
            <a:off x="570322" y="3862563"/>
            <a:ext cx="3482481" cy="1130425"/>
            <a:chOff x="570320" y="3862561"/>
            <a:chExt cx="3482481" cy="1130425"/>
          </a:xfrm>
        </p:grpSpPr>
        <p:sp>
          <p:nvSpPr>
            <p:cNvPr id="261" name="Rectangle: Rounded Corners 260">
              <a:extLst>
                <a:ext uri="{FF2B5EF4-FFF2-40B4-BE49-F238E27FC236}">
                  <a16:creationId xmlns:a16="http://schemas.microsoft.com/office/drawing/2014/main" id="{201C56C5-E0C7-49C0-A7C0-935F9AFC043F}"/>
                </a:ext>
              </a:extLst>
            </p:cNvPr>
            <p:cNvSpPr/>
            <p:nvPr/>
          </p:nvSpPr>
          <p:spPr>
            <a:xfrm>
              <a:off x="570320" y="3862561"/>
              <a:ext cx="3482481" cy="1124073"/>
            </a:xfrm>
            <a:prstGeom prst="roundRect">
              <a:avLst>
                <a:gd name="adj" fmla="val 5488"/>
              </a:avLst>
            </a:prstGeom>
            <a:gradFill flip="none" rotWithShape="1">
              <a:gsLst>
                <a:gs pos="0">
                  <a:srgbClr val="009281"/>
                </a:gs>
                <a:gs pos="100000">
                  <a:srgbClr val="006055"/>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180000" rIns="0" bIns="0" rtlCol="0" anchor="t"/>
            <a:lstStyle/>
            <a:p>
              <a:pPr algn="ctr">
                <a:lnSpc>
                  <a:spcPct val="90000"/>
                </a:lnSpc>
                <a:spcAft>
                  <a:spcPts val="600"/>
                </a:spcAft>
              </a:pPr>
              <a:r>
                <a:rPr lang="ja-JP" altLang="en-US" b="1" dirty="0">
                  <a:latin typeface="Meiryo UI" panose="020B0604030504040204" pitchFamily="50" charset="-128"/>
                  <a:ea typeface="Meiryo UI" panose="020B0604030504040204" pitchFamily="50" charset="-128"/>
                  <a:sym typeface="Meiryo UI" panose="020B0604030504040204" pitchFamily="50" charset="-128"/>
                </a:rPr>
                <a:t>デコ活応援団</a:t>
              </a:r>
              <a:endParaRPr lang="en-US" altLang="ja-JP" sz="1400" b="1" dirty="0">
                <a:latin typeface="Meiryo UI" panose="020B0604030504040204" pitchFamily="50" charset="-128"/>
                <a:ea typeface="Meiryo UI" panose="020B0604030504040204" pitchFamily="50" charset="-128"/>
                <a:sym typeface="Meiryo UI" panose="020B0604030504040204" pitchFamily="50" charset="-128"/>
              </a:endParaRPr>
            </a:p>
            <a:p>
              <a:pPr algn="ctr">
                <a:lnSpc>
                  <a:spcPct val="90000"/>
                </a:lnSpc>
                <a:spcAft>
                  <a:spcPts val="600"/>
                </a:spcAft>
              </a:pPr>
              <a:r>
                <a:rPr lang="ja-JP" altLang="en-US" sz="1400" b="1" dirty="0">
                  <a:latin typeface="Meiryo UI" panose="020B0604030504040204" pitchFamily="50" charset="-128"/>
                  <a:ea typeface="Meiryo UI" panose="020B0604030504040204" pitchFamily="50" charset="-128"/>
                  <a:sym typeface="Meiryo UI" panose="020B0604030504040204" pitchFamily="50" charset="-128"/>
                </a:rPr>
                <a:t>（</a:t>
              </a:r>
              <a:r>
                <a:rPr lang="zh-TW" altLang="en-US" sz="1400" b="1" dirty="0">
                  <a:latin typeface="Meiryo UI" panose="020B0604030504040204" pitchFamily="50" charset="-128"/>
                  <a:ea typeface="Meiryo UI" panose="020B0604030504040204" pitchFamily="50" charset="-128"/>
                  <a:sym typeface="Meiryo UI" panose="020B0604030504040204" pitchFamily="50" charset="-128"/>
                </a:rPr>
                <a:t>新国民運動官民連携協議会</a:t>
              </a:r>
              <a:r>
                <a:rPr lang="ja-JP" altLang="en-US" sz="1400" b="1" dirty="0">
                  <a:latin typeface="Meiryo UI" panose="020B0604030504040204" pitchFamily="50" charset="-128"/>
                  <a:ea typeface="Meiryo UI" panose="020B0604030504040204" pitchFamily="50" charset="-128"/>
                  <a:sym typeface="Meiryo UI" panose="020B0604030504040204" pitchFamily="50" charset="-128"/>
                </a:rPr>
                <a:t>）</a:t>
              </a:r>
              <a:endParaRPr lang="en-US" altLang="ja-JP" sz="1400" b="1" dirty="0">
                <a:latin typeface="Meiryo UI" panose="020B0604030504040204" pitchFamily="50" charset="-128"/>
                <a:ea typeface="Meiryo UI" panose="020B0604030504040204" pitchFamily="50" charset="-128"/>
                <a:sym typeface="Meiryo UI" panose="020B0604030504040204" pitchFamily="50" charset="-128"/>
              </a:endParaRPr>
            </a:p>
          </p:txBody>
        </p:sp>
        <p:pic>
          <p:nvPicPr>
            <p:cNvPr id="452" name="Picture 451">
              <a:extLst>
                <a:ext uri="{FF2B5EF4-FFF2-40B4-BE49-F238E27FC236}">
                  <a16:creationId xmlns:a16="http://schemas.microsoft.com/office/drawing/2014/main" id="{F3E95A26-5582-49EC-A6B6-610FFF46BEAA}"/>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r="78443"/>
            <a:stretch/>
          </p:blipFill>
          <p:spPr>
            <a:xfrm>
              <a:off x="647618" y="3931416"/>
              <a:ext cx="720188" cy="969348"/>
            </a:xfrm>
            <a:prstGeom prst="rect">
              <a:avLst/>
            </a:prstGeom>
          </p:spPr>
        </p:pic>
        <p:pic>
          <p:nvPicPr>
            <p:cNvPr id="453" name="Picture 452">
              <a:extLst>
                <a:ext uri="{FF2B5EF4-FFF2-40B4-BE49-F238E27FC236}">
                  <a16:creationId xmlns:a16="http://schemas.microsoft.com/office/drawing/2014/main" id="{E6AC4EC2-2EDF-4C7A-8C39-9965DA57B244}"/>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r="78443"/>
            <a:stretch/>
          </p:blipFill>
          <p:spPr>
            <a:xfrm flipH="1">
              <a:off x="3255314" y="3931416"/>
              <a:ext cx="720188" cy="969348"/>
            </a:xfrm>
            <a:prstGeom prst="rect">
              <a:avLst/>
            </a:prstGeom>
          </p:spPr>
        </p:pic>
        <p:cxnSp>
          <p:nvCxnSpPr>
            <p:cNvPr id="456" name="Straight Connector 455">
              <a:extLst>
                <a:ext uri="{FF2B5EF4-FFF2-40B4-BE49-F238E27FC236}">
                  <a16:creationId xmlns:a16="http://schemas.microsoft.com/office/drawing/2014/main" id="{3F88E80A-2D33-4BF5-8E65-B92C8CFAD369}"/>
                </a:ext>
              </a:extLst>
            </p:cNvPr>
            <p:cNvCxnSpPr>
              <a:cxnSpLocks/>
            </p:cNvCxnSpPr>
            <p:nvPr/>
          </p:nvCxnSpPr>
          <p:spPr>
            <a:xfrm>
              <a:off x="1377626" y="3937768"/>
              <a:ext cx="1867869" cy="0"/>
            </a:xfrm>
            <a:prstGeom prst="line">
              <a:avLst/>
            </a:prstGeom>
            <a:noFill/>
            <a:ln w="19050" cap="rnd" cmpd="sng" algn="ctr">
              <a:solidFill>
                <a:srgbClr val="FFFFFF"/>
              </a:solidFill>
              <a:prstDash val="sysDot"/>
              <a:miter lim="800000"/>
              <a:headEnd type="none" w="med" len="med"/>
              <a:tailEnd type="none" w="med" len="med"/>
            </a:ln>
            <a:extLst>
              <a:ext uri="{909E8E84-426E-40DD-AFC4-6F175D3DCCD1}">
                <a14:hiddenFill xmlns:a14="http://schemas.microsoft.com/office/drawing/2010/main">
                  <a:gradFill flip="none" rotWithShape="1">
                    <a:gsLst>
                      <a:gs pos="0">
                        <a:srgbClr val="009281"/>
                      </a:gs>
                      <a:gs pos="100000">
                        <a:srgbClr val="006055"/>
                      </a:gs>
                    </a:gsLst>
                    <a:lin ang="2700000" scaled="1"/>
                    <a:tileRect/>
                  </a:gradFill>
                </a14:hiddenFill>
              </a:ext>
            </a:extLst>
          </p:spPr>
          <p:style>
            <a:lnRef idx="2">
              <a:schemeClr val="accent1">
                <a:shade val="50000"/>
              </a:schemeClr>
            </a:lnRef>
            <a:fillRef idx="1">
              <a:schemeClr val="accent1"/>
            </a:fillRef>
            <a:effectRef idx="0">
              <a:schemeClr val="accent1"/>
            </a:effectRef>
            <a:fontRef idx="minor">
              <a:schemeClr val="lt1"/>
            </a:fontRef>
          </p:style>
        </p:cxnSp>
        <p:grpSp>
          <p:nvGrpSpPr>
            <p:cNvPr id="475" name="Group 474">
              <a:extLst>
                <a:ext uri="{FF2B5EF4-FFF2-40B4-BE49-F238E27FC236}">
                  <a16:creationId xmlns:a16="http://schemas.microsoft.com/office/drawing/2014/main" id="{7F1C5D88-D86D-49EE-82EF-5A7E8EEB551B}"/>
                </a:ext>
              </a:extLst>
            </p:cNvPr>
            <p:cNvGrpSpPr/>
            <p:nvPr/>
          </p:nvGrpSpPr>
          <p:grpSpPr>
            <a:xfrm>
              <a:off x="1484138" y="4353034"/>
              <a:ext cx="1654845" cy="639952"/>
              <a:chOff x="1436610" y="4225373"/>
              <a:chExt cx="1744867" cy="674765"/>
            </a:xfrm>
          </p:grpSpPr>
          <p:sp>
            <p:nvSpPr>
              <p:cNvPr id="476" name="Freeform: Shape 475">
                <a:extLst>
                  <a:ext uri="{FF2B5EF4-FFF2-40B4-BE49-F238E27FC236}">
                    <a16:creationId xmlns:a16="http://schemas.microsoft.com/office/drawing/2014/main" id="{E7CADFED-2A38-4134-9437-906BDC8D2A4B}"/>
                  </a:ext>
                </a:extLst>
              </p:cNvPr>
              <p:cNvSpPr/>
              <p:nvPr/>
            </p:nvSpPr>
            <p:spPr>
              <a:xfrm>
                <a:off x="2498004" y="4593019"/>
                <a:ext cx="85538" cy="150039"/>
              </a:xfrm>
              <a:custGeom>
                <a:avLst/>
                <a:gdLst>
                  <a:gd name="connsiteX0" fmla="*/ 71366 w 85538"/>
                  <a:gd name="connsiteY0" fmla="*/ 61281 h 150039"/>
                  <a:gd name="connsiteX1" fmla="*/ 57189 w 85538"/>
                  <a:gd name="connsiteY1" fmla="*/ 75459 h 150039"/>
                  <a:gd name="connsiteX2" fmla="*/ 60932 w 85538"/>
                  <a:gd name="connsiteY2" fmla="*/ 85020 h 150039"/>
                  <a:gd name="connsiteX3" fmla="*/ 51561 w 85538"/>
                  <a:gd name="connsiteY3" fmla="*/ 97391 h 150039"/>
                  <a:gd name="connsiteX4" fmla="*/ 51561 w 85538"/>
                  <a:gd name="connsiteY4" fmla="*/ 61558 h 150039"/>
                  <a:gd name="connsiteX5" fmla="*/ 80419 w 85538"/>
                  <a:gd name="connsiteY5" fmla="*/ 30815 h 150039"/>
                  <a:gd name="connsiteX6" fmla="*/ 49604 w 85538"/>
                  <a:gd name="connsiteY6" fmla="*/ 0 h 150039"/>
                  <a:gd name="connsiteX7" fmla="*/ 19400 w 85538"/>
                  <a:gd name="connsiteY7" fmla="*/ 24699 h 150039"/>
                  <a:gd name="connsiteX8" fmla="*/ 0 w 85538"/>
                  <a:gd name="connsiteY8" fmla="*/ 45378 h 150039"/>
                  <a:gd name="connsiteX9" fmla="*/ 20745 w 85538"/>
                  <a:gd name="connsiteY9" fmla="*/ 66123 h 150039"/>
                  <a:gd name="connsiteX10" fmla="*/ 28751 w 85538"/>
                  <a:gd name="connsiteY10" fmla="*/ 64496 h 150039"/>
                  <a:gd name="connsiteX11" fmla="*/ 47643 w 85538"/>
                  <a:gd name="connsiteY11" fmla="*/ 93966 h 150039"/>
                  <a:gd name="connsiteX12" fmla="*/ 47643 w 85538"/>
                  <a:gd name="connsiteY12" fmla="*/ 148083 h 150039"/>
                  <a:gd name="connsiteX13" fmla="*/ 49599 w 85538"/>
                  <a:gd name="connsiteY13" fmla="*/ 150040 h 150039"/>
                  <a:gd name="connsiteX14" fmla="*/ 51556 w 85538"/>
                  <a:gd name="connsiteY14" fmla="*/ 148083 h 150039"/>
                  <a:gd name="connsiteX15" fmla="*/ 51556 w 85538"/>
                  <a:gd name="connsiteY15" fmla="*/ 103866 h 150039"/>
                  <a:gd name="connsiteX16" fmla="*/ 63941 w 85538"/>
                  <a:gd name="connsiteY16" fmla="*/ 87506 h 150039"/>
                  <a:gd name="connsiteX17" fmla="*/ 71361 w 85538"/>
                  <a:gd name="connsiteY17" fmla="*/ 89626 h 150039"/>
                  <a:gd name="connsiteX18" fmla="*/ 85539 w 85538"/>
                  <a:gd name="connsiteY18" fmla="*/ 75449 h 150039"/>
                  <a:gd name="connsiteX19" fmla="*/ 71361 w 85538"/>
                  <a:gd name="connsiteY19" fmla="*/ 61271 h 150039"/>
                  <a:gd name="connsiteX20" fmla="*/ 49604 w 85538"/>
                  <a:gd name="connsiteY20" fmla="*/ 3918 h 150039"/>
                  <a:gd name="connsiteX21" fmla="*/ 76506 w 85538"/>
                  <a:gd name="connsiteY21" fmla="*/ 30820 h 150039"/>
                  <a:gd name="connsiteX22" fmla="*/ 51561 w 85538"/>
                  <a:gd name="connsiteY22" fmla="*/ 57625 h 150039"/>
                  <a:gd name="connsiteX23" fmla="*/ 51561 w 85538"/>
                  <a:gd name="connsiteY23" fmla="*/ 20288 h 150039"/>
                  <a:gd name="connsiteX24" fmla="*/ 49604 w 85538"/>
                  <a:gd name="connsiteY24" fmla="*/ 18332 h 150039"/>
                  <a:gd name="connsiteX25" fmla="*/ 47648 w 85538"/>
                  <a:gd name="connsiteY25" fmla="*/ 20288 h 150039"/>
                  <a:gd name="connsiteX26" fmla="*/ 47648 w 85538"/>
                  <a:gd name="connsiteY26" fmla="*/ 57625 h 150039"/>
                  <a:gd name="connsiteX27" fmla="*/ 22702 w 85538"/>
                  <a:gd name="connsiteY27" fmla="*/ 30820 h 150039"/>
                  <a:gd name="connsiteX28" fmla="*/ 49604 w 85538"/>
                  <a:gd name="connsiteY28" fmla="*/ 3918 h 150039"/>
                  <a:gd name="connsiteX29" fmla="*/ 20745 w 85538"/>
                  <a:gd name="connsiteY29" fmla="*/ 62216 h 150039"/>
                  <a:gd name="connsiteX30" fmla="*/ 3913 w 85538"/>
                  <a:gd name="connsiteY30" fmla="*/ 45383 h 150039"/>
                  <a:gd name="connsiteX31" fmla="*/ 18876 w 85538"/>
                  <a:gd name="connsiteY31" fmla="*/ 28658 h 150039"/>
                  <a:gd name="connsiteX32" fmla="*/ 18794 w 85538"/>
                  <a:gd name="connsiteY32" fmla="*/ 30815 h 150039"/>
                  <a:gd name="connsiteX33" fmla="*/ 33090 w 85538"/>
                  <a:gd name="connsiteY33" fmla="*/ 56809 h 150039"/>
                  <a:gd name="connsiteX34" fmla="*/ 30112 w 85538"/>
                  <a:gd name="connsiteY34" fmla="*/ 59366 h 150039"/>
                  <a:gd name="connsiteX35" fmla="*/ 18820 w 85538"/>
                  <a:gd name="connsiteY35" fmla="*/ 41753 h 150039"/>
                  <a:gd name="connsiteX36" fmla="*/ 16119 w 85538"/>
                  <a:gd name="connsiteY36" fmla="*/ 41162 h 150039"/>
                  <a:gd name="connsiteX37" fmla="*/ 15528 w 85538"/>
                  <a:gd name="connsiteY37" fmla="*/ 43863 h 150039"/>
                  <a:gd name="connsiteX38" fmla="*/ 26615 w 85538"/>
                  <a:gd name="connsiteY38" fmla="*/ 61158 h 150039"/>
                  <a:gd name="connsiteX39" fmla="*/ 20745 w 85538"/>
                  <a:gd name="connsiteY39" fmla="*/ 62211 h 150039"/>
                  <a:gd name="connsiteX40" fmla="*/ 32222 w 85538"/>
                  <a:gd name="connsiteY40" fmla="*/ 62668 h 150039"/>
                  <a:gd name="connsiteX41" fmla="*/ 36577 w 85538"/>
                  <a:gd name="connsiteY41" fmla="*/ 58734 h 150039"/>
                  <a:gd name="connsiteX42" fmla="*/ 47648 w 85538"/>
                  <a:gd name="connsiteY42" fmla="*/ 61564 h 150039"/>
                  <a:gd name="connsiteX43" fmla="*/ 47648 w 85538"/>
                  <a:gd name="connsiteY43" fmla="*/ 86725 h 150039"/>
                  <a:gd name="connsiteX44" fmla="*/ 32222 w 85538"/>
                  <a:gd name="connsiteY44" fmla="*/ 62668 h 150039"/>
                  <a:gd name="connsiteX45" fmla="*/ 71361 w 85538"/>
                  <a:gd name="connsiteY45" fmla="*/ 85724 h 150039"/>
                  <a:gd name="connsiteX46" fmla="*/ 66314 w 85538"/>
                  <a:gd name="connsiteY46" fmla="*/ 84384 h 150039"/>
                  <a:gd name="connsiteX47" fmla="*/ 74591 w 85538"/>
                  <a:gd name="connsiteY47" fmla="*/ 73446 h 150039"/>
                  <a:gd name="connsiteX48" fmla="*/ 74211 w 85538"/>
                  <a:gd name="connsiteY48" fmla="*/ 70704 h 150039"/>
                  <a:gd name="connsiteX49" fmla="*/ 71469 w 85538"/>
                  <a:gd name="connsiteY49" fmla="*/ 71084 h 150039"/>
                  <a:gd name="connsiteX50" fmla="*/ 63330 w 85538"/>
                  <a:gd name="connsiteY50" fmla="*/ 81831 h 150039"/>
                  <a:gd name="connsiteX51" fmla="*/ 61091 w 85538"/>
                  <a:gd name="connsiteY51" fmla="*/ 75449 h 150039"/>
                  <a:gd name="connsiteX52" fmla="*/ 71356 w 85538"/>
                  <a:gd name="connsiteY52" fmla="*/ 65184 h 150039"/>
                  <a:gd name="connsiteX53" fmla="*/ 81621 w 85538"/>
                  <a:gd name="connsiteY53" fmla="*/ 75449 h 150039"/>
                  <a:gd name="connsiteX54" fmla="*/ 71356 w 85538"/>
                  <a:gd name="connsiteY54" fmla="*/ 85714 h 15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85538" h="150039">
                    <a:moveTo>
                      <a:pt x="71366" y="61281"/>
                    </a:moveTo>
                    <a:cubicBezTo>
                      <a:pt x="63546" y="61281"/>
                      <a:pt x="57189" y="67643"/>
                      <a:pt x="57189" y="75459"/>
                    </a:cubicBezTo>
                    <a:cubicBezTo>
                      <a:pt x="57189" y="79146"/>
                      <a:pt x="58616" y="82499"/>
                      <a:pt x="60932" y="85020"/>
                    </a:cubicBezTo>
                    <a:lnTo>
                      <a:pt x="51561" y="97391"/>
                    </a:lnTo>
                    <a:lnTo>
                      <a:pt x="51561" y="61558"/>
                    </a:lnTo>
                    <a:cubicBezTo>
                      <a:pt x="67643" y="60547"/>
                      <a:pt x="80419" y="47145"/>
                      <a:pt x="80419" y="30815"/>
                    </a:cubicBezTo>
                    <a:cubicBezTo>
                      <a:pt x="80419" y="14486"/>
                      <a:pt x="66596" y="0"/>
                      <a:pt x="49604" y="0"/>
                    </a:cubicBezTo>
                    <a:cubicBezTo>
                      <a:pt x="34708" y="0"/>
                      <a:pt x="22245" y="10629"/>
                      <a:pt x="19400" y="24699"/>
                    </a:cubicBezTo>
                    <a:cubicBezTo>
                      <a:pt x="8591" y="25398"/>
                      <a:pt x="0" y="34389"/>
                      <a:pt x="0" y="45378"/>
                    </a:cubicBezTo>
                    <a:cubicBezTo>
                      <a:pt x="0" y="56367"/>
                      <a:pt x="9305" y="66123"/>
                      <a:pt x="20745" y="66123"/>
                    </a:cubicBezTo>
                    <a:cubicBezTo>
                      <a:pt x="23554" y="66123"/>
                      <a:pt x="26255" y="65543"/>
                      <a:pt x="28751" y="64496"/>
                    </a:cubicBezTo>
                    <a:lnTo>
                      <a:pt x="47643" y="93966"/>
                    </a:lnTo>
                    <a:lnTo>
                      <a:pt x="47643" y="148083"/>
                    </a:lnTo>
                    <a:cubicBezTo>
                      <a:pt x="47643" y="149162"/>
                      <a:pt x="48521" y="150040"/>
                      <a:pt x="49599" y="150040"/>
                    </a:cubicBezTo>
                    <a:cubicBezTo>
                      <a:pt x="50677" y="150040"/>
                      <a:pt x="51556" y="149162"/>
                      <a:pt x="51556" y="148083"/>
                    </a:cubicBezTo>
                    <a:lnTo>
                      <a:pt x="51556" y="103866"/>
                    </a:lnTo>
                    <a:lnTo>
                      <a:pt x="63941" y="87506"/>
                    </a:lnTo>
                    <a:cubicBezTo>
                      <a:pt x="66103" y="88841"/>
                      <a:pt x="68640" y="89626"/>
                      <a:pt x="71361" y="89626"/>
                    </a:cubicBezTo>
                    <a:cubicBezTo>
                      <a:pt x="79177" y="89626"/>
                      <a:pt x="85539" y="83264"/>
                      <a:pt x="85539" y="75449"/>
                    </a:cubicBezTo>
                    <a:cubicBezTo>
                      <a:pt x="85539" y="67633"/>
                      <a:pt x="79177" y="61271"/>
                      <a:pt x="71361" y="61271"/>
                    </a:cubicBezTo>
                    <a:close/>
                    <a:moveTo>
                      <a:pt x="49604" y="3918"/>
                    </a:moveTo>
                    <a:cubicBezTo>
                      <a:pt x="64439" y="3918"/>
                      <a:pt x="76506" y="15985"/>
                      <a:pt x="76506" y="30820"/>
                    </a:cubicBezTo>
                    <a:cubicBezTo>
                      <a:pt x="76506" y="45655"/>
                      <a:pt x="65482" y="56613"/>
                      <a:pt x="51561" y="57625"/>
                    </a:cubicBezTo>
                    <a:lnTo>
                      <a:pt x="51561" y="20288"/>
                    </a:lnTo>
                    <a:cubicBezTo>
                      <a:pt x="51561" y="19210"/>
                      <a:pt x="50683" y="18332"/>
                      <a:pt x="49604" y="18332"/>
                    </a:cubicBezTo>
                    <a:cubicBezTo>
                      <a:pt x="48526" y="18332"/>
                      <a:pt x="47648" y="19210"/>
                      <a:pt x="47648" y="20288"/>
                    </a:cubicBezTo>
                    <a:lnTo>
                      <a:pt x="47648" y="57625"/>
                    </a:lnTo>
                    <a:cubicBezTo>
                      <a:pt x="33727" y="56619"/>
                      <a:pt x="22702" y="44993"/>
                      <a:pt x="22702" y="30820"/>
                    </a:cubicBezTo>
                    <a:cubicBezTo>
                      <a:pt x="22702" y="16648"/>
                      <a:pt x="34769" y="3918"/>
                      <a:pt x="49604" y="3918"/>
                    </a:cubicBezTo>
                    <a:close/>
                    <a:moveTo>
                      <a:pt x="20745" y="62216"/>
                    </a:moveTo>
                    <a:cubicBezTo>
                      <a:pt x="11461" y="62216"/>
                      <a:pt x="3913" y="54662"/>
                      <a:pt x="3913" y="45383"/>
                    </a:cubicBezTo>
                    <a:cubicBezTo>
                      <a:pt x="3913" y="36736"/>
                      <a:pt x="10470" y="29598"/>
                      <a:pt x="18876" y="28658"/>
                    </a:cubicBezTo>
                    <a:cubicBezTo>
                      <a:pt x="18825" y="29372"/>
                      <a:pt x="18794" y="30091"/>
                      <a:pt x="18794" y="30815"/>
                    </a:cubicBezTo>
                    <a:cubicBezTo>
                      <a:pt x="18794" y="41732"/>
                      <a:pt x="24504" y="51335"/>
                      <a:pt x="33090" y="56809"/>
                    </a:cubicBezTo>
                    <a:cubicBezTo>
                      <a:pt x="32191" y="57784"/>
                      <a:pt x="31190" y="58642"/>
                      <a:pt x="30112" y="59366"/>
                    </a:cubicBezTo>
                    <a:lnTo>
                      <a:pt x="18820" y="41753"/>
                    </a:lnTo>
                    <a:cubicBezTo>
                      <a:pt x="18234" y="40839"/>
                      <a:pt x="17028" y="40577"/>
                      <a:pt x="16119" y="41162"/>
                    </a:cubicBezTo>
                    <a:cubicBezTo>
                      <a:pt x="15210" y="41748"/>
                      <a:pt x="14943" y="42954"/>
                      <a:pt x="15528" y="43863"/>
                    </a:cubicBezTo>
                    <a:lnTo>
                      <a:pt x="26615" y="61158"/>
                    </a:lnTo>
                    <a:cubicBezTo>
                      <a:pt x="24766" y="61841"/>
                      <a:pt x="22789" y="62211"/>
                      <a:pt x="20745" y="62211"/>
                    </a:cubicBezTo>
                    <a:close/>
                    <a:moveTo>
                      <a:pt x="32222" y="62668"/>
                    </a:moveTo>
                    <a:cubicBezTo>
                      <a:pt x="33835" y="61589"/>
                      <a:pt x="35293" y="60264"/>
                      <a:pt x="36577" y="58734"/>
                    </a:cubicBezTo>
                    <a:cubicBezTo>
                      <a:pt x="39976" y="60326"/>
                      <a:pt x="43709" y="61317"/>
                      <a:pt x="47648" y="61564"/>
                    </a:cubicBezTo>
                    <a:lnTo>
                      <a:pt x="47648" y="86725"/>
                    </a:lnTo>
                    <a:lnTo>
                      <a:pt x="32222" y="62668"/>
                    </a:lnTo>
                    <a:close/>
                    <a:moveTo>
                      <a:pt x="71361" y="85724"/>
                    </a:moveTo>
                    <a:cubicBezTo>
                      <a:pt x="69523" y="85724"/>
                      <a:pt x="67803" y="85236"/>
                      <a:pt x="66314" y="84384"/>
                    </a:cubicBezTo>
                    <a:lnTo>
                      <a:pt x="74591" y="73446"/>
                    </a:lnTo>
                    <a:cubicBezTo>
                      <a:pt x="75243" y="72583"/>
                      <a:pt x="75074" y="71361"/>
                      <a:pt x="74211" y="70704"/>
                    </a:cubicBezTo>
                    <a:cubicBezTo>
                      <a:pt x="73354" y="70052"/>
                      <a:pt x="72126" y="70221"/>
                      <a:pt x="71469" y="71084"/>
                    </a:cubicBezTo>
                    <a:lnTo>
                      <a:pt x="63330" y="81831"/>
                    </a:lnTo>
                    <a:cubicBezTo>
                      <a:pt x="61933" y="80075"/>
                      <a:pt x="61091" y="77862"/>
                      <a:pt x="61091" y="75449"/>
                    </a:cubicBezTo>
                    <a:cubicBezTo>
                      <a:pt x="61091" y="69785"/>
                      <a:pt x="65697" y="65184"/>
                      <a:pt x="71356" y="65184"/>
                    </a:cubicBezTo>
                    <a:cubicBezTo>
                      <a:pt x="77015" y="65184"/>
                      <a:pt x="81621" y="69790"/>
                      <a:pt x="81621" y="75449"/>
                    </a:cubicBezTo>
                    <a:cubicBezTo>
                      <a:pt x="81621" y="81107"/>
                      <a:pt x="77015" y="85714"/>
                      <a:pt x="71356" y="85714"/>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nvGrpSpPr>
              <p:cNvPr id="477" name="Graphic 6">
                <a:extLst>
                  <a:ext uri="{FF2B5EF4-FFF2-40B4-BE49-F238E27FC236}">
                    <a16:creationId xmlns:a16="http://schemas.microsoft.com/office/drawing/2014/main" id="{E922E595-911B-4F80-98DF-FD297C53C960}"/>
                  </a:ext>
                </a:extLst>
              </p:cNvPr>
              <p:cNvGrpSpPr/>
              <p:nvPr/>
            </p:nvGrpSpPr>
            <p:grpSpPr>
              <a:xfrm>
                <a:off x="2967419" y="4468027"/>
                <a:ext cx="31613" cy="57640"/>
                <a:chOff x="2967459" y="4468119"/>
                <a:chExt cx="31613" cy="57640"/>
              </a:xfrm>
              <a:solidFill>
                <a:srgbClr val="069688"/>
              </a:solidFill>
            </p:grpSpPr>
            <p:grpSp>
              <p:nvGrpSpPr>
                <p:cNvPr id="659" name="Graphic 6">
                  <a:extLst>
                    <a:ext uri="{FF2B5EF4-FFF2-40B4-BE49-F238E27FC236}">
                      <a16:creationId xmlns:a16="http://schemas.microsoft.com/office/drawing/2014/main" id="{9098BA55-CA18-4264-A0CD-36AE7F2AC9D3}"/>
                    </a:ext>
                  </a:extLst>
                </p:cNvPr>
                <p:cNvGrpSpPr/>
                <p:nvPr/>
              </p:nvGrpSpPr>
              <p:grpSpPr>
                <a:xfrm>
                  <a:off x="2969414" y="4468119"/>
                  <a:ext cx="29658" cy="38245"/>
                  <a:chOff x="2969414" y="4468119"/>
                  <a:chExt cx="29658" cy="38245"/>
                </a:xfrm>
                <a:solidFill>
                  <a:srgbClr val="069688"/>
                </a:solidFill>
              </p:grpSpPr>
              <p:sp>
                <p:nvSpPr>
                  <p:cNvPr id="661" name="Freeform: Shape 660">
                    <a:extLst>
                      <a:ext uri="{FF2B5EF4-FFF2-40B4-BE49-F238E27FC236}">
                        <a16:creationId xmlns:a16="http://schemas.microsoft.com/office/drawing/2014/main" id="{7DDE5373-0D69-432E-A692-6D9735272A76}"/>
                      </a:ext>
                    </a:extLst>
                  </p:cNvPr>
                  <p:cNvSpPr/>
                  <p:nvPr/>
                </p:nvSpPr>
                <p:spPr>
                  <a:xfrm>
                    <a:off x="2969414" y="4468182"/>
                    <a:ext cx="29137" cy="38182"/>
                  </a:xfrm>
                  <a:custGeom>
                    <a:avLst/>
                    <a:gdLst>
                      <a:gd name="connsiteX0" fmla="*/ 3433 w 29137"/>
                      <a:gd name="connsiteY0" fmla="*/ 38183 h 38182"/>
                      <a:gd name="connsiteX1" fmla="*/ 1559 w 29137"/>
                      <a:gd name="connsiteY1" fmla="*/ 36786 h 38182"/>
                      <a:gd name="connsiteX2" fmla="*/ 3546 w 29137"/>
                      <a:gd name="connsiteY2" fmla="*/ 14192 h 38182"/>
                      <a:gd name="connsiteX3" fmla="*/ 26874 w 29137"/>
                      <a:gd name="connsiteY3" fmla="*/ 25 h 38182"/>
                      <a:gd name="connsiteX4" fmla="*/ 29113 w 29137"/>
                      <a:gd name="connsiteY4" fmla="*/ 1642 h 38182"/>
                      <a:gd name="connsiteX5" fmla="*/ 27496 w 29137"/>
                      <a:gd name="connsiteY5" fmla="*/ 3886 h 38182"/>
                      <a:gd name="connsiteX6" fmla="*/ 6843 w 29137"/>
                      <a:gd name="connsiteY6" fmla="*/ 16287 h 38182"/>
                      <a:gd name="connsiteX7" fmla="*/ 5307 w 29137"/>
                      <a:gd name="connsiteY7" fmla="*/ 35667 h 38182"/>
                      <a:gd name="connsiteX8" fmla="*/ 3993 w 29137"/>
                      <a:gd name="connsiteY8" fmla="*/ 38101 h 38182"/>
                      <a:gd name="connsiteX9" fmla="*/ 3433 w 29137"/>
                      <a:gd name="connsiteY9" fmla="*/ 38183 h 3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137" h="38182">
                        <a:moveTo>
                          <a:pt x="3433" y="38183"/>
                        </a:moveTo>
                        <a:cubicBezTo>
                          <a:pt x="2591" y="38183"/>
                          <a:pt x="1815" y="37633"/>
                          <a:pt x="1559" y="36786"/>
                        </a:cubicBezTo>
                        <a:cubicBezTo>
                          <a:pt x="-1050" y="28041"/>
                          <a:pt x="-382" y="20441"/>
                          <a:pt x="3546" y="14192"/>
                        </a:cubicBezTo>
                        <a:cubicBezTo>
                          <a:pt x="10745" y="2731"/>
                          <a:pt x="26222" y="132"/>
                          <a:pt x="26874" y="25"/>
                        </a:cubicBezTo>
                        <a:cubicBezTo>
                          <a:pt x="27932" y="-145"/>
                          <a:pt x="28939" y="579"/>
                          <a:pt x="29113" y="1642"/>
                        </a:cubicBezTo>
                        <a:cubicBezTo>
                          <a:pt x="29283" y="2710"/>
                          <a:pt x="28559" y="3712"/>
                          <a:pt x="27496" y="3886"/>
                        </a:cubicBezTo>
                        <a:cubicBezTo>
                          <a:pt x="27352" y="3912"/>
                          <a:pt x="13087" y="6330"/>
                          <a:pt x="6843" y="16287"/>
                        </a:cubicBezTo>
                        <a:cubicBezTo>
                          <a:pt x="3551" y="21540"/>
                          <a:pt x="3038" y="28057"/>
                          <a:pt x="5307" y="35667"/>
                        </a:cubicBezTo>
                        <a:cubicBezTo>
                          <a:pt x="5615" y="36704"/>
                          <a:pt x="5025" y="37793"/>
                          <a:pt x="3993" y="38101"/>
                        </a:cubicBezTo>
                        <a:cubicBezTo>
                          <a:pt x="3808" y="38157"/>
                          <a:pt x="3618" y="38183"/>
                          <a:pt x="3433" y="3818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62" name="Freeform: Shape 661">
                    <a:extLst>
                      <a:ext uri="{FF2B5EF4-FFF2-40B4-BE49-F238E27FC236}">
                        <a16:creationId xmlns:a16="http://schemas.microsoft.com/office/drawing/2014/main" id="{133BF1FC-50B2-4524-972C-1A17EC9C924D}"/>
                      </a:ext>
                    </a:extLst>
                  </p:cNvPr>
                  <p:cNvSpPr/>
                  <p:nvPr/>
                </p:nvSpPr>
                <p:spPr>
                  <a:xfrm>
                    <a:off x="2970808" y="4468119"/>
                    <a:ext cx="28263" cy="38183"/>
                  </a:xfrm>
                  <a:custGeom>
                    <a:avLst/>
                    <a:gdLst>
                      <a:gd name="connsiteX0" fmla="*/ 1951 w 28263"/>
                      <a:gd name="connsiteY0" fmla="*/ 38184 h 38183"/>
                      <a:gd name="connsiteX1" fmla="*/ 5 w 28263"/>
                      <a:gd name="connsiteY1" fmla="*/ 36361 h 38183"/>
                      <a:gd name="connsiteX2" fmla="*/ 1823 w 28263"/>
                      <a:gd name="connsiteY2" fmla="*/ 34276 h 38183"/>
                      <a:gd name="connsiteX3" fmla="*/ 19431 w 28263"/>
                      <a:gd name="connsiteY3" fmla="*/ 26029 h 38183"/>
                      <a:gd name="connsiteX4" fmla="*/ 23790 w 28263"/>
                      <a:gd name="connsiteY4" fmla="*/ 2342 h 38183"/>
                      <a:gd name="connsiteX5" fmla="*/ 25321 w 28263"/>
                      <a:gd name="connsiteY5" fmla="*/ 41 h 38183"/>
                      <a:gd name="connsiteX6" fmla="*/ 27621 w 28263"/>
                      <a:gd name="connsiteY6" fmla="*/ 1571 h 38183"/>
                      <a:gd name="connsiteX7" fmla="*/ 22548 w 28263"/>
                      <a:gd name="connsiteY7" fmla="*/ 28391 h 38183"/>
                      <a:gd name="connsiteX8" fmla="*/ 2085 w 28263"/>
                      <a:gd name="connsiteY8" fmla="*/ 38184 h 38183"/>
                      <a:gd name="connsiteX9" fmla="*/ 1946 w 28263"/>
                      <a:gd name="connsiteY9" fmla="*/ 38184 h 3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63" h="38183">
                        <a:moveTo>
                          <a:pt x="1951" y="38184"/>
                        </a:moveTo>
                        <a:cubicBezTo>
                          <a:pt x="934" y="38184"/>
                          <a:pt x="72" y="37393"/>
                          <a:pt x="5" y="36361"/>
                        </a:cubicBezTo>
                        <a:cubicBezTo>
                          <a:pt x="-72" y="35283"/>
                          <a:pt x="744" y="34348"/>
                          <a:pt x="1823" y="34276"/>
                        </a:cubicBezTo>
                        <a:cubicBezTo>
                          <a:pt x="9741" y="33732"/>
                          <a:pt x="15667" y="30959"/>
                          <a:pt x="19431" y="26029"/>
                        </a:cubicBezTo>
                        <a:cubicBezTo>
                          <a:pt x="26563" y="16694"/>
                          <a:pt x="23821" y="2480"/>
                          <a:pt x="23790" y="2342"/>
                        </a:cubicBezTo>
                        <a:cubicBezTo>
                          <a:pt x="23580" y="1284"/>
                          <a:pt x="24263" y="252"/>
                          <a:pt x="25321" y="41"/>
                        </a:cubicBezTo>
                        <a:cubicBezTo>
                          <a:pt x="26378" y="-180"/>
                          <a:pt x="27410" y="513"/>
                          <a:pt x="27621" y="1571"/>
                        </a:cubicBezTo>
                        <a:cubicBezTo>
                          <a:pt x="27754" y="2223"/>
                          <a:pt x="30753" y="17623"/>
                          <a:pt x="22548" y="28391"/>
                        </a:cubicBezTo>
                        <a:cubicBezTo>
                          <a:pt x="18075" y="34261"/>
                          <a:pt x="11189" y="37557"/>
                          <a:pt x="2085" y="38184"/>
                        </a:cubicBezTo>
                        <a:cubicBezTo>
                          <a:pt x="2038" y="38184"/>
                          <a:pt x="1992" y="38184"/>
                          <a:pt x="1946" y="38184"/>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sp>
              <p:nvSpPr>
                <p:cNvPr id="660" name="Freeform: Shape 659">
                  <a:extLst>
                    <a:ext uri="{FF2B5EF4-FFF2-40B4-BE49-F238E27FC236}">
                      <a16:creationId xmlns:a16="http://schemas.microsoft.com/office/drawing/2014/main" id="{8080BCC6-0ED8-48E4-802B-68A63D7BE2EF}"/>
                    </a:ext>
                  </a:extLst>
                </p:cNvPr>
                <p:cNvSpPr/>
                <p:nvPr/>
              </p:nvSpPr>
              <p:spPr>
                <a:xfrm>
                  <a:off x="2967459" y="4483460"/>
                  <a:ext cx="20095" cy="42300"/>
                </a:xfrm>
                <a:custGeom>
                  <a:avLst/>
                  <a:gdLst>
                    <a:gd name="connsiteX0" fmla="*/ 1994 w 20095"/>
                    <a:gd name="connsiteY0" fmla="*/ 42295 h 42300"/>
                    <a:gd name="connsiteX1" fmla="*/ 48 w 20095"/>
                    <a:gd name="connsiteY1" fmla="*/ 40503 h 42300"/>
                    <a:gd name="connsiteX2" fmla="*/ 16701 w 20095"/>
                    <a:gd name="connsiteY2" fmla="*/ 635 h 42300"/>
                    <a:gd name="connsiteX3" fmla="*/ 19463 w 20095"/>
                    <a:gd name="connsiteY3" fmla="*/ 517 h 42300"/>
                    <a:gd name="connsiteX4" fmla="*/ 19581 w 20095"/>
                    <a:gd name="connsiteY4" fmla="*/ 3279 h 42300"/>
                    <a:gd name="connsiteX5" fmla="*/ 3945 w 20095"/>
                    <a:gd name="connsiteY5" fmla="*/ 40190 h 42300"/>
                    <a:gd name="connsiteX6" fmla="*/ 2153 w 20095"/>
                    <a:gd name="connsiteY6" fmla="*/ 42295 h 42300"/>
                    <a:gd name="connsiteX7" fmla="*/ 1994 w 20095"/>
                    <a:gd name="connsiteY7" fmla="*/ 42300 h 4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95" h="42300">
                      <a:moveTo>
                        <a:pt x="1994" y="42295"/>
                      </a:moveTo>
                      <a:cubicBezTo>
                        <a:pt x="987" y="42295"/>
                        <a:pt x="130" y="41525"/>
                        <a:pt x="48" y="40503"/>
                      </a:cubicBezTo>
                      <a:cubicBezTo>
                        <a:pt x="-19" y="39692"/>
                        <a:pt x="-1385" y="20358"/>
                        <a:pt x="16701" y="635"/>
                      </a:cubicBezTo>
                      <a:cubicBezTo>
                        <a:pt x="17430" y="-161"/>
                        <a:pt x="18667" y="-218"/>
                        <a:pt x="19463" y="517"/>
                      </a:cubicBezTo>
                      <a:cubicBezTo>
                        <a:pt x="20259" y="1246"/>
                        <a:pt x="20311" y="2483"/>
                        <a:pt x="19581" y="3279"/>
                      </a:cubicBezTo>
                      <a:cubicBezTo>
                        <a:pt x="2713" y="21678"/>
                        <a:pt x="3930" y="40005"/>
                        <a:pt x="3945" y="40190"/>
                      </a:cubicBezTo>
                      <a:cubicBezTo>
                        <a:pt x="4027" y="41268"/>
                        <a:pt x="3226" y="42208"/>
                        <a:pt x="2153" y="42295"/>
                      </a:cubicBezTo>
                      <a:cubicBezTo>
                        <a:pt x="2102" y="42295"/>
                        <a:pt x="2045" y="42300"/>
                        <a:pt x="1994" y="4230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sp>
            <p:nvSpPr>
              <p:cNvPr id="478" name="Freeform: Shape 477">
                <a:extLst>
                  <a:ext uri="{FF2B5EF4-FFF2-40B4-BE49-F238E27FC236}">
                    <a16:creationId xmlns:a16="http://schemas.microsoft.com/office/drawing/2014/main" id="{D0F5C901-FE28-4B71-81EF-35F909190CD4}"/>
                  </a:ext>
                </a:extLst>
              </p:cNvPr>
              <p:cNvSpPr/>
              <p:nvPr/>
            </p:nvSpPr>
            <p:spPr>
              <a:xfrm>
                <a:off x="2308496" y="4347986"/>
                <a:ext cx="159036" cy="550590"/>
              </a:xfrm>
              <a:custGeom>
                <a:avLst/>
                <a:gdLst>
                  <a:gd name="connsiteX0" fmla="*/ 133700 w 159036"/>
                  <a:gd name="connsiteY0" fmla="*/ 78607 h 550590"/>
                  <a:gd name="connsiteX1" fmla="*/ 108369 w 159036"/>
                  <a:gd name="connsiteY1" fmla="*/ 103938 h 550590"/>
                  <a:gd name="connsiteX2" fmla="*/ 114428 w 159036"/>
                  <a:gd name="connsiteY2" fmla="*/ 120334 h 550590"/>
                  <a:gd name="connsiteX3" fmla="*/ 82740 w 159036"/>
                  <a:gd name="connsiteY3" fmla="*/ 152022 h 550590"/>
                  <a:gd name="connsiteX4" fmla="*/ 82740 w 159036"/>
                  <a:gd name="connsiteY4" fmla="*/ 90633 h 550590"/>
                  <a:gd name="connsiteX5" fmla="*/ 126126 w 159036"/>
                  <a:gd name="connsiteY5" fmla="*/ 45342 h 550590"/>
                  <a:gd name="connsiteX6" fmla="*/ 80784 w 159036"/>
                  <a:gd name="connsiteY6" fmla="*/ 0 h 550590"/>
                  <a:gd name="connsiteX7" fmla="*/ 35442 w 159036"/>
                  <a:gd name="connsiteY7" fmla="*/ 45342 h 550590"/>
                  <a:gd name="connsiteX8" fmla="*/ 78827 w 159036"/>
                  <a:gd name="connsiteY8" fmla="*/ 90633 h 550590"/>
                  <a:gd name="connsiteX9" fmla="*/ 78827 w 159036"/>
                  <a:gd name="connsiteY9" fmla="*/ 180424 h 550590"/>
                  <a:gd name="connsiteX10" fmla="*/ 45116 w 159036"/>
                  <a:gd name="connsiteY10" fmla="*/ 146712 h 550590"/>
                  <a:gd name="connsiteX11" fmla="*/ 50667 w 159036"/>
                  <a:gd name="connsiteY11" fmla="*/ 130927 h 550590"/>
                  <a:gd name="connsiteX12" fmla="*/ 25336 w 159036"/>
                  <a:gd name="connsiteY12" fmla="*/ 105591 h 550590"/>
                  <a:gd name="connsiteX13" fmla="*/ 0 w 159036"/>
                  <a:gd name="connsiteY13" fmla="*/ 130927 h 550590"/>
                  <a:gd name="connsiteX14" fmla="*/ 25336 w 159036"/>
                  <a:gd name="connsiteY14" fmla="*/ 156263 h 550590"/>
                  <a:gd name="connsiteX15" fmla="*/ 42436 w 159036"/>
                  <a:gd name="connsiteY15" fmla="*/ 149567 h 550590"/>
                  <a:gd name="connsiteX16" fmla="*/ 78827 w 159036"/>
                  <a:gd name="connsiteY16" fmla="*/ 185959 h 550590"/>
                  <a:gd name="connsiteX17" fmla="*/ 78827 w 159036"/>
                  <a:gd name="connsiteY17" fmla="*/ 237489 h 550590"/>
                  <a:gd name="connsiteX18" fmla="*/ 44854 w 159036"/>
                  <a:gd name="connsiteY18" fmla="*/ 203516 h 550590"/>
                  <a:gd name="connsiteX19" fmla="*/ 50667 w 159036"/>
                  <a:gd name="connsiteY19" fmla="*/ 187387 h 550590"/>
                  <a:gd name="connsiteX20" fmla="*/ 25336 w 159036"/>
                  <a:gd name="connsiteY20" fmla="*/ 162056 h 550590"/>
                  <a:gd name="connsiteX21" fmla="*/ 0 w 159036"/>
                  <a:gd name="connsiteY21" fmla="*/ 187387 h 550590"/>
                  <a:gd name="connsiteX22" fmla="*/ 25336 w 159036"/>
                  <a:gd name="connsiteY22" fmla="*/ 212723 h 550590"/>
                  <a:gd name="connsiteX23" fmla="*/ 42117 w 159036"/>
                  <a:gd name="connsiteY23" fmla="*/ 206314 h 550590"/>
                  <a:gd name="connsiteX24" fmla="*/ 78827 w 159036"/>
                  <a:gd name="connsiteY24" fmla="*/ 243025 h 550590"/>
                  <a:gd name="connsiteX25" fmla="*/ 78827 w 159036"/>
                  <a:gd name="connsiteY25" fmla="*/ 548634 h 550590"/>
                  <a:gd name="connsiteX26" fmla="*/ 80784 w 159036"/>
                  <a:gd name="connsiteY26" fmla="*/ 550591 h 550590"/>
                  <a:gd name="connsiteX27" fmla="*/ 82740 w 159036"/>
                  <a:gd name="connsiteY27" fmla="*/ 548634 h 550590"/>
                  <a:gd name="connsiteX28" fmla="*/ 82740 w 159036"/>
                  <a:gd name="connsiteY28" fmla="*/ 157552 h 550590"/>
                  <a:gd name="connsiteX29" fmla="*/ 117186 w 159036"/>
                  <a:gd name="connsiteY29" fmla="*/ 123107 h 550590"/>
                  <a:gd name="connsiteX30" fmla="*/ 133700 w 159036"/>
                  <a:gd name="connsiteY30" fmla="*/ 129269 h 550590"/>
                  <a:gd name="connsiteX31" fmla="*/ 159036 w 159036"/>
                  <a:gd name="connsiteY31" fmla="*/ 103933 h 550590"/>
                  <a:gd name="connsiteX32" fmla="*/ 133700 w 159036"/>
                  <a:gd name="connsiteY32" fmla="*/ 78602 h 550590"/>
                  <a:gd name="connsiteX33" fmla="*/ 25336 w 159036"/>
                  <a:gd name="connsiteY33" fmla="*/ 152345 h 550590"/>
                  <a:gd name="connsiteX34" fmla="*/ 3913 w 159036"/>
                  <a:gd name="connsiteY34" fmla="*/ 130922 h 550590"/>
                  <a:gd name="connsiteX35" fmla="*/ 25336 w 159036"/>
                  <a:gd name="connsiteY35" fmla="*/ 109499 h 550590"/>
                  <a:gd name="connsiteX36" fmla="*/ 46754 w 159036"/>
                  <a:gd name="connsiteY36" fmla="*/ 130922 h 550590"/>
                  <a:gd name="connsiteX37" fmla="*/ 42323 w 159036"/>
                  <a:gd name="connsiteY37" fmla="*/ 143914 h 550590"/>
                  <a:gd name="connsiteX38" fmla="*/ 31816 w 159036"/>
                  <a:gd name="connsiteY38" fmla="*/ 133407 h 550590"/>
                  <a:gd name="connsiteX39" fmla="*/ 29049 w 159036"/>
                  <a:gd name="connsiteY39" fmla="*/ 133407 h 550590"/>
                  <a:gd name="connsiteX40" fmla="*/ 29049 w 159036"/>
                  <a:gd name="connsiteY40" fmla="*/ 136175 h 550590"/>
                  <a:gd name="connsiteX41" fmla="*/ 39668 w 159036"/>
                  <a:gd name="connsiteY41" fmla="*/ 146794 h 550590"/>
                  <a:gd name="connsiteX42" fmla="*/ 25331 w 159036"/>
                  <a:gd name="connsiteY42" fmla="*/ 152345 h 550590"/>
                  <a:gd name="connsiteX43" fmla="*/ 25336 w 159036"/>
                  <a:gd name="connsiteY43" fmla="*/ 208800 h 550590"/>
                  <a:gd name="connsiteX44" fmla="*/ 3913 w 159036"/>
                  <a:gd name="connsiteY44" fmla="*/ 187376 h 550590"/>
                  <a:gd name="connsiteX45" fmla="*/ 25336 w 159036"/>
                  <a:gd name="connsiteY45" fmla="*/ 165953 h 550590"/>
                  <a:gd name="connsiteX46" fmla="*/ 46754 w 159036"/>
                  <a:gd name="connsiteY46" fmla="*/ 187376 h 550590"/>
                  <a:gd name="connsiteX47" fmla="*/ 42066 w 159036"/>
                  <a:gd name="connsiteY47" fmla="*/ 200717 h 550590"/>
                  <a:gd name="connsiteX48" fmla="*/ 33357 w 159036"/>
                  <a:gd name="connsiteY48" fmla="*/ 192008 h 550590"/>
                  <a:gd name="connsiteX49" fmla="*/ 30589 w 159036"/>
                  <a:gd name="connsiteY49" fmla="*/ 192008 h 550590"/>
                  <a:gd name="connsiteX50" fmla="*/ 30589 w 159036"/>
                  <a:gd name="connsiteY50" fmla="*/ 194776 h 550590"/>
                  <a:gd name="connsiteX51" fmla="*/ 39355 w 159036"/>
                  <a:gd name="connsiteY51" fmla="*/ 203541 h 550590"/>
                  <a:gd name="connsiteX52" fmla="*/ 25336 w 159036"/>
                  <a:gd name="connsiteY52" fmla="*/ 208805 h 550590"/>
                  <a:gd name="connsiteX53" fmla="*/ 39355 w 159036"/>
                  <a:gd name="connsiteY53" fmla="*/ 45337 h 550590"/>
                  <a:gd name="connsiteX54" fmla="*/ 80784 w 159036"/>
                  <a:gd name="connsiteY54" fmla="*/ 3908 h 550590"/>
                  <a:gd name="connsiteX55" fmla="*/ 122213 w 159036"/>
                  <a:gd name="connsiteY55" fmla="*/ 45337 h 550590"/>
                  <a:gd name="connsiteX56" fmla="*/ 82740 w 159036"/>
                  <a:gd name="connsiteY56" fmla="*/ 86720 h 550590"/>
                  <a:gd name="connsiteX57" fmla="*/ 82740 w 159036"/>
                  <a:gd name="connsiteY57" fmla="*/ 55931 h 550590"/>
                  <a:gd name="connsiteX58" fmla="*/ 80784 w 159036"/>
                  <a:gd name="connsiteY58" fmla="*/ 53974 h 550590"/>
                  <a:gd name="connsiteX59" fmla="*/ 78827 w 159036"/>
                  <a:gd name="connsiteY59" fmla="*/ 55931 h 550590"/>
                  <a:gd name="connsiteX60" fmla="*/ 78827 w 159036"/>
                  <a:gd name="connsiteY60" fmla="*/ 86720 h 550590"/>
                  <a:gd name="connsiteX61" fmla="*/ 39355 w 159036"/>
                  <a:gd name="connsiteY61" fmla="*/ 45337 h 550590"/>
                  <a:gd name="connsiteX62" fmla="*/ 133700 w 159036"/>
                  <a:gd name="connsiteY62" fmla="*/ 125356 h 550590"/>
                  <a:gd name="connsiteX63" fmla="*/ 119949 w 159036"/>
                  <a:gd name="connsiteY63" fmla="*/ 120339 h 550590"/>
                  <a:gd name="connsiteX64" fmla="*/ 135081 w 159036"/>
                  <a:gd name="connsiteY64" fmla="*/ 105206 h 550590"/>
                  <a:gd name="connsiteX65" fmla="*/ 135081 w 159036"/>
                  <a:gd name="connsiteY65" fmla="*/ 102438 h 550590"/>
                  <a:gd name="connsiteX66" fmla="*/ 132314 w 159036"/>
                  <a:gd name="connsiteY66" fmla="*/ 102438 h 550590"/>
                  <a:gd name="connsiteX67" fmla="*/ 117186 w 159036"/>
                  <a:gd name="connsiteY67" fmla="*/ 117566 h 550590"/>
                  <a:gd name="connsiteX68" fmla="*/ 112277 w 159036"/>
                  <a:gd name="connsiteY68" fmla="*/ 103933 h 550590"/>
                  <a:gd name="connsiteX69" fmla="*/ 133695 w 159036"/>
                  <a:gd name="connsiteY69" fmla="*/ 82514 h 550590"/>
                  <a:gd name="connsiteX70" fmla="*/ 155118 w 159036"/>
                  <a:gd name="connsiteY70" fmla="*/ 103933 h 550590"/>
                  <a:gd name="connsiteX71" fmla="*/ 133695 w 159036"/>
                  <a:gd name="connsiteY71" fmla="*/ 125356 h 550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59036" h="550590">
                    <a:moveTo>
                      <a:pt x="133700" y="78607"/>
                    </a:moveTo>
                    <a:cubicBezTo>
                      <a:pt x="119733" y="78607"/>
                      <a:pt x="108369" y="89970"/>
                      <a:pt x="108369" y="103938"/>
                    </a:cubicBezTo>
                    <a:cubicBezTo>
                      <a:pt x="108369" y="110192"/>
                      <a:pt x="110659" y="115913"/>
                      <a:pt x="114428" y="120334"/>
                    </a:cubicBezTo>
                    <a:lnTo>
                      <a:pt x="82740" y="152022"/>
                    </a:lnTo>
                    <a:lnTo>
                      <a:pt x="82740" y="90633"/>
                    </a:lnTo>
                    <a:cubicBezTo>
                      <a:pt x="106839" y="89606"/>
                      <a:pt x="126126" y="69687"/>
                      <a:pt x="126126" y="45342"/>
                    </a:cubicBezTo>
                    <a:cubicBezTo>
                      <a:pt x="126126" y="20997"/>
                      <a:pt x="105786" y="0"/>
                      <a:pt x="80784" y="0"/>
                    </a:cubicBezTo>
                    <a:cubicBezTo>
                      <a:pt x="55782" y="0"/>
                      <a:pt x="35442" y="20340"/>
                      <a:pt x="35442" y="45342"/>
                    </a:cubicBezTo>
                    <a:cubicBezTo>
                      <a:pt x="35442" y="70344"/>
                      <a:pt x="54729" y="89606"/>
                      <a:pt x="78827" y="90633"/>
                    </a:cubicBezTo>
                    <a:lnTo>
                      <a:pt x="78827" y="180424"/>
                    </a:lnTo>
                    <a:lnTo>
                      <a:pt x="45116" y="146712"/>
                    </a:lnTo>
                    <a:cubicBezTo>
                      <a:pt x="48582" y="142378"/>
                      <a:pt x="50667" y="136894"/>
                      <a:pt x="50667" y="130927"/>
                    </a:cubicBezTo>
                    <a:cubicBezTo>
                      <a:pt x="50667" y="116960"/>
                      <a:pt x="39303" y="105591"/>
                      <a:pt x="25336" y="105591"/>
                    </a:cubicBezTo>
                    <a:cubicBezTo>
                      <a:pt x="11369" y="105591"/>
                      <a:pt x="0" y="116955"/>
                      <a:pt x="0" y="130927"/>
                    </a:cubicBezTo>
                    <a:cubicBezTo>
                      <a:pt x="0" y="144900"/>
                      <a:pt x="11364" y="156263"/>
                      <a:pt x="25336" y="156263"/>
                    </a:cubicBezTo>
                    <a:cubicBezTo>
                      <a:pt x="31929" y="156263"/>
                      <a:pt x="37927" y="153711"/>
                      <a:pt x="42436" y="149567"/>
                    </a:cubicBezTo>
                    <a:lnTo>
                      <a:pt x="78827" y="185959"/>
                    </a:lnTo>
                    <a:lnTo>
                      <a:pt x="78827" y="237489"/>
                    </a:lnTo>
                    <a:lnTo>
                      <a:pt x="44854" y="203516"/>
                    </a:lnTo>
                    <a:cubicBezTo>
                      <a:pt x="48485" y="199130"/>
                      <a:pt x="50667" y="193508"/>
                      <a:pt x="50667" y="187387"/>
                    </a:cubicBezTo>
                    <a:cubicBezTo>
                      <a:pt x="50667" y="173419"/>
                      <a:pt x="39303" y="162056"/>
                      <a:pt x="25336" y="162056"/>
                    </a:cubicBezTo>
                    <a:cubicBezTo>
                      <a:pt x="11369" y="162056"/>
                      <a:pt x="0" y="173419"/>
                      <a:pt x="0" y="187387"/>
                    </a:cubicBezTo>
                    <a:cubicBezTo>
                      <a:pt x="0" y="201354"/>
                      <a:pt x="11364" y="212723"/>
                      <a:pt x="25336" y="212723"/>
                    </a:cubicBezTo>
                    <a:cubicBezTo>
                      <a:pt x="31775" y="212723"/>
                      <a:pt x="37645" y="210289"/>
                      <a:pt x="42117" y="206314"/>
                    </a:cubicBezTo>
                    <a:lnTo>
                      <a:pt x="78827" y="243025"/>
                    </a:lnTo>
                    <a:lnTo>
                      <a:pt x="78827" y="548634"/>
                    </a:lnTo>
                    <a:cubicBezTo>
                      <a:pt x="78827" y="549713"/>
                      <a:pt x="79706" y="550591"/>
                      <a:pt x="80784" y="550591"/>
                    </a:cubicBezTo>
                    <a:cubicBezTo>
                      <a:pt x="81862" y="550591"/>
                      <a:pt x="82740" y="549713"/>
                      <a:pt x="82740" y="548634"/>
                    </a:cubicBezTo>
                    <a:lnTo>
                      <a:pt x="82740" y="157552"/>
                    </a:lnTo>
                    <a:lnTo>
                      <a:pt x="117186" y="123107"/>
                    </a:lnTo>
                    <a:cubicBezTo>
                      <a:pt x="121628" y="126937"/>
                      <a:pt x="127389" y="129269"/>
                      <a:pt x="133700" y="129269"/>
                    </a:cubicBezTo>
                    <a:cubicBezTo>
                      <a:pt x="147667" y="129269"/>
                      <a:pt x="159036" y="117905"/>
                      <a:pt x="159036" y="103933"/>
                    </a:cubicBezTo>
                    <a:cubicBezTo>
                      <a:pt x="159036" y="89960"/>
                      <a:pt x="147672" y="78602"/>
                      <a:pt x="133700" y="78602"/>
                    </a:cubicBezTo>
                    <a:close/>
                    <a:moveTo>
                      <a:pt x="25336" y="152345"/>
                    </a:moveTo>
                    <a:cubicBezTo>
                      <a:pt x="13526" y="152345"/>
                      <a:pt x="3913" y="142738"/>
                      <a:pt x="3913" y="130922"/>
                    </a:cubicBezTo>
                    <a:cubicBezTo>
                      <a:pt x="3913" y="119107"/>
                      <a:pt x="13520" y="109499"/>
                      <a:pt x="25336" y="109499"/>
                    </a:cubicBezTo>
                    <a:cubicBezTo>
                      <a:pt x="37152" y="109499"/>
                      <a:pt x="46754" y="119107"/>
                      <a:pt x="46754" y="130922"/>
                    </a:cubicBezTo>
                    <a:cubicBezTo>
                      <a:pt x="46754" y="135811"/>
                      <a:pt x="45090" y="140304"/>
                      <a:pt x="42323" y="143914"/>
                    </a:cubicBezTo>
                    <a:lnTo>
                      <a:pt x="31816" y="133407"/>
                    </a:lnTo>
                    <a:cubicBezTo>
                      <a:pt x="31051" y="132642"/>
                      <a:pt x="29814" y="132642"/>
                      <a:pt x="29049" y="133407"/>
                    </a:cubicBezTo>
                    <a:cubicBezTo>
                      <a:pt x="28284" y="134173"/>
                      <a:pt x="28284" y="135410"/>
                      <a:pt x="29049" y="136175"/>
                    </a:cubicBezTo>
                    <a:lnTo>
                      <a:pt x="39668" y="146794"/>
                    </a:lnTo>
                    <a:cubicBezTo>
                      <a:pt x="35868" y="150230"/>
                      <a:pt x="30846" y="152345"/>
                      <a:pt x="25331" y="152345"/>
                    </a:cubicBezTo>
                    <a:close/>
                    <a:moveTo>
                      <a:pt x="25336" y="208800"/>
                    </a:moveTo>
                    <a:cubicBezTo>
                      <a:pt x="13526" y="208800"/>
                      <a:pt x="3913" y="199192"/>
                      <a:pt x="3913" y="187376"/>
                    </a:cubicBezTo>
                    <a:cubicBezTo>
                      <a:pt x="3913" y="175561"/>
                      <a:pt x="13520" y="165953"/>
                      <a:pt x="25336" y="165953"/>
                    </a:cubicBezTo>
                    <a:cubicBezTo>
                      <a:pt x="37152" y="165953"/>
                      <a:pt x="46754" y="175561"/>
                      <a:pt x="46754" y="187376"/>
                    </a:cubicBezTo>
                    <a:cubicBezTo>
                      <a:pt x="46754" y="192419"/>
                      <a:pt x="44993" y="197051"/>
                      <a:pt x="42066" y="200717"/>
                    </a:cubicBezTo>
                    <a:lnTo>
                      <a:pt x="33357" y="192008"/>
                    </a:lnTo>
                    <a:cubicBezTo>
                      <a:pt x="32592" y="191243"/>
                      <a:pt x="31354" y="191243"/>
                      <a:pt x="30589" y="192008"/>
                    </a:cubicBezTo>
                    <a:cubicBezTo>
                      <a:pt x="29824" y="192773"/>
                      <a:pt x="29824" y="194011"/>
                      <a:pt x="30589" y="194776"/>
                    </a:cubicBezTo>
                    <a:lnTo>
                      <a:pt x="39355" y="203541"/>
                    </a:lnTo>
                    <a:cubicBezTo>
                      <a:pt x="35596" y="206807"/>
                      <a:pt x="30697" y="208805"/>
                      <a:pt x="25336" y="208805"/>
                    </a:cubicBezTo>
                    <a:close/>
                    <a:moveTo>
                      <a:pt x="39355" y="45337"/>
                    </a:moveTo>
                    <a:cubicBezTo>
                      <a:pt x="39355" y="22491"/>
                      <a:pt x="57938" y="3908"/>
                      <a:pt x="80784" y="3908"/>
                    </a:cubicBezTo>
                    <a:cubicBezTo>
                      <a:pt x="103630" y="3908"/>
                      <a:pt x="122213" y="22491"/>
                      <a:pt x="122213" y="45337"/>
                    </a:cubicBezTo>
                    <a:cubicBezTo>
                      <a:pt x="122213" y="68183"/>
                      <a:pt x="104677" y="85693"/>
                      <a:pt x="82740" y="86720"/>
                    </a:cubicBezTo>
                    <a:lnTo>
                      <a:pt x="82740" y="55931"/>
                    </a:lnTo>
                    <a:cubicBezTo>
                      <a:pt x="82740" y="54852"/>
                      <a:pt x="81862" y="53974"/>
                      <a:pt x="80784" y="53974"/>
                    </a:cubicBezTo>
                    <a:cubicBezTo>
                      <a:pt x="79706" y="53974"/>
                      <a:pt x="78827" y="54852"/>
                      <a:pt x="78827" y="55931"/>
                    </a:cubicBezTo>
                    <a:lnTo>
                      <a:pt x="78827" y="86720"/>
                    </a:lnTo>
                    <a:cubicBezTo>
                      <a:pt x="56891" y="85693"/>
                      <a:pt x="39355" y="67525"/>
                      <a:pt x="39355" y="45337"/>
                    </a:cubicBezTo>
                    <a:close/>
                    <a:moveTo>
                      <a:pt x="133700" y="125356"/>
                    </a:moveTo>
                    <a:cubicBezTo>
                      <a:pt x="128468" y="125356"/>
                      <a:pt x="123677" y="123466"/>
                      <a:pt x="119949" y="120339"/>
                    </a:cubicBezTo>
                    <a:lnTo>
                      <a:pt x="135081" y="105206"/>
                    </a:lnTo>
                    <a:cubicBezTo>
                      <a:pt x="135847" y="104441"/>
                      <a:pt x="135847" y="103203"/>
                      <a:pt x="135081" y="102438"/>
                    </a:cubicBezTo>
                    <a:cubicBezTo>
                      <a:pt x="134316" y="101673"/>
                      <a:pt x="133079" y="101673"/>
                      <a:pt x="132314" y="102438"/>
                    </a:cubicBezTo>
                    <a:lnTo>
                      <a:pt x="117186" y="117566"/>
                    </a:lnTo>
                    <a:cubicBezTo>
                      <a:pt x="114120" y="113859"/>
                      <a:pt x="112277" y="109109"/>
                      <a:pt x="112277" y="103933"/>
                    </a:cubicBezTo>
                    <a:cubicBezTo>
                      <a:pt x="112277" y="92122"/>
                      <a:pt x="121884" y="82514"/>
                      <a:pt x="133695" y="82514"/>
                    </a:cubicBezTo>
                    <a:cubicBezTo>
                      <a:pt x="145505" y="82514"/>
                      <a:pt x="155118" y="92122"/>
                      <a:pt x="155118" y="103933"/>
                    </a:cubicBezTo>
                    <a:cubicBezTo>
                      <a:pt x="155118" y="115743"/>
                      <a:pt x="145505" y="125356"/>
                      <a:pt x="133695" y="125356"/>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79" name="Freeform: Shape 478">
                <a:extLst>
                  <a:ext uri="{FF2B5EF4-FFF2-40B4-BE49-F238E27FC236}">
                    <a16:creationId xmlns:a16="http://schemas.microsoft.com/office/drawing/2014/main" id="{82C7D01A-2F37-4B03-A457-65947D0FBA45}"/>
                  </a:ext>
                </a:extLst>
              </p:cNvPr>
              <p:cNvSpPr/>
              <p:nvPr/>
            </p:nvSpPr>
            <p:spPr>
              <a:xfrm>
                <a:off x="2503000" y="4225373"/>
                <a:ext cx="205092" cy="674514"/>
              </a:xfrm>
              <a:custGeom>
                <a:avLst/>
                <a:gdLst>
                  <a:gd name="connsiteX0" fmla="*/ 172813 w 205092"/>
                  <a:gd name="connsiteY0" fmla="*/ 138075 h 674514"/>
                  <a:gd name="connsiteX1" fmla="*/ 140540 w 205092"/>
                  <a:gd name="connsiteY1" fmla="*/ 170349 h 674514"/>
                  <a:gd name="connsiteX2" fmla="*/ 147431 w 205092"/>
                  <a:gd name="connsiteY2" fmla="*/ 190242 h 674514"/>
                  <a:gd name="connsiteX3" fmla="*/ 102859 w 205092"/>
                  <a:gd name="connsiteY3" fmla="*/ 234814 h 674514"/>
                  <a:gd name="connsiteX4" fmla="*/ 102859 w 205092"/>
                  <a:gd name="connsiteY4" fmla="*/ 116395 h 674514"/>
                  <a:gd name="connsiteX5" fmla="*/ 159129 w 205092"/>
                  <a:gd name="connsiteY5" fmla="*/ 58221 h 674514"/>
                  <a:gd name="connsiteX6" fmla="*/ 100898 w 205092"/>
                  <a:gd name="connsiteY6" fmla="*/ 0 h 674514"/>
                  <a:gd name="connsiteX7" fmla="*/ 42672 w 205092"/>
                  <a:gd name="connsiteY7" fmla="*/ 58226 h 674514"/>
                  <a:gd name="connsiteX8" fmla="*/ 98941 w 205092"/>
                  <a:gd name="connsiteY8" fmla="*/ 116400 h 674514"/>
                  <a:gd name="connsiteX9" fmla="*/ 98941 w 205092"/>
                  <a:gd name="connsiteY9" fmla="*/ 195377 h 674514"/>
                  <a:gd name="connsiteX10" fmla="*/ 56126 w 205092"/>
                  <a:gd name="connsiteY10" fmla="*/ 152561 h 674514"/>
                  <a:gd name="connsiteX11" fmla="*/ 64547 w 205092"/>
                  <a:gd name="connsiteY11" fmla="*/ 130845 h 674514"/>
                  <a:gd name="connsiteX12" fmla="*/ 32274 w 205092"/>
                  <a:gd name="connsiteY12" fmla="*/ 98572 h 674514"/>
                  <a:gd name="connsiteX13" fmla="*/ 0 w 205092"/>
                  <a:gd name="connsiteY13" fmla="*/ 130845 h 674514"/>
                  <a:gd name="connsiteX14" fmla="*/ 32274 w 205092"/>
                  <a:gd name="connsiteY14" fmla="*/ 163119 h 674514"/>
                  <a:gd name="connsiteX15" fmla="*/ 53317 w 205092"/>
                  <a:gd name="connsiteY15" fmla="*/ 155283 h 674514"/>
                  <a:gd name="connsiteX16" fmla="*/ 98946 w 205092"/>
                  <a:gd name="connsiteY16" fmla="*/ 200912 h 674514"/>
                  <a:gd name="connsiteX17" fmla="*/ 98946 w 205092"/>
                  <a:gd name="connsiteY17" fmla="*/ 268201 h 674514"/>
                  <a:gd name="connsiteX18" fmla="*/ 58760 w 205092"/>
                  <a:gd name="connsiteY18" fmla="*/ 228015 h 674514"/>
                  <a:gd name="connsiteX19" fmla="*/ 67351 w 205092"/>
                  <a:gd name="connsiteY19" fmla="*/ 206114 h 674514"/>
                  <a:gd name="connsiteX20" fmla="*/ 35077 w 205092"/>
                  <a:gd name="connsiteY20" fmla="*/ 173841 h 674514"/>
                  <a:gd name="connsiteX21" fmla="*/ 2804 w 205092"/>
                  <a:gd name="connsiteY21" fmla="*/ 206114 h 674514"/>
                  <a:gd name="connsiteX22" fmla="*/ 35077 w 205092"/>
                  <a:gd name="connsiteY22" fmla="*/ 238388 h 674514"/>
                  <a:gd name="connsiteX23" fmla="*/ 55931 w 205092"/>
                  <a:gd name="connsiteY23" fmla="*/ 230716 h 674514"/>
                  <a:gd name="connsiteX24" fmla="*/ 98946 w 205092"/>
                  <a:gd name="connsiteY24" fmla="*/ 273732 h 674514"/>
                  <a:gd name="connsiteX25" fmla="*/ 98946 w 205092"/>
                  <a:gd name="connsiteY25" fmla="*/ 345571 h 674514"/>
                  <a:gd name="connsiteX26" fmla="*/ 71525 w 205092"/>
                  <a:gd name="connsiteY26" fmla="*/ 318150 h 674514"/>
                  <a:gd name="connsiteX27" fmla="*/ 77739 w 205092"/>
                  <a:gd name="connsiteY27" fmla="*/ 302324 h 674514"/>
                  <a:gd name="connsiteX28" fmla="*/ 54333 w 205092"/>
                  <a:gd name="connsiteY28" fmla="*/ 278918 h 674514"/>
                  <a:gd name="connsiteX29" fmla="*/ 30928 w 205092"/>
                  <a:gd name="connsiteY29" fmla="*/ 302324 h 674514"/>
                  <a:gd name="connsiteX30" fmla="*/ 54333 w 205092"/>
                  <a:gd name="connsiteY30" fmla="*/ 325729 h 674514"/>
                  <a:gd name="connsiteX31" fmla="*/ 68650 w 205092"/>
                  <a:gd name="connsiteY31" fmla="*/ 320799 h 674514"/>
                  <a:gd name="connsiteX32" fmla="*/ 98952 w 205092"/>
                  <a:gd name="connsiteY32" fmla="*/ 351101 h 674514"/>
                  <a:gd name="connsiteX33" fmla="*/ 98952 w 205092"/>
                  <a:gd name="connsiteY33" fmla="*/ 672558 h 674514"/>
                  <a:gd name="connsiteX34" fmla="*/ 100908 w 205092"/>
                  <a:gd name="connsiteY34" fmla="*/ 674514 h 674514"/>
                  <a:gd name="connsiteX35" fmla="*/ 102864 w 205092"/>
                  <a:gd name="connsiteY35" fmla="*/ 672558 h 674514"/>
                  <a:gd name="connsiteX36" fmla="*/ 102864 w 205092"/>
                  <a:gd name="connsiteY36" fmla="*/ 240344 h 674514"/>
                  <a:gd name="connsiteX37" fmla="*/ 150029 w 205092"/>
                  <a:gd name="connsiteY37" fmla="*/ 193179 h 674514"/>
                  <a:gd name="connsiteX38" fmla="*/ 172819 w 205092"/>
                  <a:gd name="connsiteY38" fmla="*/ 202622 h 674514"/>
                  <a:gd name="connsiteX39" fmla="*/ 205092 w 205092"/>
                  <a:gd name="connsiteY39" fmla="*/ 170349 h 674514"/>
                  <a:gd name="connsiteX40" fmla="*/ 172819 w 205092"/>
                  <a:gd name="connsiteY40" fmla="*/ 138075 h 674514"/>
                  <a:gd name="connsiteX41" fmla="*/ 32274 w 205092"/>
                  <a:gd name="connsiteY41" fmla="*/ 159201 h 674514"/>
                  <a:gd name="connsiteX42" fmla="*/ 3913 w 205092"/>
                  <a:gd name="connsiteY42" fmla="*/ 130840 h 674514"/>
                  <a:gd name="connsiteX43" fmla="*/ 32274 w 205092"/>
                  <a:gd name="connsiteY43" fmla="*/ 102479 h 674514"/>
                  <a:gd name="connsiteX44" fmla="*/ 60634 w 205092"/>
                  <a:gd name="connsiteY44" fmla="*/ 130840 h 674514"/>
                  <a:gd name="connsiteX45" fmla="*/ 53358 w 205092"/>
                  <a:gd name="connsiteY45" fmla="*/ 149788 h 674514"/>
                  <a:gd name="connsiteX46" fmla="*/ 33660 w 205092"/>
                  <a:gd name="connsiteY46" fmla="*/ 130090 h 674514"/>
                  <a:gd name="connsiteX47" fmla="*/ 30892 w 205092"/>
                  <a:gd name="connsiteY47" fmla="*/ 130090 h 674514"/>
                  <a:gd name="connsiteX48" fmla="*/ 30892 w 205092"/>
                  <a:gd name="connsiteY48" fmla="*/ 132858 h 674514"/>
                  <a:gd name="connsiteX49" fmla="*/ 50549 w 205092"/>
                  <a:gd name="connsiteY49" fmla="*/ 152515 h 674514"/>
                  <a:gd name="connsiteX50" fmla="*/ 32279 w 205092"/>
                  <a:gd name="connsiteY50" fmla="*/ 159211 h 674514"/>
                  <a:gd name="connsiteX51" fmla="*/ 35077 w 205092"/>
                  <a:gd name="connsiteY51" fmla="*/ 234475 h 674514"/>
                  <a:gd name="connsiteX52" fmla="*/ 6717 w 205092"/>
                  <a:gd name="connsiteY52" fmla="*/ 206114 h 674514"/>
                  <a:gd name="connsiteX53" fmla="*/ 35077 w 205092"/>
                  <a:gd name="connsiteY53" fmla="*/ 177753 h 674514"/>
                  <a:gd name="connsiteX54" fmla="*/ 63438 w 205092"/>
                  <a:gd name="connsiteY54" fmla="*/ 206114 h 674514"/>
                  <a:gd name="connsiteX55" fmla="*/ 55992 w 205092"/>
                  <a:gd name="connsiteY55" fmla="*/ 225247 h 674514"/>
                  <a:gd name="connsiteX56" fmla="*/ 35555 w 205092"/>
                  <a:gd name="connsiteY56" fmla="*/ 204810 h 674514"/>
                  <a:gd name="connsiteX57" fmla="*/ 32787 w 205092"/>
                  <a:gd name="connsiteY57" fmla="*/ 204810 h 674514"/>
                  <a:gd name="connsiteX58" fmla="*/ 32787 w 205092"/>
                  <a:gd name="connsiteY58" fmla="*/ 207578 h 674514"/>
                  <a:gd name="connsiteX59" fmla="*/ 53158 w 205092"/>
                  <a:gd name="connsiteY59" fmla="*/ 227948 h 674514"/>
                  <a:gd name="connsiteX60" fmla="*/ 35077 w 205092"/>
                  <a:gd name="connsiteY60" fmla="*/ 234480 h 674514"/>
                  <a:gd name="connsiteX61" fmla="*/ 54333 w 205092"/>
                  <a:gd name="connsiteY61" fmla="*/ 321816 h 674514"/>
                  <a:gd name="connsiteX62" fmla="*/ 34841 w 205092"/>
                  <a:gd name="connsiteY62" fmla="*/ 302324 h 674514"/>
                  <a:gd name="connsiteX63" fmla="*/ 54333 w 205092"/>
                  <a:gd name="connsiteY63" fmla="*/ 282831 h 674514"/>
                  <a:gd name="connsiteX64" fmla="*/ 73826 w 205092"/>
                  <a:gd name="connsiteY64" fmla="*/ 302324 h 674514"/>
                  <a:gd name="connsiteX65" fmla="*/ 68763 w 205092"/>
                  <a:gd name="connsiteY65" fmla="*/ 315387 h 674514"/>
                  <a:gd name="connsiteX66" fmla="*/ 55078 w 205092"/>
                  <a:gd name="connsiteY66" fmla="*/ 301702 h 674514"/>
                  <a:gd name="connsiteX67" fmla="*/ 52310 w 205092"/>
                  <a:gd name="connsiteY67" fmla="*/ 301702 h 674514"/>
                  <a:gd name="connsiteX68" fmla="*/ 52310 w 205092"/>
                  <a:gd name="connsiteY68" fmla="*/ 304470 h 674514"/>
                  <a:gd name="connsiteX69" fmla="*/ 65856 w 205092"/>
                  <a:gd name="connsiteY69" fmla="*/ 318016 h 674514"/>
                  <a:gd name="connsiteX70" fmla="*/ 54333 w 205092"/>
                  <a:gd name="connsiteY70" fmla="*/ 321821 h 674514"/>
                  <a:gd name="connsiteX71" fmla="*/ 46590 w 205092"/>
                  <a:gd name="connsiteY71" fmla="*/ 58221 h 674514"/>
                  <a:gd name="connsiteX72" fmla="*/ 100903 w 205092"/>
                  <a:gd name="connsiteY72" fmla="*/ 3908 h 674514"/>
                  <a:gd name="connsiteX73" fmla="*/ 155216 w 205092"/>
                  <a:gd name="connsiteY73" fmla="*/ 58221 h 674514"/>
                  <a:gd name="connsiteX74" fmla="*/ 102859 w 205092"/>
                  <a:gd name="connsiteY74" fmla="*/ 112482 h 674514"/>
                  <a:gd name="connsiteX75" fmla="*/ 102859 w 205092"/>
                  <a:gd name="connsiteY75" fmla="*/ 71957 h 674514"/>
                  <a:gd name="connsiteX76" fmla="*/ 100903 w 205092"/>
                  <a:gd name="connsiteY76" fmla="*/ 70000 h 674514"/>
                  <a:gd name="connsiteX77" fmla="*/ 98946 w 205092"/>
                  <a:gd name="connsiteY77" fmla="*/ 71957 h 674514"/>
                  <a:gd name="connsiteX78" fmla="*/ 98946 w 205092"/>
                  <a:gd name="connsiteY78" fmla="*/ 112482 h 674514"/>
                  <a:gd name="connsiteX79" fmla="*/ 46590 w 205092"/>
                  <a:gd name="connsiteY79" fmla="*/ 58221 h 674514"/>
                  <a:gd name="connsiteX80" fmla="*/ 172813 w 205092"/>
                  <a:gd name="connsiteY80" fmla="*/ 198709 h 674514"/>
                  <a:gd name="connsiteX81" fmla="*/ 152787 w 205092"/>
                  <a:gd name="connsiteY81" fmla="*/ 190411 h 674514"/>
                  <a:gd name="connsiteX82" fmla="*/ 167581 w 205092"/>
                  <a:gd name="connsiteY82" fmla="*/ 175617 h 674514"/>
                  <a:gd name="connsiteX83" fmla="*/ 167581 w 205092"/>
                  <a:gd name="connsiteY83" fmla="*/ 172849 h 674514"/>
                  <a:gd name="connsiteX84" fmla="*/ 164813 w 205092"/>
                  <a:gd name="connsiteY84" fmla="*/ 172849 h 674514"/>
                  <a:gd name="connsiteX85" fmla="*/ 150209 w 205092"/>
                  <a:gd name="connsiteY85" fmla="*/ 187453 h 674514"/>
                  <a:gd name="connsiteX86" fmla="*/ 144448 w 205092"/>
                  <a:gd name="connsiteY86" fmla="*/ 170344 h 674514"/>
                  <a:gd name="connsiteX87" fmla="*/ 172808 w 205092"/>
                  <a:gd name="connsiteY87" fmla="*/ 141983 h 674514"/>
                  <a:gd name="connsiteX88" fmla="*/ 201169 w 205092"/>
                  <a:gd name="connsiteY88" fmla="*/ 170344 h 674514"/>
                  <a:gd name="connsiteX89" fmla="*/ 172808 w 205092"/>
                  <a:gd name="connsiteY89" fmla="*/ 198704 h 67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205092" h="674514">
                    <a:moveTo>
                      <a:pt x="172813" y="138075"/>
                    </a:moveTo>
                    <a:cubicBezTo>
                      <a:pt x="155016" y="138075"/>
                      <a:pt x="140540" y="152556"/>
                      <a:pt x="140540" y="170349"/>
                    </a:cubicBezTo>
                    <a:cubicBezTo>
                      <a:pt x="140540" y="177851"/>
                      <a:pt x="143118" y="184758"/>
                      <a:pt x="147431" y="190242"/>
                    </a:cubicBezTo>
                    <a:lnTo>
                      <a:pt x="102859" y="234814"/>
                    </a:lnTo>
                    <a:lnTo>
                      <a:pt x="102859" y="116395"/>
                    </a:lnTo>
                    <a:cubicBezTo>
                      <a:pt x="134060" y="115358"/>
                      <a:pt x="159129" y="89668"/>
                      <a:pt x="159129" y="58221"/>
                    </a:cubicBezTo>
                    <a:cubicBezTo>
                      <a:pt x="159129" y="26774"/>
                      <a:pt x="133002" y="0"/>
                      <a:pt x="100898" y="0"/>
                    </a:cubicBezTo>
                    <a:cubicBezTo>
                      <a:pt x="68794" y="0"/>
                      <a:pt x="42672" y="26122"/>
                      <a:pt x="42672" y="58226"/>
                    </a:cubicBezTo>
                    <a:cubicBezTo>
                      <a:pt x="42672" y="90330"/>
                      <a:pt x="67741" y="115363"/>
                      <a:pt x="98941" y="116400"/>
                    </a:cubicBezTo>
                    <a:lnTo>
                      <a:pt x="98941" y="195377"/>
                    </a:lnTo>
                    <a:lnTo>
                      <a:pt x="56126" y="152561"/>
                    </a:lnTo>
                    <a:cubicBezTo>
                      <a:pt x="61353" y="146825"/>
                      <a:pt x="64547" y="139200"/>
                      <a:pt x="64547" y="130845"/>
                    </a:cubicBezTo>
                    <a:cubicBezTo>
                      <a:pt x="64547" y="113047"/>
                      <a:pt x="50066" y="98572"/>
                      <a:pt x="32274" y="98572"/>
                    </a:cubicBezTo>
                    <a:cubicBezTo>
                      <a:pt x="14481" y="98572"/>
                      <a:pt x="0" y="113052"/>
                      <a:pt x="0" y="130845"/>
                    </a:cubicBezTo>
                    <a:cubicBezTo>
                      <a:pt x="0" y="148638"/>
                      <a:pt x="14481" y="163119"/>
                      <a:pt x="32274" y="163119"/>
                    </a:cubicBezTo>
                    <a:cubicBezTo>
                      <a:pt x="40310" y="163119"/>
                      <a:pt x="47663" y="160161"/>
                      <a:pt x="53317" y="155283"/>
                    </a:cubicBezTo>
                    <a:lnTo>
                      <a:pt x="98946" y="200912"/>
                    </a:lnTo>
                    <a:lnTo>
                      <a:pt x="98946" y="268201"/>
                    </a:lnTo>
                    <a:lnTo>
                      <a:pt x="58760" y="228015"/>
                    </a:lnTo>
                    <a:cubicBezTo>
                      <a:pt x="64090" y="222259"/>
                      <a:pt x="67351" y="214561"/>
                      <a:pt x="67351" y="206114"/>
                    </a:cubicBezTo>
                    <a:cubicBezTo>
                      <a:pt x="67351" y="188321"/>
                      <a:pt x="52870" y="173841"/>
                      <a:pt x="35077" y="173841"/>
                    </a:cubicBezTo>
                    <a:cubicBezTo>
                      <a:pt x="17285" y="173841"/>
                      <a:pt x="2804" y="188321"/>
                      <a:pt x="2804" y="206114"/>
                    </a:cubicBezTo>
                    <a:cubicBezTo>
                      <a:pt x="2804" y="223907"/>
                      <a:pt x="17285" y="238388"/>
                      <a:pt x="35077" y="238388"/>
                    </a:cubicBezTo>
                    <a:cubicBezTo>
                      <a:pt x="43021" y="238388"/>
                      <a:pt x="50303" y="235497"/>
                      <a:pt x="55931" y="230716"/>
                    </a:cubicBezTo>
                    <a:lnTo>
                      <a:pt x="98946" y="273732"/>
                    </a:lnTo>
                    <a:lnTo>
                      <a:pt x="98946" y="345571"/>
                    </a:lnTo>
                    <a:lnTo>
                      <a:pt x="71525" y="318150"/>
                    </a:lnTo>
                    <a:cubicBezTo>
                      <a:pt x="75366" y="313980"/>
                      <a:pt x="77739" y="308429"/>
                      <a:pt x="77739" y="302324"/>
                    </a:cubicBezTo>
                    <a:cubicBezTo>
                      <a:pt x="77739" y="289419"/>
                      <a:pt x="67238" y="278918"/>
                      <a:pt x="54333" y="278918"/>
                    </a:cubicBezTo>
                    <a:cubicBezTo>
                      <a:pt x="41429" y="278918"/>
                      <a:pt x="30928" y="289419"/>
                      <a:pt x="30928" y="302324"/>
                    </a:cubicBezTo>
                    <a:cubicBezTo>
                      <a:pt x="30928" y="315228"/>
                      <a:pt x="41429" y="325729"/>
                      <a:pt x="54333" y="325729"/>
                    </a:cubicBezTo>
                    <a:cubicBezTo>
                      <a:pt x="59725" y="325729"/>
                      <a:pt x="64686" y="323875"/>
                      <a:pt x="68650" y="320799"/>
                    </a:cubicBezTo>
                    <a:lnTo>
                      <a:pt x="98952" y="351101"/>
                    </a:lnTo>
                    <a:lnTo>
                      <a:pt x="98952" y="672558"/>
                    </a:lnTo>
                    <a:cubicBezTo>
                      <a:pt x="98952" y="673636"/>
                      <a:pt x="99830" y="674514"/>
                      <a:pt x="100908" y="674514"/>
                    </a:cubicBezTo>
                    <a:cubicBezTo>
                      <a:pt x="101986" y="674514"/>
                      <a:pt x="102864" y="673636"/>
                      <a:pt x="102864" y="672558"/>
                    </a:cubicBezTo>
                    <a:lnTo>
                      <a:pt x="102864" y="240344"/>
                    </a:lnTo>
                    <a:lnTo>
                      <a:pt x="150029" y="193179"/>
                    </a:lnTo>
                    <a:cubicBezTo>
                      <a:pt x="155873" y="199012"/>
                      <a:pt x="163930" y="202622"/>
                      <a:pt x="172819" y="202622"/>
                    </a:cubicBezTo>
                    <a:cubicBezTo>
                      <a:pt x="190617" y="202622"/>
                      <a:pt x="205092" y="188142"/>
                      <a:pt x="205092" y="170349"/>
                    </a:cubicBezTo>
                    <a:cubicBezTo>
                      <a:pt x="205092" y="152556"/>
                      <a:pt x="190611" y="138075"/>
                      <a:pt x="172819" y="138075"/>
                    </a:cubicBezTo>
                    <a:close/>
                    <a:moveTo>
                      <a:pt x="32274" y="159201"/>
                    </a:moveTo>
                    <a:cubicBezTo>
                      <a:pt x="16632" y="159201"/>
                      <a:pt x="3913" y="146476"/>
                      <a:pt x="3913" y="130840"/>
                    </a:cubicBezTo>
                    <a:cubicBezTo>
                      <a:pt x="3913" y="115204"/>
                      <a:pt x="16637" y="102479"/>
                      <a:pt x="32274" y="102479"/>
                    </a:cubicBezTo>
                    <a:cubicBezTo>
                      <a:pt x="47910" y="102479"/>
                      <a:pt x="60634" y="115204"/>
                      <a:pt x="60634" y="130840"/>
                    </a:cubicBezTo>
                    <a:cubicBezTo>
                      <a:pt x="60634" y="138116"/>
                      <a:pt x="57877" y="144761"/>
                      <a:pt x="53358" y="149788"/>
                    </a:cubicBezTo>
                    <a:lnTo>
                      <a:pt x="33660" y="130090"/>
                    </a:lnTo>
                    <a:cubicBezTo>
                      <a:pt x="32895" y="129325"/>
                      <a:pt x="31657" y="129325"/>
                      <a:pt x="30892" y="130090"/>
                    </a:cubicBezTo>
                    <a:cubicBezTo>
                      <a:pt x="30127" y="130855"/>
                      <a:pt x="30127" y="132093"/>
                      <a:pt x="30892" y="132858"/>
                    </a:cubicBezTo>
                    <a:lnTo>
                      <a:pt x="50549" y="152515"/>
                    </a:lnTo>
                    <a:cubicBezTo>
                      <a:pt x="45609" y="156690"/>
                      <a:pt x="39231" y="159211"/>
                      <a:pt x="32279" y="159211"/>
                    </a:cubicBezTo>
                    <a:close/>
                    <a:moveTo>
                      <a:pt x="35077" y="234475"/>
                    </a:moveTo>
                    <a:cubicBezTo>
                      <a:pt x="19441" y="234475"/>
                      <a:pt x="6717" y="221750"/>
                      <a:pt x="6717" y="206114"/>
                    </a:cubicBezTo>
                    <a:cubicBezTo>
                      <a:pt x="6717" y="190478"/>
                      <a:pt x="19441" y="177753"/>
                      <a:pt x="35077" y="177753"/>
                    </a:cubicBezTo>
                    <a:cubicBezTo>
                      <a:pt x="50713" y="177753"/>
                      <a:pt x="63438" y="190478"/>
                      <a:pt x="63438" y="206114"/>
                    </a:cubicBezTo>
                    <a:cubicBezTo>
                      <a:pt x="63438" y="213483"/>
                      <a:pt x="60614" y="220199"/>
                      <a:pt x="55992" y="225247"/>
                    </a:cubicBezTo>
                    <a:lnTo>
                      <a:pt x="35555" y="204810"/>
                    </a:lnTo>
                    <a:cubicBezTo>
                      <a:pt x="34790" y="204045"/>
                      <a:pt x="33552" y="204045"/>
                      <a:pt x="32787" y="204810"/>
                    </a:cubicBezTo>
                    <a:cubicBezTo>
                      <a:pt x="32022" y="205575"/>
                      <a:pt x="32022" y="206812"/>
                      <a:pt x="32787" y="207578"/>
                    </a:cubicBezTo>
                    <a:lnTo>
                      <a:pt x="53158" y="227948"/>
                    </a:lnTo>
                    <a:cubicBezTo>
                      <a:pt x="48243" y="232025"/>
                      <a:pt x="41943" y="234480"/>
                      <a:pt x="35077" y="234480"/>
                    </a:cubicBezTo>
                    <a:close/>
                    <a:moveTo>
                      <a:pt x="54333" y="321816"/>
                    </a:moveTo>
                    <a:cubicBezTo>
                      <a:pt x="43586" y="321816"/>
                      <a:pt x="34841" y="313071"/>
                      <a:pt x="34841" y="302324"/>
                    </a:cubicBezTo>
                    <a:cubicBezTo>
                      <a:pt x="34841" y="291576"/>
                      <a:pt x="43586" y="282831"/>
                      <a:pt x="54333" y="282831"/>
                    </a:cubicBezTo>
                    <a:cubicBezTo>
                      <a:pt x="65081" y="282831"/>
                      <a:pt x="73826" y="291576"/>
                      <a:pt x="73826" y="302324"/>
                    </a:cubicBezTo>
                    <a:cubicBezTo>
                      <a:pt x="73826" y="307351"/>
                      <a:pt x="71895" y="311926"/>
                      <a:pt x="68763" y="315387"/>
                    </a:cubicBezTo>
                    <a:lnTo>
                      <a:pt x="55078" y="301702"/>
                    </a:lnTo>
                    <a:cubicBezTo>
                      <a:pt x="54313" y="300937"/>
                      <a:pt x="53075" y="300937"/>
                      <a:pt x="52310" y="301702"/>
                    </a:cubicBezTo>
                    <a:cubicBezTo>
                      <a:pt x="51545" y="302467"/>
                      <a:pt x="51545" y="303705"/>
                      <a:pt x="52310" y="304470"/>
                    </a:cubicBezTo>
                    <a:lnTo>
                      <a:pt x="65856" y="318016"/>
                    </a:lnTo>
                    <a:cubicBezTo>
                      <a:pt x="62621" y="320399"/>
                      <a:pt x="58647" y="321821"/>
                      <a:pt x="54333" y="321821"/>
                    </a:cubicBezTo>
                    <a:close/>
                    <a:moveTo>
                      <a:pt x="46590" y="58221"/>
                    </a:moveTo>
                    <a:cubicBezTo>
                      <a:pt x="46590" y="28273"/>
                      <a:pt x="70956" y="3908"/>
                      <a:pt x="100903" y="3908"/>
                    </a:cubicBezTo>
                    <a:cubicBezTo>
                      <a:pt x="130850" y="3908"/>
                      <a:pt x="155216" y="28273"/>
                      <a:pt x="155216" y="58221"/>
                    </a:cubicBezTo>
                    <a:cubicBezTo>
                      <a:pt x="155216" y="88168"/>
                      <a:pt x="131903" y="111445"/>
                      <a:pt x="102859" y="112482"/>
                    </a:cubicBezTo>
                    <a:lnTo>
                      <a:pt x="102859" y="71957"/>
                    </a:lnTo>
                    <a:cubicBezTo>
                      <a:pt x="102859" y="70879"/>
                      <a:pt x="101981" y="70000"/>
                      <a:pt x="100903" y="70000"/>
                    </a:cubicBezTo>
                    <a:cubicBezTo>
                      <a:pt x="99825" y="70000"/>
                      <a:pt x="98946" y="70879"/>
                      <a:pt x="98946" y="71957"/>
                    </a:cubicBezTo>
                    <a:lnTo>
                      <a:pt x="98946" y="112482"/>
                    </a:lnTo>
                    <a:cubicBezTo>
                      <a:pt x="69903" y="111445"/>
                      <a:pt x="46590" y="87511"/>
                      <a:pt x="46590" y="58221"/>
                    </a:cubicBezTo>
                    <a:close/>
                    <a:moveTo>
                      <a:pt x="172813" y="198709"/>
                    </a:moveTo>
                    <a:cubicBezTo>
                      <a:pt x="165003" y="198709"/>
                      <a:pt x="157922" y="195536"/>
                      <a:pt x="152787" y="190411"/>
                    </a:cubicBezTo>
                    <a:lnTo>
                      <a:pt x="167581" y="175617"/>
                    </a:lnTo>
                    <a:cubicBezTo>
                      <a:pt x="168346" y="174852"/>
                      <a:pt x="168346" y="173615"/>
                      <a:pt x="167581" y="172849"/>
                    </a:cubicBezTo>
                    <a:cubicBezTo>
                      <a:pt x="166816" y="172084"/>
                      <a:pt x="165578" y="172084"/>
                      <a:pt x="164813" y="172849"/>
                    </a:cubicBezTo>
                    <a:lnTo>
                      <a:pt x="150209" y="187453"/>
                    </a:lnTo>
                    <a:cubicBezTo>
                      <a:pt x="146599" y="182693"/>
                      <a:pt x="144448" y="176768"/>
                      <a:pt x="144448" y="170344"/>
                    </a:cubicBezTo>
                    <a:cubicBezTo>
                      <a:pt x="144448" y="154708"/>
                      <a:pt x="157172" y="141983"/>
                      <a:pt x="172808" y="141983"/>
                    </a:cubicBezTo>
                    <a:cubicBezTo>
                      <a:pt x="188444" y="141983"/>
                      <a:pt x="201169" y="154708"/>
                      <a:pt x="201169" y="170344"/>
                    </a:cubicBezTo>
                    <a:cubicBezTo>
                      <a:pt x="201169" y="185980"/>
                      <a:pt x="188444" y="198704"/>
                      <a:pt x="172808" y="198704"/>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80" name="Freeform: Shape 479">
                <a:extLst>
                  <a:ext uri="{FF2B5EF4-FFF2-40B4-BE49-F238E27FC236}">
                    <a16:creationId xmlns:a16="http://schemas.microsoft.com/office/drawing/2014/main" id="{EE9B1431-82FA-4507-9697-1AAE744D62AE}"/>
                  </a:ext>
                </a:extLst>
              </p:cNvPr>
              <p:cNvSpPr/>
              <p:nvPr/>
            </p:nvSpPr>
            <p:spPr>
              <a:xfrm>
                <a:off x="2721303" y="4421191"/>
                <a:ext cx="147510" cy="105873"/>
              </a:xfrm>
              <a:custGeom>
                <a:avLst/>
                <a:gdLst>
                  <a:gd name="connsiteX0" fmla="*/ 147237 w 147510"/>
                  <a:gd name="connsiteY0" fmla="*/ 965 h 105873"/>
                  <a:gd name="connsiteX1" fmla="*/ 145553 w 147510"/>
                  <a:gd name="connsiteY1" fmla="*/ 0 h 105873"/>
                  <a:gd name="connsiteX2" fmla="*/ 41698 w 147510"/>
                  <a:gd name="connsiteY2" fmla="*/ 0 h 105873"/>
                  <a:gd name="connsiteX3" fmla="*/ 39988 w 147510"/>
                  <a:gd name="connsiteY3" fmla="*/ 1006 h 105873"/>
                  <a:gd name="connsiteX4" fmla="*/ 248 w 147510"/>
                  <a:gd name="connsiteY4" fmla="*/ 72404 h 105873"/>
                  <a:gd name="connsiteX5" fmla="*/ 268 w 147510"/>
                  <a:gd name="connsiteY5" fmla="*/ 74345 h 105873"/>
                  <a:gd name="connsiteX6" fmla="*/ 1953 w 147510"/>
                  <a:gd name="connsiteY6" fmla="*/ 75310 h 105873"/>
                  <a:gd name="connsiteX7" fmla="*/ 11211 w 147510"/>
                  <a:gd name="connsiteY7" fmla="*/ 75310 h 105873"/>
                  <a:gd name="connsiteX8" fmla="*/ 11211 w 147510"/>
                  <a:gd name="connsiteY8" fmla="*/ 102443 h 105873"/>
                  <a:gd name="connsiteX9" fmla="*/ 13167 w 147510"/>
                  <a:gd name="connsiteY9" fmla="*/ 104400 h 105873"/>
                  <a:gd name="connsiteX10" fmla="*/ 15124 w 147510"/>
                  <a:gd name="connsiteY10" fmla="*/ 102443 h 105873"/>
                  <a:gd name="connsiteX11" fmla="*/ 15124 w 147510"/>
                  <a:gd name="connsiteY11" fmla="*/ 75310 h 105873"/>
                  <a:gd name="connsiteX12" fmla="*/ 95353 w 147510"/>
                  <a:gd name="connsiteY12" fmla="*/ 75310 h 105873"/>
                  <a:gd name="connsiteX13" fmla="*/ 95353 w 147510"/>
                  <a:gd name="connsiteY13" fmla="*/ 102443 h 105873"/>
                  <a:gd name="connsiteX14" fmla="*/ 97310 w 147510"/>
                  <a:gd name="connsiteY14" fmla="*/ 104400 h 105873"/>
                  <a:gd name="connsiteX15" fmla="*/ 99266 w 147510"/>
                  <a:gd name="connsiteY15" fmla="*/ 102443 h 105873"/>
                  <a:gd name="connsiteX16" fmla="*/ 99266 w 147510"/>
                  <a:gd name="connsiteY16" fmla="*/ 75310 h 105873"/>
                  <a:gd name="connsiteX17" fmla="*/ 105813 w 147510"/>
                  <a:gd name="connsiteY17" fmla="*/ 75310 h 105873"/>
                  <a:gd name="connsiteX18" fmla="*/ 107523 w 147510"/>
                  <a:gd name="connsiteY18" fmla="*/ 74304 h 105873"/>
                  <a:gd name="connsiteX19" fmla="*/ 137162 w 147510"/>
                  <a:gd name="connsiteY19" fmla="*/ 21054 h 105873"/>
                  <a:gd name="connsiteX20" fmla="*/ 137162 w 147510"/>
                  <a:gd name="connsiteY20" fmla="*/ 103917 h 105873"/>
                  <a:gd name="connsiteX21" fmla="*/ 139119 w 147510"/>
                  <a:gd name="connsiteY21" fmla="*/ 105874 h 105873"/>
                  <a:gd name="connsiteX22" fmla="*/ 141075 w 147510"/>
                  <a:gd name="connsiteY22" fmla="*/ 103917 h 105873"/>
                  <a:gd name="connsiteX23" fmla="*/ 141075 w 147510"/>
                  <a:gd name="connsiteY23" fmla="*/ 14024 h 105873"/>
                  <a:gd name="connsiteX24" fmla="*/ 147263 w 147510"/>
                  <a:gd name="connsiteY24" fmla="*/ 2901 h 105873"/>
                  <a:gd name="connsiteX25" fmla="*/ 147242 w 147510"/>
                  <a:gd name="connsiteY25" fmla="*/ 960 h 105873"/>
                  <a:gd name="connsiteX26" fmla="*/ 124720 w 147510"/>
                  <a:gd name="connsiteY26" fmla="*/ 35360 h 105873"/>
                  <a:gd name="connsiteX27" fmla="*/ 124371 w 147510"/>
                  <a:gd name="connsiteY27" fmla="*/ 35324 h 105873"/>
                  <a:gd name="connsiteX28" fmla="*/ 109064 w 147510"/>
                  <a:gd name="connsiteY28" fmla="*/ 35324 h 105873"/>
                  <a:gd name="connsiteX29" fmla="*/ 116925 w 147510"/>
                  <a:gd name="connsiteY29" fmla="*/ 21197 h 105873"/>
                  <a:gd name="connsiteX30" fmla="*/ 132608 w 147510"/>
                  <a:gd name="connsiteY30" fmla="*/ 21197 h 105873"/>
                  <a:gd name="connsiteX31" fmla="*/ 124725 w 147510"/>
                  <a:gd name="connsiteY31" fmla="*/ 35360 h 105873"/>
                  <a:gd name="connsiteX32" fmla="*/ 114476 w 147510"/>
                  <a:gd name="connsiteY32" fmla="*/ 53764 h 105873"/>
                  <a:gd name="connsiteX33" fmla="*/ 113305 w 147510"/>
                  <a:gd name="connsiteY33" fmla="*/ 53368 h 105873"/>
                  <a:gd name="connsiteX34" fmla="*/ 99015 w 147510"/>
                  <a:gd name="connsiteY34" fmla="*/ 53368 h 105873"/>
                  <a:gd name="connsiteX35" fmla="*/ 106881 w 147510"/>
                  <a:gd name="connsiteY35" fmla="*/ 39237 h 105873"/>
                  <a:gd name="connsiteX36" fmla="*/ 122564 w 147510"/>
                  <a:gd name="connsiteY36" fmla="*/ 39237 h 105873"/>
                  <a:gd name="connsiteX37" fmla="*/ 114476 w 147510"/>
                  <a:gd name="connsiteY37" fmla="*/ 53764 h 105873"/>
                  <a:gd name="connsiteX38" fmla="*/ 67599 w 147510"/>
                  <a:gd name="connsiteY38" fmla="*/ 71402 h 105873"/>
                  <a:gd name="connsiteX39" fmla="*/ 75460 w 147510"/>
                  <a:gd name="connsiteY39" fmla="*/ 57281 h 105873"/>
                  <a:gd name="connsiteX40" fmla="*/ 92365 w 147510"/>
                  <a:gd name="connsiteY40" fmla="*/ 57281 h 105873"/>
                  <a:gd name="connsiteX41" fmla="*/ 84503 w 147510"/>
                  <a:gd name="connsiteY41" fmla="*/ 71402 h 105873"/>
                  <a:gd name="connsiteX42" fmla="*/ 67599 w 147510"/>
                  <a:gd name="connsiteY42" fmla="*/ 71402 h 105873"/>
                  <a:gd name="connsiteX43" fmla="*/ 46216 w 147510"/>
                  <a:gd name="connsiteY43" fmla="*/ 71402 h 105873"/>
                  <a:gd name="connsiteX44" fmla="*/ 54078 w 147510"/>
                  <a:gd name="connsiteY44" fmla="*/ 57281 h 105873"/>
                  <a:gd name="connsiteX45" fmla="*/ 70983 w 147510"/>
                  <a:gd name="connsiteY45" fmla="*/ 57281 h 105873"/>
                  <a:gd name="connsiteX46" fmla="*/ 63121 w 147510"/>
                  <a:gd name="connsiteY46" fmla="*/ 71402 h 105873"/>
                  <a:gd name="connsiteX47" fmla="*/ 46216 w 147510"/>
                  <a:gd name="connsiteY47" fmla="*/ 71402 h 105873"/>
                  <a:gd name="connsiteX48" fmla="*/ 24834 w 147510"/>
                  <a:gd name="connsiteY48" fmla="*/ 71402 h 105873"/>
                  <a:gd name="connsiteX49" fmla="*/ 32696 w 147510"/>
                  <a:gd name="connsiteY49" fmla="*/ 57281 h 105873"/>
                  <a:gd name="connsiteX50" fmla="*/ 49600 w 147510"/>
                  <a:gd name="connsiteY50" fmla="*/ 57281 h 105873"/>
                  <a:gd name="connsiteX51" fmla="*/ 41739 w 147510"/>
                  <a:gd name="connsiteY51" fmla="*/ 71402 h 105873"/>
                  <a:gd name="connsiteX52" fmla="*/ 24834 w 147510"/>
                  <a:gd name="connsiteY52" fmla="*/ 71402 h 105873"/>
                  <a:gd name="connsiteX53" fmla="*/ 23181 w 147510"/>
                  <a:gd name="connsiteY53" fmla="*/ 39242 h 105873"/>
                  <a:gd name="connsiteX54" fmla="*/ 38262 w 147510"/>
                  <a:gd name="connsiteY54" fmla="*/ 39242 h 105873"/>
                  <a:gd name="connsiteX55" fmla="*/ 30395 w 147510"/>
                  <a:gd name="connsiteY55" fmla="*/ 53373 h 105873"/>
                  <a:gd name="connsiteX56" fmla="*/ 15314 w 147510"/>
                  <a:gd name="connsiteY56" fmla="*/ 53373 h 105873"/>
                  <a:gd name="connsiteX57" fmla="*/ 23181 w 147510"/>
                  <a:gd name="connsiteY57" fmla="*/ 39242 h 105873"/>
                  <a:gd name="connsiteX58" fmla="*/ 33220 w 147510"/>
                  <a:gd name="connsiteY58" fmla="*/ 21202 h 105873"/>
                  <a:gd name="connsiteX59" fmla="*/ 48301 w 147510"/>
                  <a:gd name="connsiteY59" fmla="*/ 21202 h 105873"/>
                  <a:gd name="connsiteX60" fmla="*/ 40440 w 147510"/>
                  <a:gd name="connsiteY60" fmla="*/ 35329 h 105873"/>
                  <a:gd name="connsiteX61" fmla="*/ 25358 w 147510"/>
                  <a:gd name="connsiteY61" fmla="*/ 35329 h 105873"/>
                  <a:gd name="connsiteX62" fmla="*/ 33220 w 147510"/>
                  <a:gd name="connsiteY62" fmla="*/ 21202 h 105873"/>
                  <a:gd name="connsiteX63" fmla="*/ 79301 w 147510"/>
                  <a:gd name="connsiteY63" fmla="*/ 3918 h 105873"/>
                  <a:gd name="connsiteX64" fmla="*/ 71861 w 147510"/>
                  <a:gd name="connsiteY64" fmla="*/ 17290 h 105873"/>
                  <a:gd name="connsiteX65" fmla="*/ 54956 w 147510"/>
                  <a:gd name="connsiteY65" fmla="*/ 17290 h 105873"/>
                  <a:gd name="connsiteX66" fmla="*/ 62397 w 147510"/>
                  <a:gd name="connsiteY66" fmla="*/ 3918 h 105873"/>
                  <a:gd name="connsiteX67" fmla="*/ 79301 w 147510"/>
                  <a:gd name="connsiteY67" fmla="*/ 3918 h 105873"/>
                  <a:gd name="connsiteX68" fmla="*/ 100683 w 147510"/>
                  <a:gd name="connsiteY68" fmla="*/ 3918 h 105873"/>
                  <a:gd name="connsiteX69" fmla="*/ 93238 w 147510"/>
                  <a:gd name="connsiteY69" fmla="*/ 17290 h 105873"/>
                  <a:gd name="connsiteX70" fmla="*/ 76333 w 147510"/>
                  <a:gd name="connsiteY70" fmla="*/ 17290 h 105873"/>
                  <a:gd name="connsiteX71" fmla="*/ 83774 w 147510"/>
                  <a:gd name="connsiteY71" fmla="*/ 3918 h 105873"/>
                  <a:gd name="connsiteX72" fmla="*/ 100678 w 147510"/>
                  <a:gd name="connsiteY72" fmla="*/ 3918 h 105873"/>
                  <a:gd name="connsiteX73" fmla="*/ 66294 w 147510"/>
                  <a:gd name="connsiteY73" fmla="*/ 35329 h 105873"/>
                  <a:gd name="connsiteX74" fmla="*/ 74156 w 147510"/>
                  <a:gd name="connsiteY74" fmla="*/ 21202 h 105873"/>
                  <a:gd name="connsiteX75" fmla="*/ 91060 w 147510"/>
                  <a:gd name="connsiteY75" fmla="*/ 21202 h 105873"/>
                  <a:gd name="connsiteX76" fmla="*/ 83199 w 147510"/>
                  <a:gd name="connsiteY76" fmla="*/ 35329 h 105873"/>
                  <a:gd name="connsiteX77" fmla="*/ 66294 w 147510"/>
                  <a:gd name="connsiteY77" fmla="*/ 35329 h 105873"/>
                  <a:gd name="connsiteX78" fmla="*/ 81021 w 147510"/>
                  <a:gd name="connsiteY78" fmla="*/ 39242 h 105873"/>
                  <a:gd name="connsiteX79" fmla="*/ 73155 w 147510"/>
                  <a:gd name="connsiteY79" fmla="*/ 53373 h 105873"/>
                  <a:gd name="connsiteX80" fmla="*/ 56250 w 147510"/>
                  <a:gd name="connsiteY80" fmla="*/ 53373 h 105873"/>
                  <a:gd name="connsiteX81" fmla="*/ 64117 w 147510"/>
                  <a:gd name="connsiteY81" fmla="*/ 39242 h 105873"/>
                  <a:gd name="connsiteX82" fmla="*/ 81021 w 147510"/>
                  <a:gd name="connsiteY82" fmla="*/ 39242 h 105873"/>
                  <a:gd name="connsiteX83" fmla="*/ 69683 w 147510"/>
                  <a:gd name="connsiteY83" fmla="*/ 21202 h 105873"/>
                  <a:gd name="connsiteX84" fmla="*/ 61822 w 147510"/>
                  <a:gd name="connsiteY84" fmla="*/ 35329 h 105873"/>
                  <a:gd name="connsiteX85" fmla="*/ 44917 w 147510"/>
                  <a:gd name="connsiteY85" fmla="*/ 35329 h 105873"/>
                  <a:gd name="connsiteX86" fmla="*/ 52779 w 147510"/>
                  <a:gd name="connsiteY86" fmla="*/ 21202 h 105873"/>
                  <a:gd name="connsiteX87" fmla="*/ 69683 w 147510"/>
                  <a:gd name="connsiteY87" fmla="*/ 21202 h 105873"/>
                  <a:gd name="connsiteX88" fmla="*/ 42740 w 147510"/>
                  <a:gd name="connsiteY88" fmla="*/ 39242 h 105873"/>
                  <a:gd name="connsiteX89" fmla="*/ 59644 w 147510"/>
                  <a:gd name="connsiteY89" fmla="*/ 39242 h 105873"/>
                  <a:gd name="connsiteX90" fmla="*/ 51778 w 147510"/>
                  <a:gd name="connsiteY90" fmla="*/ 53373 h 105873"/>
                  <a:gd name="connsiteX91" fmla="*/ 34873 w 147510"/>
                  <a:gd name="connsiteY91" fmla="*/ 53373 h 105873"/>
                  <a:gd name="connsiteX92" fmla="*/ 42740 w 147510"/>
                  <a:gd name="connsiteY92" fmla="*/ 39242 h 105873"/>
                  <a:gd name="connsiteX93" fmla="*/ 77637 w 147510"/>
                  <a:gd name="connsiteY93" fmla="*/ 53373 h 105873"/>
                  <a:gd name="connsiteX94" fmla="*/ 85504 w 147510"/>
                  <a:gd name="connsiteY94" fmla="*/ 39242 h 105873"/>
                  <a:gd name="connsiteX95" fmla="*/ 102409 w 147510"/>
                  <a:gd name="connsiteY95" fmla="*/ 39242 h 105873"/>
                  <a:gd name="connsiteX96" fmla="*/ 94542 w 147510"/>
                  <a:gd name="connsiteY96" fmla="*/ 53373 h 105873"/>
                  <a:gd name="connsiteX97" fmla="*/ 77637 w 147510"/>
                  <a:gd name="connsiteY97" fmla="*/ 53373 h 105873"/>
                  <a:gd name="connsiteX98" fmla="*/ 104586 w 147510"/>
                  <a:gd name="connsiteY98" fmla="*/ 35334 h 105873"/>
                  <a:gd name="connsiteX99" fmla="*/ 87682 w 147510"/>
                  <a:gd name="connsiteY99" fmla="*/ 35334 h 105873"/>
                  <a:gd name="connsiteX100" fmla="*/ 95543 w 147510"/>
                  <a:gd name="connsiteY100" fmla="*/ 21208 h 105873"/>
                  <a:gd name="connsiteX101" fmla="*/ 112448 w 147510"/>
                  <a:gd name="connsiteY101" fmla="*/ 21208 h 105873"/>
                  <a:gd name="connsiteX102" fmla="*/ 104586 w 147510"/>
                  <a:gd name="connsiteY102" fmla="*/ 35334 h 105873"/>
                  <a:gd name="connsiteX103" fmla="*/ 97721 w 147510"/>
                  <a:gd name="connsiteY103" fmla="*/ 17295 h 105873"/>
                  <a:gd name="connsiteX104" fmla="*/ 105161 w 147510"/>
                  <a:gd name="connsiteY104" fmla="*/ 3923 h 105873"/>
                  <a:gd name="connsiteX105" fmla="*/ 122066 w 147510"/>
                  <a:gd name="connsiteY105" fmla="*/ 3923 h 105873"/>
                  <a:gd name="connsiteX106" fmla="*/ 114620 w 147510"/>
                  <a:gd name="connsiteY106" fmla="*/ 17295 h 105873"/>
                  <a:gd name="connsiteX107" fmla="*/ 97715 w 147510"/>
                  <a:gd name="connsiteY107" fmla="*/ 17295 h 105873"/>
                  <a:gd name="connsiteX108" fmla="*/ 42843 w 147510"/>
                  <a:gd name="connsiteY108" fmla="*/ 3923 h 105873"/>
                  <a:gd name="connsiteX109" fmla="*/ 57924 w 147510"/>
                  <a:gd name="connsiteY109" fmla="*/ 3923 h 105873"/>
                  <a:gd name="connsiteX110" fmla="*/ 50484 w 147510"/>
                  <a:gd name="connsiteY110" fmla="*/ 17295 h 105873"/>
                  <a:gd name="connsiteX111" fmla="*/ 35402 w 147510"/>
                  <a:gd name="connsiteY111" fmla="*/ 17295 h 105873"/>
                  <a:gd name="connsiteX112" fmla="*/ 42843 w 147510"/>
                  <a:gd name="connsiteY112" fmla="*/ 3923 h 105873"/>
                  <a:gd name="connsiteX113" fmla="*/ 13137 w 147510"/>
                  <a:gd name="connsiteY113" fmla="*/ 57286 h 105873"/>
                  <a:gd name="connsiteX114" fmla="*/ 28218 w 147510"/>
                  <a:gd name="connsiteY114" fmla="*/ 57286 h 105873"/>
                  <a:gd name="connsiteX115" fmla="*/ 20356 w 147510"/>
                  <a:gd name="connsiteY115" fmla="*/ 71407 h 105873"/>
                  <a:gd name="connsiteX116" fmla="*/ 5275 w 147510"/>
                  <a:gd name="connsiteY116" fmla="*/ 71407 h 105873"/>
                  <a:gd name="connsiteX117" fmla="*/ 13137 w 147510"/>
                  <a:gd name="connsiteY117" fmla="*/ 57286 h 105873"/>
                  <a:gd name="connsiteX118" fmla="*/ 104658 w 147510"/>
                  <a:gd name="connsiteY118" fmla="*/ 71407 h 105873"/>
                  <a:gd name="connsiteX119" fmla="*/ 88976 w 147510"/>
                  <a:gd name="connsiteY119" fmla="*/ 71407 h 105873"/>
                  <a:gd name="connsiteX120" fmla="*/ 96837 w 147510"/>
                  <a:gd name="connsiteY120" fmla="*/ 57286 h 105873"/>
                  <a:gd name="connsiteX121" fmla="*/ 112520 w 147510"/>
                  <a:gd name="connsiteY121" fmla="*/ 57286 h 105873"/>
                  <a:gd name="connsiteX122" fmla="*/ 104658 w 147510"/>
                  <a:gd name="connsiteY122" fmla="*/ 71407 h 105873"/>
                  <a:gd name="connsiteX123" fmla="*/ 134780 w 147510"/>
                  <a:gd name="connsiteY123" fmla="*/ 17295 h 105873"/>
                  <a:gd name="connsiteX124" fmla="*/ 119097 w 147510"/>
                  <a:gd name="connsiteY124" fmla="*/ 17295 h 105873"/>
                  <a:gd name="connsiteX125" fmla="*/ 126538 w 147510"/>
                  <a:gd name="connsiteY125" fmla="*/ 3923 h 105873"/>
                  <a:gd name="connsiteX126" fmla="*/ 142220 w 147510"/>
                  <a:gd name="connsiteY126" fmla="*/ 3923 h 105873"/>
                  <a:gd name="connsiteX127" fmla="*/ 134780 w 147510"/>
                  <a:gd name="connsiteY127" fmla="*/ 17295 h 10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147510" h="105873">
                    <a:moveTo>
                      <a:pt x="147237" y="965"/>
                    </a:moveTo>
                    <a:cubicBezTo>
                      <a:pt x="146888" y="365"/>
                      <a:pt x="146246" y="0"/>
                      <a:pt x="145553" y="0"/>
                    </a:cubicBezTo>
                    <a:lnTo>
                      <a:pt x="41698" y="0"/>
                    </a:lnTo>
                    <a:cubicBezTo>
                      <a:pt x="40989" y="0"/>
                      <a:pt x="40332" y="385"/>
                      <a:pt x="39988" y="1006"/>
                    </a:cubicBezTo>
                    <a:lnTo>
                      <a:pt x="248" y="72404"/>
                    </a:lnTo>
                    <a:cubicBezTo>
                      <a:pt x="-91" y="73010"/>
                      <a:pt x="-81" y="73749"/>
                      <a:pt x="268" y="74345"/>
                    </a:cubicBezTo>
                    <a:cubicBezTo>
                      <a:pt x="618" y="74945"/>
                      <a:pt x="1259" y="75310"/>
                      <a:pt x="1953" y="75310"/>
                    </a:cubicBezTo>
                    <a:lnTo>
                      <a:pt x="11211" y="75310"/>
                    </a:lnTo>
                    <a:lnTo>
                      <a:pt x="11211" y="102443"/>
                    </a:lnTo>
                    <a:cubicBezTo>
                      <a:pt x="11211" y="103522"/>
                      <a:pt x="12089" y="104400"/>
                      <a:pt x="13167" y="104400"/>
                    </a:cubicBezTo>
                    <a:cubicBezTo>
                      <a:pt x="14246" y="104400"/>
                      <a:pt x="15124" y="103522"/>
                      <a:pt x="15124" y="102443"/>
                    </a:cubicBezTo>
                    <a:lnTo>
                      <a:pt x="15124" y="75310"/>
                    </a:lnTo>
                    <a:lnTo>
                      <a:pt x="95353" y="75310"/>
                    </a:lnTo>
                    <a:lnTo>
                      <a:pt x="95353" y="102443"/>
                    </a:lnTo>
                    <a:cubicBezTo>
                      <a:pt x="95353" y="103522"/>
                      <a:pt x="96231" y="104400"/>
                      <a:pt x="97310" y="104400"/>
                    </a:cubicBezTo>
                    <a:cubicBezTo>
                      <a:pt x="98388" y="104400"/>
                      <a:pt x="99266" y="103522"/>
                      <a:pt x="99266" y="102443"/>
                    </a:cubicBezTo>
                    <a:lnTo>
                      <a:pt x="99266" y="75310"/>
                    </a:lnTo>
                    <a:lnTo>
                      <a:pt x="105813" y="75310"/>
                    </a:lnTo>
                    <a:cubicBezTo>
                      <a:pt x="106522" y="75310"/>
                      <a:pt x="107179" y="74925"/>
                      <a:pt x="107523" y="74304"/>
                    </a:cubicBezTo>
                    <a:lnTo>
                      <a:pt x="137162" y="21054"/>
                    </a:lnTo>
                    <a:lnTo>
                      <a:pt x="137162" y="103917"/>
                    </a:lnTo>
                    <a:cubicBezTo>
                      <a:pt x="137162" y="104996"/>
                      <a:pt x="138041" y="105874"/>
                      <a:pt x="139119" y="105874"/>
                    </a:cubicBezTo>
                    <a:cubicBezTo>
                      <a:pt x="140197" y="105874"/>
                      <a:pt x="141075" y="104996"/>
                      <a:pt x="141075" y="103917"/>
                    </a:cubicBezTo>
                    <a:lnTo>
                      <a:pt x="141075" y="14024"/>
                    </a:lnTo>
                    <a:lnTo>
                      <a:pt x="147263" y="2901"/>
                    </a:lnTo>
                    <a:cubicBezTo>
                      <a:pt x="147602" y="2295"/>
                      <a:pt x="147592" y="1556"/>
                      <a:pt x="147242" y="960"/>
                    </a:cubicBezTo>
                    <a:close/>
                    <a:moveTo>
                      <a:pt x="124720" y="35360"/>
                    </a:moveTo>
                    <a:cubicBezTo>
                      <a:pt x="124607" y="35339"/>
                      <a:pt x="124489" y="35324"/>
                      <a:pt x="124371" y="35324"/>
                    </a:cubicBezTo>
                    <a:lnTo>
                      <a:pt x="109064" y="35324"/>
                    </a:lnTo>
                    <a:lnTo>
                      <a:pt x="116925" y="21197"/>
                    </a:lnTo>
                    <a:lnTo>
                      <a:pt x="132608" y="21197"/>
                    </a:lnTo>
                    <a:lnTo>
                      <a:pt x="124725" y="35360"/>
                    </a:lnTo>
                    <a:close/>
                    <a:moveTo>
                      <a:pt x="114476" y="53764"/>
                    </a:moveTo>
                    <a:cubicBezTo>
                      <a:pt x="114147" y="53517"/>
                      <a:pt x="113747" y="53368"/>
                      <a:pt x="113305" y="53368"/>
                    </a:cubicBezTo>
                    <a:lnTo>
                      <a:pt x="99015" y="53368"/>
                    </a:lnTo>
                    <a:lnTo>
                      <a:pt x="106881" y="39237"/>
                    </a:lnTo>
                    <a:lnTo>
                      <a:pt x="122564" y="39237"/>
                    </a:lnTo>
                    <a:lnTo>
                      <a:pt x="114476" y="53764"/>
                    </a:lnTo>
                    <a:close/>
                    <a:moveTo>
                      <a:pt x="67599" y="71402"/>
                    </a:moveTo>
                    <a:lnTo>
                      <a:pt x="75460" y="57281"/>
                    </a:lnTo>
                    <a:lnTo>
                      <a:pt x="92365" y="57281"/>
                    </a:lnTo>
                    <a:lnTo>
                      <a:pt x="84503" y="71402"/>
                    </a:lnTo>
                    <a:lnTo>
                      <a:pt x="67599" y="71402"/>
                    </a:lnTo>
                    <a:close/>
                    <a:moveTo>
                      <a:pt x="46216" y="71402"/>
                    </a:moveTo>
                    <a:lnTo>
                      <a:pt x="54078" y="57281"/>
                    </a:lnTo>
                    <a:lnTo>
                      <a:pt x="70983" y="57281"/>
                    </a:lnTo>
                    <a:lnTo>
                      <a:pt x="63121" y="71402"/>
                    </a:lnTo>
                    <a:lnTo>
                      <a:pt x="46216" y="71402"/>
                    </a:lnTo>
                    <a:close/>
                    <a:moveTo>
                      <a:pt x="24834" y="71402"/>
                    </a:moveTo>
                    <a:lnTo>
                      <a:pt x="32696" y="57281"/>
                    </a:lnTo>
                    <a:lnTo>
                      <a:pt x="49600" y="57281"/>
                    </a:lnTo>
                    <a:lnTo>
                      <a:pt x="41739" y="71402"/>
                    </a:lnTo>
                    <a:lnTo>
                      <a:pt x="24834" y="71402"/>
                    </a:lnTo>
                    <a:close/>
                    <a:moveTo>
                      <a:pt x="23181" y="39242"/>
                    </a:moveTo>
                    <a:lnTo>
                      <a:pt x="38262" y="39242"/>
                    </a:lnTo>
                    <a:lnTo>
                      <a:pt x="30395" y="53373"/>
                    </a:lnTo>
                    <a:lnTo>
                      <a:pt x="15314" y="53373"/>
                    </a:lnTo>
                    <a:lnTo>
                      <a:pt x="23181" y="39242"/>
                    </a:lnTo>
                    <a:close/>
                    <a:moveTo>
                      <a:pt x="33220" y="21202"/>
                    </a:moveTo>
                    <a:lnTo>
                      <a:pt x="48301" y="21202"/>
                    </a:lnTo>
                    <a:lnTo>
                      <a:pt x="40440" y="35329"/>
                    </a:lnTo>
                    <a:lnTo>
                      <a:pt x="25358" y="35329"/>
                    </a:lnTo>
                    <a:lnTo>
                      <a:pt x="33220" y="21202"/>
                    </a:lnTo>
                    <a:close/>
                    <a:moveTo>
                      <a:pt x="79301" y="3918"/>
                    </a:moveTo>
                    <a:lnTo>
                      <a:pt x="71861" y="17290"/>
                    </a:lnTo>
                    <a:lnTo>
                      <a:pt x="54956" y="17290"/>
                    </a:lnTo>
                    <a:lnTo>
                      <a:pt x="62397" y="3918"/>
                    </a:lnTo>
                    <a:lnTo>
                      <a:pt x="79301" y="3918"/>
                    </a:lnTo>
                    <a:close/>
                    <a:moveTo>
                      <a:pt x="100683" y="3918"/>
                    </a:moveTo>
                    <a:lnTo>
                      <a:pt x="93238" y="17290"/>
                    </a:lnTo>
                    <a:lnTo>
                      <a:pt x="76333" y="17290"/>
                    </a:lnTo>
                    <a:lnTo>
                      <a:pt x="83774" y="3918"/>
                    </a:lnTo>
                    <a:lnTo>
                      <a:pt x="100678" y="3918"/>
                    </a:lnTo>
                    <a:close/>
                    <a:moveTo>
                      <a:pt x="66294" y="35329"/>
                    </a:moveTo>
                    <a:lnTo>
                      <a:pt x="74156" y="21202"/>
                    </a:lnTo>
                    <a:lnTo>
                      <a:pt x="91060" y="21202"/>
                    </a:lnTo>
                    <a:lnTo>
                      <a:pt x="83199" y="35329"/>
                    </a:lnTo>
                    <a:lnTo>
                      <a:pt x="66294" y="35329"/>
                    </a:lnTo>
                    <a:close/>
                    <a:moveTo>
                      <a:pt x="81021" y="39242"/>
                    </a:moveTo>
                    <a:lnTo>
                      <a:pt x="73155" y="53373"/>
                    </a:lnTo>
                    <a:lnTo>
                      <a:pt x="56250" y="53373"/>
                    </a:lnTo>
                    <a:lnTo>
                      <a:pt x="64117" y="39242"/>
                    </a:lnTo>
                    <a:lnTo>
                      <a:pt x="81021" y="39242"/>
                    </a:lnTo>
                    <a:close/>
                    <a:moveTo>
                      <a:pt x="69683" y="21202"/>
                    </a:moveTo>
                    <a:lnTo>
                      <a:pt x="61822" y="35329"/>
                    </a:lnTo>
                    <a:lnTo>
                      <a:pt x="44917" y="35329"/>
                    </a:lnTo>
                    <a:lnTo>
                      <a:pt x="52779" y="21202"/>
                    </a:lnTo>
                    <a:lnTo>
                      <a:pt x="69683" y="21202"/>
                    </a:lnTo>
                    <a:close/>
                    <a:moveTo>
                      <a:pt x="42740" y="39242"/>
                    </a:moveTo>
                    <a:lnTo>
                      <a:pt x="59644" y="39242"/>
                    </a:lnTo>
                    <a:lnTo>
                      <a:pt x="51778" y="53373"/>
                    </a:lnTo>
                    <a:lnTo>
                      <a:pt x="34873" y="53373"/>
                    </a:lnTo>
                    <a:lnTo>
                      <a:pt x="42740" y="39242"/>
                    </a:lnTo>
                    <a:close/>
                    <a:moveTo>
                      <a:pt x="77637" y="53373"/>
                    </a:moveTo>
                    <a:lnTo>
                      <a:pt x="85504" y="39242"/>
                    </a:lnTo>
                    <a:lnTo>
                      <a:pt x="102409" y="39242"/>
                    </a:lnTo>
                    <a:lnTo>
                      <a:pt x="94542" y="53373"/>
                    </a:lnTo>
                    <a:lnTo>
                      <a:pt x="77637" y="53373"/>
                    </a:lnTo>
                    <a:close/>
                    <a:moveTo>
                      <a:pt x="104586" y="35334"/>
                    </a:moveTo>
                    <a:lnTo>
                      <a:pt x="87682" y="35334"/>
                    </a:lnTo>
                    <a:lnTo>
                      <a:pt x="95543" y="21208"/>
                    </a:lnTo>
                    <a:lnTo>
                      <a:pt x="112448" y="21208"/>
                    </a:lnTo>
                    <a:lnTo>
                      <a:pt x="104586" y="35334"/>
                    </a:lnTo>
                    <a:close/>
                    <a:moveTo>
                      <a:pt x="97721" y="17295"/>
                    </a:moveTo>
                    <a:lnTo>
                      <a:pt x="105161" y="3923"/>
                    </a:lnTo>
                    <a:lnTo>
                      <a:pt x="122066" y="3923"/>
                    </a:lnTo>
                    <a:lnTo>
                      <a:pt x="114620" y="17295"/>
                    </a:lnTo>
                    <a:lnTo>
                      <a:pt x="97715" y="17295"/>
                    </a:lnTo>
                    <a:close/>
                    <a:moveTo>
                      <a:pt x="42843" y="3923"/>
                    </a:moveTo>
                    <a:lnTo>
                      <a:pt x="57924" y="3923"/>
                    </a:lnTo>
                    <a:lnTo>
                      <a:pt x="50484" y="17295"/>
                    </a:lnTo>
                    <a:lnTo>
                      <a:pt x="35402" y="17295"/>
                    </a:lnTo>
                    <a:lnTo>
                      <a:pt x="42843" y="3923"/>
                    </a:lnTo>
                    <a:close/>
                    <a:moveTo>
                      <a:pt x="13137" y="57286"/>
                    </a:moveTo>
                    <a:lnTo>
                      <a:pt x="28218" y="57286"/>
                    </a:lnTo>
                    <a:lnTo>
                      <a:pt x="20356" y="71407"/>
                    </a:lnTo>
                    <a:lnTo>
                      <a:pt x="5275" y="71407"/>
                    </a:lnTo>
                    <a:lnTo>
                      <a:pt x="13137" y="57286"/>
                    </a:lnTo>
                    <a:close/>
                    <a:moveTo>
                      <a:pt x="104658" y="71407"/>
                    </a:moveTo>
                    <a:lnTo>
                      <a:pt x="88976" y="71407"/>
                    </a:lnTo>
                    <a:lnTo>
                      <a:pt x="96837" y="57286"/>
                    </a:lnTo>
                    <a:lnTo>
                      <a:pt x="112520" y="57286"/>
                    </a:lnTo>
                    <a:lnTo>
                      <a:pt x="104658" y="71407"/>
                    </a:lnTo>
                    <a:close/>
                    <a:moveTo>
                      <a:pt x="134780" y="17295"/>
                    </a:moveTo>
                    <a:lnTo>
                      <a:pt x="119097" y="17295"/>
                    </a:lnTo>
                    <a:lnTo>
                      <a:pt x="126538" y="3923"/>
                    </a:lnTo>
                    <a:lnTo>
                      <a:pt x="142220" y="3923"/>
                    </a:lnTo>
                    <a:lnTo>
                      <a:pt x="134780" y="17295"/>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81" name="Freeform: Shape 480">
                <a:extLst>
                  <a:ext uri="{FF2B5EF4-FFF2-40B4-BE49-F238E27FC236}">
                    <a16:creationId xmlns:a16="http://schemas.microsoft.com/office/drawing/2014/main" id="{18B29DAA-1066-4DDB-BB49-65BD8DAAF020}"/>
                  </a:ext>
                </a:extLst>
              </p:cNvPr>
              <p:cNvSpPr/>
              <p:nvPr/>
            </p:nvSpPr>
            <p:spPr>
              <a:xfrm>
                <a:off x="2157214" y="4349737"/>
                <a:ext cx="114125" cy="14218"/>
              </a:xfrm>
              <a:custGeom>
                <a:avLst/>
                <a:gdLst>
                  <a:gd name="connsiteX0" fmla="*/ 112159 w 114125"/>
                  <a:gd name="connsiteY0" fmla="*/ 5 h 14218"/>
                  <a:gd name="connsiteX1" fmla="*/ 103142 w 114125"/>
                  <a:gd name="connsiteY1" fmla="*/ 5864 h 14218"/>
                  <a:gd name="connsiteX2" fmla="*/ 96631 w 114125"/>
                  <a:gd name="connsiteY2" fmla="*/ 10296 h 14218"/>
                  <a:gd name="connsiteX3" fmla="*/ 96261 w 114125"/>
                  <a:gd name="connsiteY3" fmla="*/ 10332 h 14218"/>
                  <a:gd name="connsiteX4" fmla="*/ 95891 w 114125"/>
                  <a:gd name="connsiteY4" fmla="*/ 10296 h 14218"/>
                  <a:gd name="connsiteX5" fmla="*/ 89380 w 114125"/>
                  <a:gd name="connsiteY5" fmla="*/ 5864 h 14218"/>
                  <a:gd name="connsiteX6" fmla="*/ 84122 w 114125"/>
                  <a:gd name="connsiteY6" fmla="*/ 729 h 14218"/>
                  <a:gd name="connsiteX7" fmla="*/ 82612 w 114125"/>
                  <a:gd name="connsiteY7" fmla="*/ 0 h 14218"/>
                  <a:gd name="connsiteX8" fmla="*/ 81487 w 114125"/>
                  <a:gd name="connsiteY8" fmla="*/ 62 h 14218"/>
                  <a:gd name="connsiteX9" fmla="*/ 80363 w 114125"/>
                  <a:gd name="connsiteY9" fmla="*/ 0 h 14218"/>
                  <a:gd name="connsiteX10" fmla="*/ 78853 w 114125"/>
                  <a:gd name="connsiteY10" fmla="*/ 729 h 14218"/>
                  <a:gd name="connsiteX11" fmla="*/ 73595 w 114125"/>
                  <a:gd name="connsiteY11" fmla="*/ 5864 h 14218"/>
                  <a:gd name="connsiteX12" fmla="*/ 67084 w 114125"/>
                  <a:gd name="connsiteY12" fmla="*/ 10296 h 14218"/>
                  <a:gd name="connsiteX13" fmla="*/ 66714 w 114125"/>
                  <a:gd name="connsiteY13" fmla="*/ 10332 h 14218"/>
                  <a:gd name="connsiteX14" fmla="*/ 66344 w 114125"/>
                  <a:gd name="connsiteY14" fmla="*/ 10296 h 14218"/>
                  <a:gd name="connsiteX15" fmla="*/ 59833 w 114125"/>
                  <a:gd name="connsiteY15" fmla="*/ 5864 h 14218"/>
                  <a:gd name="connsiteX16" fmla="*/ 50816 w 114125"/>
                  <a:gd name="connsiteY16" fmla="*/ 5 h 14218"/>
                  <a:gd name="connsiteX17" fmla="*/ 50431 w 114125"/>
                  <a:gd name="connsiteY17" fmla="*/ 41 h 14218"/>
                  <a:gd name="connsiteX18" fmla="*/ 50046 w 114125"/>
                  <a:gd name="connsiteY18" fmla="*/ 5 h 14218"/>
                  <a:gd name="connsiteX19" fmla="*/ 41029 w 114125"/>
                  <a:gd name="connsiteY19" fmla="*/ 5869 h 14218"/>
                  <a:gd name="connsiteX20" fmla="*/ 34517 w 114125"/>
                  <a:gd name="connsiteY20" fmla="*/ 10301 h 14218"/>
                  <a:gd name="connsiteX21" fmla="*/ 34148 w 114125"/>
                  <a:gd name="connsiteY21" fmla="*/ 10337 h 14218"/>
                  <a:gd name="connsiteX22" fmla="*/ 33778 w 114125"/>
                  <a:gd name="connsiteY22" fmla="*/ 10301 h 14218"/>
                  <a:gd name="connsiteX23" fmla="*/ 27267 w 114125"/>
                  <a:gd name="connsiteY23" fmla="*/ 5869 h 14218"/>
                  <a:gd name="connsiteX24" fmla="*/ 18250 w 114125"/>
                  <a:gd name="connsiteY24" fmla="*/ 10 h 14218"/>
                  <a:gd name="connsiteX25" fmla="*/ 17865 w 114125"/>
                  <a:gd name="connsiteY25" fmla="*/ 46 h 14218"/>
                  <a:gd name="connsiteX26" fmla="*/ 17485 w 114125"/>
                  <a:gd name="connsiteY26" fmla="*/ 10 h 14218"/>
                  <a:gd name="connsiteX27" fmla="*/ 8468 w 114125"/>
                  <a:gd name="connsiteY27" fmla="*/ 5874 h 14218"/>
                  <a:gd name="connsiteX28" fmla="*/ 1956 w 114125"/>
                  <a:gd name="connsiteY28" fmla="*/ 10306 h 14218"/>
                  <a:gd name="connsiteX29" fmla="*/ 0 w 114125"/>
                  <a:gd name="connsiteY29" fmla="*/ 12262 h 14218"/>
                  <a:gd name="connsiteX30" fmla="*/ 1956 w 114125"/>
                  <a:gd name="connsiteY30" fmla="*/ 14219 h 14218"/>
                  <a:gd name="connsiteX31" fmla="*/ 11723 w 114125"/>
                  <a:gd name="connsiteY31" fmla="*/ 8036 h 14218"/>
                  <a:gd name="connsiteX32" fmla="*/ 17485 w 114125"/>
                  <a:gd name="connsiteY32" fmla="*/ 3923 h 14218"/>
                  <a:gd name="connsiteX33" fmla="*/ 17865 w 114125"/>
                  <a:gd name="connsiteY33" fmla="*/ 3882 h 14218"/>
                  <a:gd name="connsiteX34" fmla="*/ 18250 w 114125"/>
                  <a:gd name="connsiteY34" fmla="*/ 3923 h 14218"/>
                  <a:gd name="connsiteX35" fmla="*/ 24011 w 114125"/>
                  <a:gd name="connsiteY35" fmla="*/ 8036 h 14218"/>
                  <a:gd name="connsiteX36" fmla="*/ 33783 w 114125"/>
                  <a:gd name="connsiteY36" fmla="*/ 14219 h 14218"/>
                  <a:gd name="connsiteX37" fmla="*/ 34153 w 114125"/>
                  <a:gd name="connsiteY37" fmla="*/ 14183 h 14218"/>
                  <a:gd name="connsiteX38" fmla="*/ 34523 w 114125"/>
                  <a:gd name="connsiteY38" fmla="*/ 14219 h 14218"/>
                  <a:gd name="connsiteX39" fmla="*/ 44289 w 114125"/>
                  <a:gd name="connsiteY39" fmla="*/ 8036 h 14218"/>
                  <a:gd name="connsiteX40" fmla="*/ 50051 w 114125"/>
                  <a:gd name="connsiteY40" fmla="*/ 3923 h 14218"/>
                  <a:gd name="connsiteX41" fmla="*/ 50436 w 114125"/>
                  <a:gd name="connsiteY41" fmla="*/ 3882 h 14218"/>
                  <a:gd name="connsiteX42" fmla="*/ 50821 w 114125"/>
                  <a:gd name="connsiteY42" fmla="*/ 3923 h 14218"/>
                  <a:gd name="connsiteX43" fmla="*/ 56583 w 114125"/>
                  <a:gd name="connsiteY43" fmla="*/ 8036 h 14218"/>
                  <a:gd name="connsiteX44" fmla="*/ 66354 w 114125"/>
                  <a:gd name="connsiteY44" fmla="*/ 14219 h 14218"/>
                  <a:gd name="connsiteX45" fmla="*/ 66724 w 114125"/>
                  <a:gd name="connsiteY45" fmla="*/ 14183 h 14218"/>
                  <a:gd name="connsiteX46" fmla="*/ 67094 w 114125"/>
                  <a:gd name="connsiteY46" fmla="*/ 14219 h 14218"/>
                  <a:gd name="connsiteX47" fmla="*/ 76861 w 114125"/>
                  <a:gd name="connsiteY47" fmla="*/ 8036 h 14218"/>
                  <a:gd name="connsiteX48" fmla="*/ 81498 w 114125"/>
                  <a:gd name="connsiteY48" fmla="*/ 4021 h 14218"/>
                  <a:gd name="connsiteX49" fmla="*/ 86129 w 114125"/>
                  <a:gd name="connsiteY49" fmla="*/ 8036 h 14218"/>
                  <a:gd name="connsiteX50" fmla="*/ 95901 w 114125"/>
                  <a:gd name="connsiteY50" fmla="*/ 14219 h 14218"/>
                  <a:gd name="connsiteX51" fmla="*/ 96271 w 114125"/>
                  <a:gd name="connsiteY51" fmla="*/ 14183 h 14218"/>
                  <a:gd name="connsiteX52" fmla="*/ 96641 w 114125"/>
                  <a:gd name="connsiteY52" fmla="*/ 14219 h 14218"/>
                  <a:gd name="connsiteX53" fmla="*/ 106413 w 114125"/>
                  <a:gd name="connsiteY53" fmla="*/ 8036 h 14218"/>
                  <a:gd name="connsiteX54" fmla="*/ 112169 w 114125"/>
                  <a:gd name="connsiteY54" fmla="*/ 3928 h 14218"/>
                  <a:gd name="connsiteX55" fmla="*/ 114125 w 114125"/>
                  <a:gd name="connsiteY55" fmla="*/ 1972 h 14218"/>
                  <a:gd name="connsiteX56" fmla="*/ 112169 w 114125"/>
                  <a:gd name="connsiteY56" fmla="*/ 15 h 1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14125" h="14218">
                    <a:moveTo>
                      <a:pt x="112159" y="5"/>
                    </a:moveTo>
                    <a:cubicBezTo>
                      <a:pt x="107024" y="5"/>
                      <a:pt x="104872" y="3256"/>
                      <a:pt x="103142" y="5864"/>
                    </a:cubicBezTo>
                    <a:cubicBezTo>
                      <a:pt x="101498" y="8339"/>
                      <a:pt x="100204" y="10296"/>
                      <a:pt x="96631" y="10296"/>
                    </a:cubicBezTo>
                    <a:cubicBezTo>
                      <a:pt x="96507" y="10296"/>
                      <a:pt x="96384" y="10311"/>
                      <a:pt x="96261" y="10332"/>
                    </a:cubicBezTo>
                    <a:cubicBezTo>
                      <a:pt x="96143" y="10311"/>
                      <a:pt x="96019" y="10296"/>
                      <a:pt x="95891" y="10296"/>
                    </a:cubicBezTo>
                    <a:cubicBezTo>
                      <a:pt x="92317" y="10296"/>
                      <a:pt x="91018" y="8339"/>
                      <a:pt x="89380" y="5864"/>
                    </a:cubicBezTo>
                    <a:cubicBezTo>
                      <a:pt x="88147" y="4005"/>
                      <a:pt x="86699" y="1833"/>
                      <a:pt x="84122" y="729"/>
                    </a:cubicBezTo>
                    <a:cubicBezTo>
                      <a:pt x="83762" y="288"/>
                      <a:pt x="83223" y="0"/>
                      <a:pt x="82612" y="0"/>
                    </a:cubicBezTo>
                    <a:cubicBezTo>
                      <a:pt x="82217" y="0"/>
                      <a:pt x="81847" y="26"/>
                      <a:pt x="81487" y="62"/>
                    </a:cubicBezTo>
                    <a:cubicBezTo>
                      <a:pt x="81128" y="26"/>
                      <a:pt x="80758" y="0"/>
                      <a:pt x="80363" y="0"/>
                    </a:cubicBezTo>
                    <a:cubicBezTo>
                      <a:pt x="79752" y="0"/>
                      <a:pt x="79213" y="288"/>
                      <a:pt x="78853" y="729"/>
                    </a:cubicBezTo>
                    <a:cubicBezTo>
                      <a:pt x="76275" y="1833"/>
                      <a:pt x="74827" y="4010"/>
                      <a:pt x="73595" y="5864"/>
                    </a:cubicBezTo>
                    <a:cubicBezTo>
                      <a:pt x="71952" y="8339"/>
                      <a:pt x="70658" y="10296"/>
                      <a:pt x="67084" y="10296"/>
                    </a:cubicBezTo>
                    <a:cubicBezTo>
                      <a:pt x="66955" y="10296"/>
                      <a:pt x="66837" y="10311"/>
                      <a:pt x="66714" y="10332"/>
                    </a:cubicBezTo>
                    <a:cubicBezTo>
                      <a:pt x="66596" y="10311"/>
                      <a:pt x="66473" y="10296"/>
                      <a:pt x="66344" y="10296"/>
                    </a:cubicBezTo>
                    <a:cubicBezTo>
                      <a:pt x="62770" y="10296"/>
                      <a:pt x="61476" y="8339"/>
                      <a:pt x="59833" y="5864"/>
                    </a:cubicBezTo>
                    <a:cubicBezTo>
                      <a:pt x="58103" y="3250"/>
                      <a:pt x="55946" y="5"/>
                      <a:pt x="50816" y="5"/>
                    </a:cubicBezTo>
                    <a:cubicBezTo>
                      <a:pt x="50682" y="5"/>
                      <a:pt x="50559" y="21"/>
                      <a:pt x="50431" y="41"/>
                    </a:cubicBezTo>
                    <a:cubicBezTo>
                      <a:pt x="50308" y="15"/>
                      <a:pt x="50179" y="5"/>
                      <a:pt x="50046" y="5"/>
                    </a:cubicBezTo>
                    <a:cubicBezTo>
                      <a:pt x="44911" y="5"/>
                      <a:pt x="42759" y="3256"/>
                      <a:pt x="41029" y="5869"/>
                    </a:cubicBezTo>
                    <a:cubicBezTo>
                      <a:pt x="39385" y="8344"/>
                      <a:pt x="38091" y="10301"/>
                      <a:pt x="34517" y="10301"/>
                    </a:cubicBezTo>
                    <a:cubicBezTo>
                      <a:pt x="34389" y="10301"/>
                      <a:pt x="34271" y="10316"/>
                      <a:pt x="34148" y="10337"/>
                    </a:cubicBezTo>
                    <a:cubicBezTo>
                      <a:pt x="34030" y="10316"/>
                      <a:pt x="33906" y="10301"/>
                      <a:pt x="33778" y="10301"/>
                    </a:cubicBezTo>
                    <a:cubicBezTo>
                      <a:pt x="30204" y="10301"/>
                      <a:pt x="28905" y="8344"/>
                      <a:pt x="27267" y="5869"/>
                    </a:cubicBezTo>
                    <a:cubicBezTo>
                      <a:pt x="25536" y="3256"/>
                      <a:pt x="23380" y="10"/>
                      <a:pt x="18250" y="10"/>
                    </a:cubicBezTo>
                    <a:cubicBezTo>
                      <a:pt x="18116" y="10"/>
                      <a:pt x="17993" y="26"/>
                      <a:pt x="17865" y="46"/>
                    </a:cubicBezTo>
                    <a:cubicBezTo>
                      <a:pt x="17741" y="21"/>
                      <a:pt x="17613" y="10"/>
                      <a:pt x="17485" y="10"/>
                    </a:cubicBezTo>
                    <a:cubicBezTo>
                      <a:pt x="12350" y="10"/>
                      <a:pt x="10198" y="3261"/>
                      <a:pt x="8468" y="5874"/>
                    </a:cubicBezTo>
                    <a:cubicBezTo>
                      <a:pt x="6824" y="8350"/>
                      <a:pt x="5530" y="10306"/>
                      <a:pt x="1956" y="10306"/>
                    </a:cubicBezTo>
                    <a:cubicBezTo>
                      <a:pt x="878" y="10306"/>
                      <a:pt x="0" y="11184"/>
                      <a:pt x="0" y="12262"/>
                    </a:cubicBezTo>
                    <a:cubicBezTo>
                      <a:pt x="0" y="13341"/>
                      <a:pt x="878" y="14219"/>
                      <a:pt x="1956" y="14219"/>
                    </a:cubicBezTo>
                    <a:cubicBezTo>
                      <a:pt x="7631" y="14219"/>
                      <a:pt x="9900" y="10794"/>
                      <a:pt x="11723" y="8036"/>
                    </a:cubicBezTo>
                    <a:cubicBezTo>
                      <a:pt x="13464" y="5412"/>
                      <a:pt x="14589" y="3923"/>
                      <a:pt x="17485" y="3923"/>
                    </a:cubicBezTo>
                    <a:cubicBezTo>
                      <a:pt x="17618" y="3923"/>
                      <a:pt x="17741" y="3908"/>
                      <a:pt x="17865" y="3882"/>
                    </a:cubicBezTo>
                    <a:cubicBezTo>
                      <a:pt x="17988" y="3908"/>
                      <a:pt x="18116" y="3923"/>
                      <a:pt x="18250" y="3923"/>
                    </a:cubicBezTo>
                    <a:cubicBezTo>
                      <a:pt x="21141" y="3923"/>
                      <a:pt x="22271" y="5407"/>
                      <a:pt x="24011" y="8036"/>
                    </a:cubicBezTo>
                    <a:cubicBezTo>
                      <a:pt x="25839" y="10789"/>
                      <a:pt x="28109" y="14219"/>
                      <a:pt x="33783" y="14219"/>
                    </a:cubicBezTo>
                    <a:cubicBezTo>
                      <a:pt x="33912" y="14219"/>
                      <a:pt x="34030" y="14203"/>
                      <a:pt x="34153" y="14183"/>
                    </a:cubicBezTo>
                    <a:cubicBezTo>
                      <a:pt x="34271" y="14203"/>
                      <a:pt x="34394" y="14219"/>
                      <a:pt x="34523" y="14219"/>
                    </a:cubicBezTo>
                    <a:cubicBezTo>
                      <a:pt x="40197" y="14219"/>
                      <a:pt x="42466" y="10794"/>
                      <a:pt x="44289" y="8036"/>
                    </a:cubicBezTo>
                    <a:cubicBezTo>
                      <a:pt x="46030" y="5412"/>
                      <a:pt x="47155" y="3923"/>
                      <a:pt x="50051" y="3923"/>
                    </a:cubicBezTo>
                    <a:cubicBezTo>
                      <a:pt x="50184" y="3923"/>
                      <a:pt x="50308" y="3908"/>
                      <a:pt x="50436" y="3882"/>
                    </a:cubicBezTo>
                    <a:cubicBezTo>
                      <a:pt x="50559" y="3908"/>
                      <a:pt x="50688" y="3923"/>
                      <a:pt x="50821" y="3923"/>
                    </a:cubicBezTo>
                    <a:cubicBezTo>
                      <a:pt x="53712" y="3923"/>
                      <a:pt x="54842" y="5407"/>
                      <a:pt x="56583" y="8036"/>
                    </a:cubicBezTo>
                    <a:cubicBezTo>
                      <a:pt x="58406" y="10789"/>
                      <a:pt x="60680" y="14219"/>
                      <a:pt x="66354" y="14219"/>
                    </a:cubicBezTo>
                    <a:cubicBezTo>
                      <a:pt x="66483" y="14219"/>
                      <a:pt x="66601" y="14203"/>
                      <a:pt x="66724" y="14183"/>
                    </a:cubicBezTo>
                    <a:cubicBezTo>
                      <a:pt x="66842" y="14203"/>
                      <a:pt x="66966" y="14219"/>
                      <a:pt x="67094" y="14219"/>
                    </a:cubicBezTo>
                    <a:cubicBezTo>
                      <a:pt x="72768" y="14219"/>
                      <a:pt x="75038" y="10794"/>
                      <a:pt x="76861" y="8036"/>
                    </a:cubicBezTo>
                    <a:cubicBezTo>
                      <a:pt x="78355" y="5782"/>
                      <a:pt x="79403" y="4380"/>
                      <a:pt x="81498" y="4021"/>
                    </a:cubicBezTo>
                    <a:cubicBezTo>
                      <a:pt x="83588" y="4375"/>
                      <a:pt x="84635" y="5782"/>
                      <a:pt x="86129" y="8036"/>
                    </a:cubicBezTo>
                    <a:cubicBezTo>
                      <a:pt x="87952" y="10789"/>
                      <a:pt x="90227" y="14219"/>
                      <a:pt x="95901" y="14219"/>
                    </a:cubicBezTo>
                    <a:cubicBezTo>
                      <a:pt x="96025" y="14219"/>
                      <a:pt x="96148" y="14203"/>
                      <a:pt x="96271" y="14183"/>
                    </a:cubicBezTo>
                    <a:cubicBezTo>
                      <a:pt x="96389" y="14203"/>
                      <a:pt x="96512" y="14219"/>
                      <a:pt x="96641" y="14219"/>
                    </a:cubicBezTo>
                    <a:cubicBezTo>
                      <a:pt x="102315" y="14219"/>
                      <a:pt x="104590" y="10789"/>
                      <a:pt x="106413" y="8036"/>
                    </a:cubicBezTo>
                    <a:cubicBezTo>
                      <a:pt x="108153" y="5412"/>
                      <a:pt x="109278" y="3928"/>
                      <a:pt x="112169" y="3928"/>
                    </a:cubicBezTo>
                    <a:cubicBezTo>
                      <a:pt x="113247" y="3928"/>
                      <a:pt x="114125" y="3050"/>
                      <a:pt x="114125" y="1972"/>
                    </a:cubicBezTo>
                    <a:cubicBezTo>
                      <a:pt x="114125" y="893"/>
                      <a:pt x="113247" y="15"/>
                      <a:pt x="112169" y="15"/>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82" name="Freeform: Shape 481">
                <a:extLst>
                  <a:ext uri="{FF2B5EF4-FFF2-40B4-BE49-F238E27FC236}">
                    <a16:creationId xmlns:a16="http://schemas.microsoft.com/office/drawing/2014/main" id="{81E15B1C-0700-4B55-967F-6D958FD03EB3}"/>
                  </a:ext>
                </a:extLst>
              </p:cNvPr>
              <p:cNvSpPr/>
              <p:nvPr/>
            </p:nvSpPr>
            <p:spPr>
              <a:xfrm>
                <a:off x="2798720" y="4303004"/>
                <a:ext cx="114135" cy="14208"/>
              </a:xfrm>
              <a:custGeom>
                <a:avLst/>
                <a:gdLst>
                  <a:gd name="connsiteX0" fmla="*/ 112164 w 114135"/>
                  <a:gd name="connsiteY0" fmla="*/ 0 h 14208"/>
                  <a:gd name="connsiteX1" fmla="*/ 103147 w 114135"/>
                  <a:gd name="connsiteY1" fmla="*/ 5864 h 14208"/>
                  <a:gd name="connsiteX2" fmla="*/ 96636 w 114135"/>
                  <a:gd name="connsiteY2" fmla="*/ 10296 h 14208"/>
                  <a:gd name="connsiteX3" fmla="*/ 96266 w 114135"/>
                  <a:gd name="connsiteY3" fmla="*/ 10332 h 14208"/>
                  <a:gd name="connsiteX4" fmla="*/ 95896 w 114135"/>
                  <a:gd name="connsiteY4" fmla="*/ 10296 h 14208"/>
                  <a:gd name="connsiteX5" fmla="*/ 89385 w 114135"/>
                  <a:gd name="connsiteY5" fmla="*/ 5864 h 14208"/>
                  <a:gd name="connsiteX6" fmla="*/ 84127 w 114135"/>
                  <a:gd name="connsiteY6" fmla="*/ 729 h 14208"/>
                  <a:gd name="connsiteX7" fmla="*/ 82617 w 114135"/>
                  <a:gd name="connsiteY7" fmla="*/ 5 h 14208"/>
                  <a:gd name="connsiteX8" fmla="*/ 81492 w 114135"/>
                  <a:gd name="connsiteY8" fmla="*/ 67 h 14208"/>
                  <a:gd name="connsiteX9" fmla="*/ 80368 w 114135"/>
                  <a:gd name="connsiteY9" fmla="*/ 5 h 14208"/>
                  <a:gd name="connsiteX10" fmla="*/ 78858 w 114135"/>
                  <a:gd name="connsiteY10" fmla="*/ 729 h 14208"/>
                  <a:gd name="connsiteX11" fmla="*/ 73600 w 114135"/>
                  <a:gd name="connsiteY11" fmla="*/ 5864 h 14208"/>
                  <a:gd name="connsiteX12" fmla="*/ 67089 w 114135"/>
                  <a:gd name="connsiteY12" fmla="*/ 10296 h 14208"/>
                  <a:gd name="connsiteX13" fmla="*/ 66719 w 114135"/>
                  <a:gd name="connsiteY13" fmla="*/ 10332 h 14208"/>
                  <a:gd name="connsiteX14" fmla="*/ 66349 w 114135"/>
                  <a:gd name="connsiteY14" fmla="*/ 10296 h 14208"/>
                  <a:gd name="connsiteX15" fmla="*/ 59838 w 114135"/>
                  <a:gd name="connsiteY15" fmla="*/ 5864 h 14208"/>
                  <a:gd name="connsiteX16" fmla="*/ 50821 w 114135"/>
                  <a:gd name="connsiteY16" fmla="*/ 0 h 14208"/>
                  <a:gd name="connsiteX17" fmla="*/ 50436 w 114135"/>
                  <a:gd name="connsiteY17" fmla="*/ 41 h 14208"/>
                  <a:gd name="connsiteX18" fmla="*/ 50051 w 114135"/>
                  <a:gd name="connsiteY18" fmla="*/ 0 h 14208"/>
                  <a:gd name="connsiteX19" fmla="*/ 41034 w 114135"/>
                  <a:gd name="connsiteY19" fmla="*/ 5864 h 14208"/>
                  <a:gd name="connsiteX20" fmla="*/ 34523 w 114135"/>
                  <a:gd name="connsiteY20" fmla="*/ 10296 h 14208"/>
                  <a:gd name="connsiteX21" fmla="*/ 34153 w 114135"/>
                  <a:gd name="connsiteY21" fmla="*/ 10332 h 14208"/>
                  <a:gd name="connsiteX22" fmla="*/ 33783 w 114135"/>
                  <a:gd name="connsiteY22" fmla="*/ 10296 h 14208"/>
                  <a:gd name="connsiteX23" fmla="*/ 27272 w 114135"/>
                  <a:gd name="connsiteY23" fmla="*/ 5864 h 14208"/>
                  <a:gd name="connsiteX24" fmla="*/ 18255 w 114135"/>
                  <a:gd name="connsiteY24" fmla="*/ 0 h 14208"/>
                  <a:gd name="connsiteX25" fmla="*/ 17870 w 114135"/>
                  <a:gd name="connsiteY25" fmla="*/ 41 h 14208"/>
                  <a:gd name="connsiteX26" fmla="*/ 17485 w 114135"/>
                  <a:gd name="connsiteY26" fmla="*/ 0 h 14208"/>
                  <a:gd name="connsiteX27" fmla="*/ 8468 w 114135"/>
                  <a:gd name="connsiteY27" fmla="*/ 5864 h 14208"/>
                  <a:gd name="connsiteX28" fmla="*/ 1956 w 114135"/>
                  <a:gd name="connsiteY28" fmla="*/ 10296 h 14208"/>
                  <a:gd name="connsiteX29" fmla="*/ 0 w 114135"/>
                  <a:gd name="connsiteY29" fmla="*/ 12252 h 14208"/>
                  <a:gd name="connsiteX30" fmla="*/ 1956 w 114135"/>
                  <a:gd name="connsiteY30" fmla="*/ 14209 h 14208"/>
                  <a:gd name="connsiteX31" fmla="*/ 11728 w 114135"/>
                  <a:gd name="connsiteY31" fmla="*/ 8026 h 14208"/>
                  <a:gd name="connsiteX32" fmla="*/ 17490 w 114135"/>
                  <a:gd name="connsiteY32" fmla="*/ 3913 h 14208"/>
                  <a:gd name="connsiteX33" fmla="*/ 17875 w 114135"/>
                  <a:gd name="connsiteY33" fmla="*/ 3872 h 14208"/>
                  <a:gd name="connsiteX34" fmla="*/ 18260 w 114135"/>
                  <a:gd name="connsiteY34" fmla="*/ 3913 h 14208"/>
                  <a:gd name="connsiteX35" fmla="*/ 24016 w 114135"/>
                  <a:gd name="connsiteY35" fmla="*/ 8026 h 14208"/>
                  <a:gd name="connsiteX36" fmla="*/ 33788 w 114135"/>
                  <a:gd name="connsiteY36" fmla="*/ 14209 h 14208"/>
                  <a:gd name="connsiteX37" fmla="*/ 34158 w 114135"/>
                  <a:gd name="connsiteY37" fmla="*/ 14173 h 14208"/>
                  <a:gd name="connsiteX38" fmla="*/ 34528 w 114135"/>
                  <a:gd name="connsiteY38" fmla="*/ 14209 h 14208"/>
                  <a:gd name="connsiteX39" fmla="*/ 44300 w 114135"/>
                  <a:gd name="connsiteY39" fmla="*/ 8026 h 14208"/>
                  <a:gd name="connsiteX40" fmla="*/ 50061 w 114135"/>
                  <a:gd name="connsiteY40" fmla="*/ 3913 h 14208"/>
                  <a:gd name="connsiteX41" fmla="*/ 50446 w 114135"/>
                  <a:gd name="connsiteY41" fmla="*/ 3872 h 14208"/>
                  <a:gd name="connsiteX42" fmla="*/ 50831 w 114135"/>
                  <a:gd name="connsiteY42" fmla="*/ 3913 h 14208"/>
                  <a:gd name="connsiteX43" fmla="*/ 56593 w 114135"/>
                  <a:gd name="connsiteY43" fmla="*/ 8026 h 14208"/>
                  <a:gd name="connsiteX44" fmla="*/ 66360 w 114135"/>
                  <a:gd name="connsiteY44" fmla="*/ 14209 h 14208"/>
                  <a:gd name="connsiteX45" fmla="*/ 66729 w 114135"/>
                  <a:gd name="connsiteY45" fmla="*/ 14173 h 14208"/>
                  <a:gd name="connsiteX46" fmla="*/ 67099 w 114135"/>
                  <a:gd name="connsiteY46" fmla="*/ 14209 h 14208"/>
                  <a:gd name="connsiteX47" fmla="*/ 76871 w 114135"/>
                  <a:gd name="connsiteY47" fmla="*/ 8026 h 14208"/>
                  <a:gd name="connsiteX48" fmla="*/ 81508 w 114135"/>
                  <a:gd name="connsiteY48" fmla="*/ 4010 h 14208"/>
                  <a:gd name="connsiteX49" fmla="*/ 86140 w 114135"/>
                  <a:gd name="connsiteY49" fmla="*/ 8026 h 14208"/>
                  <a:gd name="connsiteX50" fmla="*/ 95912 w 114135"/>
                  <a:gd name="connsiteY50" fmla="*/ 14209 h 14208"/>
                  <a:gd name="connsiteX51" fmla="*/ 96281 w 114135"/>
                  <a:gd name="connsiteY51" fmla="*/ 14173 h 14208"/>
                  <a:gd name="connsiteX52" fmla="*/ 96651 w 114135"/>
                  <a:gd name="connsiteY52" fmla="*/ 14209 h 14208"/>
                  <a:gd name="connsiteX53" fmla="*/ 106423 w 114135"/>
                  <a:gd name="connsiteY53" fmla="*/ 8026 h 14208"/>
                  <a:gd name="connsiteX54" fmla="*/ 112179 w 114135"/>
                  <a:gd name="connsiteY54" fmla="*/ 3913 h 14208"/>
                  <a:gd name="connsiteX55" fmla="*/ 114136 w 114135"/>
                  <a:gd name="connsiteY55" fmla="*/ 1956 h 14208"/>
                  <a:gd name="connsiteX56" fmla="*/ 112179 w 114135"/>
                  <a:gd name="connsiteY56" fmla="*/ 0 h 1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14135" h="14208">
                    <a:moveTo>
                      <a:pt x="112164" y="0"/>
                    </a:moveTo>
                    <a:cubicBezTo>
                      <a:pt x="107029" y="0"/>
                      <a:pt x="104877" y="3250"/>
                      <a:pt x="103147" y="5864"/>
                    </a:cubicBezTo>
                    <a:cubicBezTo>
                      <a:pt x="101504" y="8339"/>
                      <a:pt x="100210" y="10296"/>
                      <a:pt x="96636" y="10296"/>
                    </a:cubicBezTo>
                    <a:cubicBezTo>
                      <a:pt x="96507" y="10296"/>
                      <a:pt x="96389" y="10311"/>
                      <a:pt x="96266" y="10332"/>
                    </a:cubicBezTo>
                    <a:cubicBezTo>
                      <a:pt x="96148" y="10311"/>
                      <a:pt x="96025" y="10296"/>
                      <a:pt x="95896" y="10296"/>
                    </a:cubicBezTo>
                    <a:cubicBezTo>
                      <a:pt x="92322" y="10296"/>
                      <a:pt x="91028" y="8339"/>
                      <a:pt x="89385" y="5864"/>
                    </a:cubicBezTo>
                    <a:cubicBezTo>
                      <a:pt x="88153" y="4005"/>
                      <a:pt x="86704" y="1833"/>
                      <a:pt x="84127" y="729"/>
                    </a:cubicBezTo>
                    <a:cubicBezTo>
                      <a:pt x="83767" y="288"/>
                      <a:pt x="83228" y="5"/>
                      <a:pt x="82617" y="5"/>
                    </a:cubicBezTo>
                    <a:cubicBezTo>
                      <a:pt x="82222" y="5"/>
                      <a:pt x="81852" y="31"/>
                      <a:pt x="81492" y="67"/>
                    </a:cubicBezTo>
                    <a:cubicBezTo>
                      <a:pt x="81133" y="31"/>
                      <a:pt x="80763" y="5"/>
                      <a:pt x="80368" y="5"/>
                    </a:cubicBezTo>
                    <a:cubicBezTo>
                      <a:pt x="79757" y="5"/>
                      <a:pt x="79218" y="293"/>
                      <a:pt x="78858" y="729"/>
                    </a:cubicBezTo>
                    <a:cubicBezTo>
                      <a:pt x="76280" y="1833"/>
                      <a:pt x="74827" y="4010"/>
                      <a:pt x="73600" y="5864"/>
                    </a:cubicBezTo>
                    <a:cubicBezTo>
                      <a:pt x="71957" y="8339"/>
                      <a:pt x="70663" y="10296"/>
                      <a:pt x="67089" y="10296"/>
                    </a:cubicBezTo>
                    <a:cubicBezTo>
                      <a:pt x="66960" y="10296"/>
                      <a:pt x="66837" y="10311"/>
                      <a:pt x="66719" y="10332"/>
                    </a:cubicBezTo>
                    <a:cubicBezTo>
                      <a:pt x="66601" y="10311"/>
                      <a:pt x="66478" y="10296"/>
                      <a:pt x="66349" y="10296"/>
                    </a:cubicBezTo>
                    <a:cubicBezTo>
                      <a:pt x="62775" y="10296"/>
                      <a:pt x="61481" y="8339"/>
                      <a:pt x="59838" y="5864"/>
                    </a:cubicBezTo>
                    <a:cubicBezTo>
                      <a:pt x="58108" y="3250"/>
                      <a:pt x="55951" y="0"/>
                      <a:pt x="50821" y="0"/>
                    </a:cubicBezTo>
                    <a:cubicBezTo>
                      <a:pt x="50688" y="0"/>
                      <a:pt x="50564" y="15"/>
                      <a:pt x="50436" y="41"/>
                    </a:cubicBezTo>
                    <a:cubicBezTo>
                      <a:pt x="50313" y="15"/>
                      <a:pt x="50184" y="0"/>
                      <a:pt x="50051" y="0"/>
                    </a:cubicBezTo>
                    <a:cubicBezTo>
                      <a:pt x="44916" y="0"/>
                      <a:pt x="42764" y="3250"/>
                      <a:pt x="41034" y="5864"/>
                    </a:cubicBezTo>
                    <a:cubicBezTo>
                      <a:pt x="39391" y="8339"/>
                      <a:pt x="38097" y="10296"/>
                      <a:pt x="34523" y="10296"/>
                    </a:cubicBezTo>
                    <a:cubicBezTo>
                      <a:pt x="34399" y="10296"/>
                      <a:pt x="34276" y="10311"/>
                      <a:pt x="34153" y="10332"/>
                    </a:cubicBezTo>
                    <a:cubicBezTo>
                      <a:pt x="34035" y="10311"/>
                      <a:pt x="33912" y="10296"/>
                      <a:pt x="33783" y="10296"/>
                    </a:cubicBezTo>
                    <a:cubicBezTo>
                      <a:pt x="30209" y="10296"/>
                      <a:pt x="28915" y="8339"/>
                      <a:pt x="27272" y="5864"/>
                    </a:cubicBezTo>
                    <a:cubicBezTo>
                      <a:pt x="25542" y="3250"/>
                      <a:pt x="23385" y="0"/>
                      <a:pt x="18255" y="0"/>
                    </a:cubicBezTo>
                    <a:cubicBezTo>
                      <a:pt x="18121" y="0"/>
                      <a:pt x="17998" y="15"/>
                      <a:pt x="17870" y="41"/>
                    </a:cubicBezTo>
                    <a:cubicBezTo>
                      <a:pt x="17747" y="15"/>
                      <a:pt x="17618" y="0"/>
                      <a:pt x="17485" y="0"/>
                    </a:cubicBezTo>
                    <a:cubicBezTo>
                      <a:pt x="12350" y="0"/>
                      <a:pt x="10198" y="3250"/>
                      <a:pt x="8468" y="5864"/>
                    </a:cubicBezTo>
                    <a:cubicBezTo>
                      <a:pt x="6824" y="8339"/>
                      <a:pt x="5530" y="10296"/>
                      <a:pt x="1956" y="10296"/>
                    </a:cubicBezTo>
                    <a:cubicBezTo>
                      <a:pt x="878" y="10296"/>
                      <a:pt x="0" y="11174"/>
                      <a:pt x="0" y="12252"/>
                    </a:cubicBezTo>
                    <a:cubicBezTo>
                      <a:pt x="0" y="13330"/>
                      <a:pt x="878" y="14209"/>
                      <a:pt x="1956" y="14209"/>
                    </a:cubicBezTo>
                    <a:cubicBezTo>
                      <a:pt x="7631" y="14209"/>
                      <a:pt x="9900" y="10778"/>
                      <a:pt x="11728" y="8026"/>
                    </a:cubicBezTo>
                    <a:cubicBezTo>
                      <a:pt x="13469" y="5402"/>
                      <a:pt x="14594" y="3913"/>
                      <a:pt x="17490" y="3913"/>
                    </a:cubicBezTo>
                    <a:cubicBezTo>
                      <a:pt x="17623" y="3913"/>
                      <a:pt x="17747" y="3897"/>
                      <a:pt x="17875" y="3872"/>
                    </a:cubicBezTo>
                    <a:cubicBezTo>
                      <a:pt x="17998" y="3897"/>
                      <a:pt x="18127" y="3913"/>
                      <a:pt x="18260" y="3913"/>
                    </a:cubicBezTo>
                    <a:cubicBezTo>
                      <a:pt x="21151" y="3913"/>
                      <a:pt x="22276" y="5397"/>
                      <a:pt x="24016" y="8026"/>
                    </a:cubicBezTo>
                    <a:cubicBezTo>
                      <a:pt x="25845" y="10778"/>
                      <a:pt x="28114" y="14209"/>
                      <a:pt x="33788" y="14209"/>
                    </a:cubicBezTo>
                    <a:cubicBezTo>
                      <a:pt x="33912" y="14209"/>
                      <a:pt x="34035" y="14193"/>
                      <a:pt x="34158" y="14173"/>
                    </a:cubicBezTo>
                    <a:cubicBezTo>
                      <a:pt x="34276" y="14193"/>
                      <a:pt x="34399" y="14209"/>
                      <a:pt x="34528" y="14209"/>
                    </a:cubicBezTo>
                    <a:cubicBezTo>
                      <a:pt x="40202" y="14209"/>
                      <a:pt x="42472" y="10778"/>
                      <a:pt x="44300" y="8026"/>
                    </a:cubicBezTo>
                    <a:cubicBezTo>
                      <a:pt x="46040" y="5402"/>
                      <a:pt x="47165" y="3913"/>
                      <a:pt x="50061" y="3913"/>
                    </a:cubicBezTo>
                    <a:cubicBezTo>
                      <a:pt x="50195" y="3913"/>
                      <a:pt x="50318" y="3897"/>
                      <a:pt x="50446" y="3872"/>
                    </a:cubicBezTo>
                    <a:cubicBezTo>
                      <a:pt x="50570" y="3897"/>
                      <a:pt x="50698" y="3913"/>
                      <a:pt x="50831" y="3913"/>
                    </a:cubicBezTo>
                    <a:cubicBezTo>
                      <a:pt x="53722" y="3913"/>
                      <a:pt x="54852" y="5397"/>
                      <a:pt x="56593" y="8026"/>
                    </a:cubicBezTo>
                    <a:cubicBezTo>
                      <a:pt x="58416" y="10778"/>
                      <a:pt x="60691" y="14209"/>
                      <a:pt x="66360" y="14209"/>
                    </a:cubicBezTo>
                    <a:cubicBezTo>
                      <a:pt x="66488" y="14209"/>
                      <a:pt x="66611" y="14193"/>
                      <a:pt x="66729" y="14173"/>
                    </a:cubicBezTo>
                    <a:cubicBezTo>
                      <a:pt x="66847" y="14193"/>
                      <a:pt x="66971" y="14209"/>
                      <a:pt x="67099" y="14209"/>
                    </a:cubicBezTo>
                    <a:cubicBezTo>
                      <a:pt x="72773" y="14209"/>
                      <a:pt x="75043" y="10778"/>
                      <a:pt x="76871" y="8026"/>
                    </a:cubicBezTo>
                    <a:cubicBezTo>
                      <a:pt x="78365" y="5772"/>
                      <a:pt x="79413" y="4370"/>
                      <a:pt x="81508" y="4010"/>
                    </a:cubicBezTo>
                    <a:cubicBezTo>
                      <a:pt x="83598" y="4365"/>
                      <a:pt x="84645" y="5772"/>
                      <a:pt x="86140" y="8026"/>
                    </a:cubicBezTo>
                    <a:cubicBezTo>
                      <a:pt x="87963" y="10778"/>
                      <a:pt x="90237" y="14209"/>
                      <a:pt x="95912" y="14209"/>
                    </a:cubicBezTo>
                    <a:cubicBezTo>
                      <a:pt x="96040" y="14209"/>
                      <a:pt x="96158" y="14193"/>
                      <a:pt x="96281" y="14173"/>
                    </a:cubicBezTo>
                    <a:cubicBezTo>
                      <a:pt x="96399" y="14193"/>
                      <a:pt x="96523" y="14209"/>
                      <a:pt x="96651" y="14209"/>
                    </a:cubicBezTo>
                    <a:cubicBezTo>
                      <a:pt x="102325" y="14209"/>
                      <a:pt x="104595" y="10778"/>
                      <a:pt x="106423" y="8026"/>
                    </a:cubicBezTo>
                    <a:cubicBezTo>
                      <a:pt x="108164" y="5402"/>
                      <a:pt x="109288" y="3913"/>
                      <a:pt x="112179" y="3913"/>
                    </a:cubicBezTo>
                    <a:cubicBezTo>
                      <a:pt x="113258" y="3913"/>
                      <a:pt x="114136" y="3035"/>
                      <a:pt x="114136" y="1956"/>
                    </a:cubicBezTo>
                    <a:cubicBezTo>
                      <a:pt x="114136" y="878"/>
                      <a:pt x="113258" y="0"/>
                      <a:pt x="112179"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83" name="Freeform: Shape 482">
                <a:extLst>
                  <a:ext uri="{FF2B5EF4-FFF2-40B4-BE49-F238E27FC236}">
                    <a16:creationId xmlns:a16="http://schemas.microsoft.com/office/drawing/2014/main" id="{2C61ED83-0281-442E-B41E-A3BE5DBE80E1}"/>
                  </a:ext>
                </a:extLst>
              </p:cNvPr>
              <p:cNvSpPr/>
              <p:nvPr/>
            </p:nvSpPr>
            <p:spPr>
              <a:xfrm>
                <a:off x="3133431" y="4388888"/>
                <a:ext cx="25667" cy="25668"/>
              </a:xfrm>
              <a:custGeom>
                <a:avLst/>
                <a:gdLst>
                  <a:gd name="connsiteX0" fmla="*/ 12831 w 25667"/>
                  <a:gd name="connsiteY0" fmla="*/ 25669 h 25668"/>
                  <a:gd name="connsiteX1" fmla="*/ 11450 w 25667"/>
                  <a:gd name="connsiteY1" fmla="*/ 25093 h 25668"/>
                  <a:gd name="connsiteX2" fmla="*/ 574 w 25667"/>
                  <a:gd name="connsiteY2" fmla="*/ 14218 h 25668"/>
                  <a:gd name="connsiteX3" fmla="*/ 574 w 25667"/>
                  <a:gd name="connsiteY3" fmla="*/ 11450 h 25668"/>
                  <a:gd name="connsiteX4" fmla="*/ 11450 w 25667"/>
                  <a:gd name="connsiteY4" fmla="*/ 574 h 25668"/>
                  <a:gd name="connsiteX5" fmla="*/ 14218 w 25667"/>
                  <a:gd name="connsiteY5" fmla="*/ 574 h 25668"/>
                  <a:gd name="connsiteX6" fmla="*/ 25093 w 25667"/>
                  <a:gd name="connsiteY6" fmla="*/ 11450 h 25668"/>
                  <a:gd name="connsiteX7" fmla="*/ 25093 w 25667"/>
                  <a:gd name="connsiteY7" fmla="*/ 14218 h 25668"/>
                  <a:gd name="connsiteX8" fmla="*/ 14218 w 25667"/>
                  <a:gd name="connsiteY8" fmla="*/ 25093 h 25668"/>
                  <a:gd name="connsiteX9" fmla="*/ 12836 w 25667"/>
                  <a:gd name="connsiteY9" fmla="*/ 25669 h 25668"/>
                  <a:gd name="connsiteX10" fmla="*/ 4723 w 25667"/>
                  <a:gd name="connsiteY10" fmla="*/ 12836 h 25668"/>
                  <a:gd name="connsiteX11" fmla="*/ 12831 w 25667"/>
                  <a:gd name="connsiteY11" fmla="*/ 20950 h 25668"/>
                  <a:gd name="connsiteX12" fmla="*/ 20939 w 25667"/>
                  <a:gd name="connsiteY12" fmla="*/ 12836 h 25668"/>
                  <a:gd name="connsiteX13" fmla="*/ 12831 w 25667"/>
                  <a:gd name="connsiteY13" fmla="*/ 4728 h 25668"/>
                  <a:gd name="connsiteX14" fmla="*/ 4723 w 25667"/>
                  <a:gd name="connsiteY14" fmla="*/ 12836 h 2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667" h="25668">
                    <a:moveTo>
                      <a:pt x="12831" y="25669"/>
                    </a:moveTo>
                    <a:cubicBezTo>
                      <a:pt x="12313" y="25669"/>
                      <a:pt x="11814" y="25463"/>
                      <a:pt x="11450" y="25093"/>
                    </a:cubicBezTo>
                    <a:lnTo>
                      <a:pt x="574" y="14218"/>
                    </a:lnTo>
                    <a:cubicBezTo>
                      <a:pt x="-191" y="13452"/>
                      <a:pt x="-191" y="12215"/>
                      <a:pt x="574" y="11450"/>
                    </a:cubicBezTo>
                    <a:lnTo>
                      <a:pt x="11450" y="574"/>
                    </a:lnTo>
                    <a:cubicBezTo>
                      <a:pt x="12215" y="-191"/>
                      <a:pt x="13452" y="-191"/>
                      <a:pt x="14218" y="574"/>
                    </a:cubicBezTo>
                    <a:lnTo>
                      <a:pt x="25093" y="11450"/>
                    </a:lnTo>
                    <a:cubicBezTo>
                      <a:pt x="25859" y="12215"/>
                      <a:pt x="25859" y="13452"/>
                      <a:pt x="25093" y="14218"/>
                    </a:cubicBezTo>
                    <a:lnTo>
                      <a:pt x="14218" y="25093"/>
                    </a:lnTo>
                    <a:cubicBezTo>
                      <a:pt x="13853" y="25458"/>
                      <a:pt x="13355" y="25669"/>
                      <a:pt x="12836" y="25669"/>
                    </a:cubicBezTo>
                    <a:close/>
                    <a:moveTo>
                      <a:pt x="4723" y="12836"/>
                    </a:moveTo>
                    <a:lnTo>
                      <a:pt x="12831" y="20950"/>
                    </a:lnTo>
                    <a:lnTo>
                      <a:pt x="20939" y="12836"/>
                    </a:lnTo>
                    <a:lnTo>
                      <a:pt x="12831" y="4728"/>
                    </a:lnTo>
                    <a:lnTo>
                      <a:pt x="4723" y="12836"/>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84" name="Freeform: Shape 483">
                <a:extLst>
                  <a:ext uri="{FF2B5EF4-FFF2-40B4-BE49-F238E27FC236}">
                    <a16:creationId xmlns:a16="http://schemas.microsoft.com/office/drawing/2014/main" id="{D7DFE60F-F97D-48AF-A837-ABA0D555D4AE}"/>
                  </a:ext>
                </a:extLst>
              </p:cNvPr>
              <p:cNvSpPr/>
              <p:nvPr/>
            </p:nvSpPr>
            <p:spPr>
              <a:xfrm>
                <a:off x="1924609" y="4365969"/>
                <a:ext cx="20909" cy="20909"/>
              </a:xfrm>
              <a:custGeom>
                <a:avLst/>
                <a:gdLst>
                  <a:gd name="connsiteX0" fmla="*/ 10455 w 20909"/>
                  <a:gd name="connsiteY0" fmla="*/ 20910 h 20909"/>
                  <a:gd name="connsiteX1" fmla="*/ 0 w 20909"/>
                  <a:gd name="connsiteY1" fmla="*/ 10455 h 20909"/>
                  <a:gd name="connsiteX2" fmla="*/ 10455 w 20909"/>
                  <a:gd name="connsiteY2" fmla="*/ 0 h 20909"/>
                  <a:gd name="connsiteX3" fmla="*/ 20910 w 20909"/>
                  <a:gd name="connsiteY3" fmla="*/ 10455 h 20909"/>
                  <a:gd name="connsiteX4" fmla="*/ 10455 w 20909"/>
                  <a:gd name="connsiteY4" fmla="*/ 20910 h 20909"/>
                  <a:gd name="connsiteX5" fmla="*/ 10455 w 20909"/>
                  <a:gd name="connsiteY5" fmla="*/ 3913 h 20909"/>
                  <a:gd name="connsiteX6" fmla="*/ 3913 w 20909"/>
                  <a:gd name="connsiteY6" fmla="*/ 10455 h 20909"/>
                  <a:gd name="connsiteX7" fmla="*/ 10455 w 20909"/>
                  <a:gd name="connsiteY7" fmla="*/ 16997 h 20909"/>
                  <a:gd name="connsiteX8" fmla="*/ 16997 w 20909"/>
                  <a:gd name="connsiteY8" fmla="*/ 10455 h 20909"/>
                  <a:gd name="connsiteX9" fmla="*/ 10455 w 20909"/>
                  <a:gd name="connsiteY9" fmla="*/ 3913 h 2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09" h="20909">
                    <a:moveTo>
                      <a:pt x="10455" y="20910"/>
                    </a:moveTo>
                    <a:cubicBezTo>
                      <a:pt x="4693" y="20910"/>
                      <a:pt x="0" y="16222"/>
                      <a:pt x="0" y="10455"/>
                    </a:cubicBezTo>
                    <a:cubicBezTo>
                      <a:pt x="0" y="4688"/>
                      <a:pt x="4688" y="0"/>
                      <a:pt x="10455" y="0"/>
                    </a:cubicBezTo>
                    <a:cubicBezTo>
                      <a:pt x="16221" y="0"/>
                      <a:pt x="20910" y="4688"/>
                      <a:pt x="20910" y="10455"/>
                    </a:cubicBezTo>
                    <a:cubicBezTo>
                      <a:pt x="20910" y="16222"/>
                      <a:pt x="16221" y="20910"/>
                      <a:pt x="10455" y="20910"/>
                    </a:cubicBezTo>
                    <a:close/>
                    <a:moveTo>
                      <a:pt x="10455" y="3913"/>
                    </a:moveTo>
                    <a:cubicBezTo>
                      <a:pt x="6845" y="3913"/>
                      <a:pt x="3913" y="6845"/>
                      <a:pt x="3913" y="10455"/>
                    </a:cubicBezTo>
                    <a:cubicBezTo>
                      <a:pt x="3913" y="14065"/>
                      <a:pt x="6845" y="16997"/>
                      <a:pt x="10455" y="16997"/>
                    </a:cubicBezTo>
                    <a:cubicBezTo>
                      <a:pt x="14065" y="16997"/>
                      <a:pt x="16997" y="14065"/>
                      <a:pt x="16997" y="10455"/>
                    </a:cubicBezTo>
                    <a:cubicBezTo>
                      <a:pt x="16997" y="6845"/>
                      <a:pt x="14065" y="3913"/>
                      <a:pt x="10455"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nvGrpSpPr>
              <p:cNvPr id="485" name="Graphic 6">
                <a:extLst>
                  <a:ext uri="{FF2B5EF4-FFF2-40B4-BE49-F238E27FC236}">
                    <a16:creationId xmlns:a16="http://schemas.microsoft.com/office/drawing/2014/main" id="{147F0BBF-B2DD-42E5-B51B-6C775C788101}"/>
                  </a:ext>
                </a:extLst>
              </p:cNvPr>
              <p:cNvGrpSpPr/>
              <p:nvPr/>
            </p:nvGrpSpPr>
            <p:grpSpPr>
              <a:xfrm>
                <a:off x="2332497" y="4624409"/>
                <a:ext cx="233416" cy="275128"/>
                <a:chOff x="2332537" y="4624501"/>
                <a:chExt cx="233416" cy="275128"/>
              </a:xfrm>
            </p:grpSpPr>
            <p:sp>
              <p:nvSpPr>
                <p:cNvPr id="646" name="Freeform: Shape 645">
                  <a:extLst>
                    <a:ext uri="{FF2B5EF4-FFF2-40B4-BE49-F238E27FC236}">
                      <a16:creationId xmlns:a16="http://schemas.microsoft.com/office/drawing/2014/main" id="{A2F8FA98-0B2F-47DC-ACC8-D4BE10060314}"/>
                    </a:ext>
                  </a:extLst>
                </p:cNvPr>
                <p:cNvSpPr/>
                <p:nvPr/>
              </p:nvSpPr>
              <p:spPr>
                <a:xfrm>
                  <a:off x="2332537" y="4624501"/>
                  <a:ext cx="233416" cy="275128"/>
                </a:xfrm>
                <a:custGeom>
                  <a:avLst/>
                  <a:gdLst>
                    <a:gd name="connsiteX0" fmla="*/ 233417 w 233416"/>
                    <a:gd name="connsiteY0" fmla="*/ 116698 h 275128"/>
                    <a:gd name="connsiteX1" fmla="*/ 233417 w 233416"/>
                    <a:gd name="connsiteY1" fmla="*/ 273172 h 275128"/>
                    <a:gd name="connsiteX2" fmla="*/ 231460 w 233416"/>
                    <a:gd name="connsiteY2" fmla="*/ 275129 h 275128"/>
                    <a:gd name="connsiteX3" fmla="*/ 1956 w 233416"/>
                    <a:gd name="connsiteY3" fmla="*/ 275129 h 275128"/>
                    <a:gd name="connsiteX4" fmla="*/ 0 w 233416"/>
                    <a:gd name="connsiteY4" fmla="*/ 273172 h 275128"/>
                    <a:gd name="connsiteX5" fmla="*/ 0 w 233416"/>
                    <a:gd name="connsiteY5" fmla="*/ 73020 h 275128"/>
                    <a:gd name="connsiteX6" fmla="*/ 288 w 233416"/>
                    <a:gd name="connsiteY6" fmla="*/ 72003 h 275128"/>
                    <a:gd name="connsiteX7" fmla="*/ 43319 w 233416"/>
                    <a:gd name="connsiteY7" fmla="*/ 940 h 275128"/>
                    <a:gd name="connsiteX8" fmla="*/ 44988 w 233416"/>
                    <a:gd name="connsiteY8" fmla="*/ 0 h 275128"/>
                    <a:gd name="connsiteX9" fmla="*/ 162107 w 233416"/>
                    <a:gd name="connsiteY9" fmla="*/ 0 h 275128"/>
                    <a:gd name="connsiteX10" fmla="*/ 162174 w 233416"/>
                    <a:gd name="connsiteY10" fmla="*/ 15 h 275128"/>
                    <a:gd name="connsiteX11" fmla="*/ 162538 w 233416"/>
                    <a:gd name="connsiteY11" fmla="*/ 56 h 275128"/>
                    <a:gd name="connsiteX12" fmla="*/ 162656 w 233416"/>
                    <a:gd name="connsiteY12" fmla="*/ 98 h 275128"/>
                    <a:gd name="connsiteX13" fmla="*/ 162995 w 233416"/>
                    <a:gd name="connsiteY13" fmla="*/ 226 h 275128"/>
                    <a:gd name="connsiteX14" fmla="*/ 163088 w 233416"/>
                    <a:gd name="connsiteY14" fmla="*/ 277 h 275128"/>
                    <a:gd name="connsiteX15" fmla="*/ 163452 w 233416"/>
                    <a:gd name="connsiteY15" fmla="*/ 549 h 275128"/>
                    <a:gd name="connsiteX16" fmla="*/ 163504 w 233416"/>
                    <a:gd name="connsiteY16" fmla="*/ 601 h 275128"/>
                    <a:gd name="connsiteX17" fmla="*/ 163740 w 233416"/>
                    <a:gd name="connsiteY17" fmla="*/ 899 h 275128"/>
                    <a:gd name="connsiteX18" fmla="*/ 180115 w 233416"/>
                    <a:gd name="connsiteY18" fmla="*/ 27914 h 275128"/>
                    <a:gd name="connsiteX19" fmla="*/ 206807 w 233416"/>
                    <a:gd name="connsiteY19" fmla="*/ 71998 h 275128"/>
                    <a:gd name="connsiteX20" fmla="*/ 207095 w 233416"/>
                    <a:gd name="connsiteY20" fmla="*/ 73056 h 275128"/>
                    <a:gd name="connsiteX21" fmla="*/ 206258 w 233416"/>
                    <a:gd name="connsiteY21" fmla="*/ 114742 h 275128"/>
                    <a:gd name="connsiteX22" fmla="*/ 231460 w 233416"/>
                    <a:gd name="connsiteY22" fmla="*/ 114742 h 275128"/>
                    <a:gd name="connsiteX23" fmla="*/ 233417 w 233416"/>
                    <a:gd name="connsiteY23" fmla="*/ 116698 h 275128"/>
                    <a:gd name="connsiteX24" fmla="*/ 229504 w 233416"/>
                    <a:gd name="connsiteY24" fmla="*/ 271216 h 275128"/>
                    <a:gd name="connsiteX25" fmla="*/ 229504 w 233416"/>
                    <a:gd name="connsiteY25" fmla="*/ 118655 h 275128"/>
                    <a:gd name="connsiteX26" fmla="*/ 142661 w 233416"/>
                    <a:gd name="connsiteY26" fmla="*/ 118655 h 275128"/>
                    <a:gd name="connsiteX27" fmla="*/ 142661 w 233416"/>
                    <a:gd name="connsiteY27" fmla="*/ 271216 h 275128"/>
                    <a:gd name="connsiteX28" fmla="*/ 229504 w 233416"/>
                    <a:gd name="connsiteY28" fmla="*/ 271216 h 275128"/>
                    <a:gd name="connsiteX29" fmla="*/ 203166 w 233416"/>
                    <a:gd name="connsiteY29" fmla="*/ 73554 h 275128"/>
                    <a:gd name="connsiteX30" fmla="*/ 176762 w 233416"/>
                    <a:gd name="connsiteY30" fmla="*/ 29937 h 275128"/>
                    <a:gd name="connsiteX31" fmla="*/ 162107 w 233416"/>
                    <a:gd name="connsiteY31" fmla="*/ 5736 h 275128"/>
                    <a:gd name="connsiteX32" fmla="*/ 121032 w 233416"/>
                    <a:gd name="connsiteY32" fmla="*/ 73564 h 275128"/>
                    <a:gd name="connsiteX33" fmla="*/ 121032 w 233416"/>
                    <a:gd name="connsiteY33" fmla="*/ 114742 h 275128"/>
                    <a:gd name="connsiteX34" fmla="*/ 202345 w 233416"/>
                    <a:gd name="connsiteY34" fmla="*/ 114742 h 275128"/>
                    <a:gd name="connsiteX35" fmla="*/ 203166 w 233416"/>
                    <a:gd name="connsiteY35" fmla="*/ 73549 h 275128"/>
                    <a:gd name="connsiteX36" fmla="*/ 117966 w 233416"/>
                    <a:gd name="connsiteY36" fmla="*/ 71063 h 275128"/>
                    <a:gd name="connsiteX37" fmla="*/ 158636 w 233416"/>
                    <a:gd name="connsiteY37" fmla="*/ 3913 h 275128"/>
                    <a:gd name="connsiteX38" fmla="*/ 46092 w 233416"/>
                    <a:gd name="connsiteY38" fmla="*/ 3913 h 275128"/>
                    <a:gd name="connsiteX39" fmla="*/ 5423 w 233416"/>
                    <a:gd name="connsiteY39" fmla="*/ 71063 h 275128"/>
                    <a:gd name="connsiteX40" fmla="*/ 117966 w 233416"/>
                    <a:gd name="connsiteY40" fmla="*/ 71063 h 275128"/>
                    <a:gd name="connsiteX41" fmla="*/ 138753 w 233416"/>
                    <a:gd name="connsiteY41" fmla="*/ 271216 h 275128"/>
                    <a:gd name="connsiteX42" fmla="*/ 138753 w 233416"/>
                    <a:gd name="connsiteY42" fmla="*/ 118655 h 275128"/>
                    <a:gd name="connsiteX43" fmla="*/ 119076 w 233416"/>
                    <a:gd name="connsiteY43" fmla="*/ 118655 h 275128"/>
                    <a:gd name="connsiteX44" fmla="*/ 117119 w 233416"/>
                    <a:gd name="connsiteY44" fmla="*/ 116698 h 275128"/>
                    <a:gd name="connsiteX45" fmla="*/ 117119 w 233416"/>
                    <a:gd name="connsiteY45" fmla="*/ 74971 h 275128"/>
                    <a:gd name="connsiteX46" fmla="*/ 3913 w 233416"/>
                    <a:gd name="connsiteY46" fmla="*/ 74971 h 275128"/>
                    <a:gd name="connsiteX47" fmla="*/ 3913 w 233416"/>
                    <a:gd name="connsiteY47" fmla="*/ 271211 h 275128"/>
                    <a:gd name="connsiteX48" fmla="*/ 138753 w 233416"/>
                    <a:gd name="connsiteY48" fmla="*/ 271211 h 275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33416" h="275128">
                      <a:moveTo>
                        <a:pt x="233417" y="116698"/>
                      </a:moveTo>
                      <a:lnTo>
                        <a:pt x="233417" y="273172"/>
                      </a:lnTo>
                      <a:cubicBezTo>
                        <a:pt x="233417" y="274256"/>
                        <a:pt x="232528" y="275129"/>
                        <a:pt x="231460" y="275129"/>
                      </a:cubicBezTo>
                      <a:lnTo>
                        <a:pt x="1956" y="275129"/>
                      </a:lnTo>
                      <a:cubicBezTo>
                        <a:pt x="873" y="275129"/>
                        <a:pt x="0" y="274256"/>
                        <a:pt x="0" y="273172"/>
                      </a:cubicBezTo>
                      <a:lnTo>
                        <a:pt x="0" y="73020"/>
                      </a:lnTo>
                      <a:cubicBezTo>
                        <a:pt x="0" y="72665"/>
                        <a:pt x="103" y="72316"/>
                        <a:pt x="288" y="72003"/>
                      </a:cubicBezTo>
                      <a:lnTo>
                        <a:pt x="43319" y="940"/>
                      </a:lnTo>
                      <a:cubicBezTo>
                        <a:pt x="43673" y="365"/>
                        <a:pt x="44310" y="0"/>
                        <a:pt x="44988" y="0"/>
                      </a:cubicBezTo>
                      <a:lnTo>
                        <a:pt x="162107" y="0"/>
                      </a:lnTo>
                      <a:cubicBezTo>
                        <a:pt x="162133" y="0"/>
                        <a:pt x="162158" y="15"/>
                        <a:pt x="162174" y="15"/>
                      </a:cubicBezTo>
                      <a:cubicBezTo>
                        <a:pt x="162302" y="15"/>
                        <a:pt x="162420" y="31"/>
                        <a:pt x="162538" y="56"/>
                      </a:cubicBezTo>
                      <a:cubicBezTo>
                        <a:pt x="162579" y="72"/>
                        <a:pt x="162615" y="82"/>
                        <a:pt x="162656" y="98"/>
                      </a:cubicBezTo>
                      <a:cubicBezTo>
                        <a:pt x="162775" y="123"/>
                        <a:pt x="162877" y="175"/>
                        <a:pt x="162995" y="226"/>
                      </a:cubicBezTo>
                      <a:cubicBezTo>
                        <a:pt x="163021" y="241"/>
                        <a:pt x="163062" y="252"/>
                        <a:pt x="163088" y="277"/>
                      </a:cubicBezTo>
                      <a:cubicBezTo>
                        <a:pt x="163242" y="370"/>
                        <a:pt x="163360" y="447"/>
                        <a:pt x="163452" y="549"/>
                      </a:cubicBezTo>
                      <a:cubicBezTo>
                        <a:pt x="163478" y="565"/>
                        <a:pt x="163493" y="575"/>
                        <a:pt x="163504" y="601"/>
                      </a:cubicBezTo>
                      <a:cubicBezTo>
                        <a:pt x="163596" y="693"/>
                        <a:pt x="163673" y="796"/>
                        <a:pt x="163740" y="899"/>
                      </a:cubicBezTo>
                      <a:cubicBezTo>
                        <a:pt x="163781" y="940"/>
                        <a:pt x="180115" y="27914"/>
                        <a:pt x="180115" y="27914"/>
                      </a:cubicBezTo>
                      <a:lnTo>
                        <a:pt x="206807" y="71998"/>
                      </a:lnTo>
                      <a:cubicBezTo>
                        <a:pt x="207002" y="72321"/>
                        <a:pt x="207095" y="72691"/>
                        <a:pt x="207095" y="73056"/>
                      </a:cubicBezTo>
                      <a:lnTo>
                        <a:pt x="206258" y="114742"/>
                      </a:lnTo>
                      <a:lnTo>
                        <a:pt x="231460" y="114742"/>
                      </a:lnTo>
                      <a:cubicBezTo>
                        <a:pt x="232528" y="114742"/>
                        <a:pt x="233417" y="115615"/>
                        <a:pt x="233417" y="116698"/>
                      </a:cubicBezTo>
                      <a:close/>
                      <a:moveTo>
                        <a:pt x="229504" y="271216"/>
                      </a:moveTo>
                      <a:lnTo>
                        <a:pt x="229504" y="118655"/>
                      </a:lnTo>
                      <a:lnTo>
                        <a:pt x="142661" y="118655"/>
                      </a:lnTo>
                      <a:lnTo>
                        <a:pt x="142661" y="271216"/>
                      </a:lnTo>
                      <a:lnTo>
                        <a:pt x="229504" y="271216"/>
                      </a:lnTo>
                      <a:close/>
                      <a:moveTo>
                        <a:pt x="203166" y="73554"/>
                      </a:moveTo>
                      <a:lnTo>
                        <a:pt x="176762" y="29937"/>
                      </a:lnTo>
                      <a:lnTo>
                        <a:pt x="162107" y="5736"/>
                      </a:lnTo>
                      <a:lnTo>
                        <a:pt x="121032" y="73564"/>
                      </a:lnTo>
                      <a:lnTo>
                        <a:pt x="121032" y="114742"/>
                      </a:lnTo>
                      <a:lnTo>
                        <a:pt x="202345" y="114742"/>
                      </a:lnTo>
                      <a:lnTo>
                        <a:pt x="203166" y="73549"/>
                      </a:lnTo>
                      <a:close/>
                      <a:moveTo>
                        <a:pt x="117966" y="71063"/>
                      </a:moveTo>
                      <a:lnTo>
                        <a:pt x="158636" y="3913"/>
                      </a:lnTo>
                      <a:lnTo>
                        <a:pt x="46092" y="3913"/>
                      </a:lnTo>
                      <a:lnTo>
                        <a:pt x="5423" y="71063"/>
                      </a:lnTo>
                      <a:lnTo>
                        <a:pt x="117966" y="71063"/>
                      </a:lnTo>
                      <a:close/>
                      <a:moveTo>
                        <a:pt x="138753" y="271216"/>
                      </a:moveTo>
                      <a:lnTo>
                        <a:pt x="138753" y="118655"/>
                      </a:lnTo>
                      <a:lnTo>
                        <a:pt x="119076" y="118655"/>
                      </a:lnTo>
                      <a:cubicBezTo>
                        <a:pt x="117992" y="118655"/>
                        <a:pt x="117119" y="117782"/>
                        <a:pt x="117119" y="116698"/>
                      </a:cubicBezTo>
                      <a:lnTo>
                        <a:pt x="117119" y="74971"/>
                      </a:lnTo>
                      <a:lnTo>
                        <a:pt x="3913" y="74971"/>
                      </a:lnTo>
                      <a:lnTo>
                        <a:pt x="3913" y="271211"/>
                      </a:lnTo>
                      <a:lnTo>
                        <a:pt x="138753" y="271211"/>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47" name="Freeform: Shape 646">
                  <a:extLst>
                    <a:ext uri="{FF2B5EF4-FFF2-40B4-BE49-F238E27FC236}">
                      <a16:creationId xmlns:a16="http://schemas.microsoft.com/office/drawing/2014/main" id="{73D8DEBF-A185-40C0-B9E1-9B9BD29A0804}"/>
                    </a:ext>
                  </a:extLst>
                </p:cNvPr>
                <p:cNvSpPr/>
                <p:nvPr/>
              </p:nvSpPr>
              <p:spPr>
                <a:xfrm>
                  <a:off x="2524920" y="4832042"/>
                  <a:ext cx="24396" cy="24396"/>
                </a:xfrm>
                <a:custGeom>
                  <a:avLst/>
                  <a:gdLst>
                    <a:gd name="connsiteX0" fmla="*/ 24396 w 24396"/>
                    <a:gd name="connsiteY0" fmla="*/ 1956 h 24396"/>
                    <a:gd name="connsiteX1" fmla="*/ 24396 w 24396"/>
                    <a:gd name="connsiteY1" fmla="*/ 22440 h 24396"/>
                    <a:gd name="connsiteX2" fmla="*/ 22440 w 24396"/>
                    <a:gd name="connsiteY2" fmla="*/ 24396 h 24396"/>
                    <a:gd name="connsiteX3" fmla="*/ 1956 w 24396"/>
                    <a:gd name="connsiteY3" fmla="*/ 24396 h 24396"/>
                    <a:gd name="connsiteX4" fmla="*/ 0 w 24396"/>
                    <a:gd name="connsiteY4" fmla="*/ 22440 h 24396"/>
                    <a:gd name="connsiteX5" fmla="*/ 0 w 24396"/>
                    <a:gd name="connsiteY5" fmla="*/ 1956 h 24396"/>
                    <a:gd name="connsiteX6" fmla="*/ 1956 w 24396"/>
                    <a:gd name="connsiteY6" fmla="*/ 0 h 24396"/>
                    <a:gd name="connsiteX7" fmla="*/ 22440 w 24396"/>
                    <a:gd name="connsiteY7" fmla="*/ 0 h 24396"/>
                    <a:gd name="connsiteX8" fmla="*/ 24396 w 24396"/>
                    <a:gd name="connsiteY8" fmla="*/ 1956 h 24396"/>
                    <a:gd name="connsiteX9" fmla="*/ 20483 w 24396"/>
                    <a:gd name="connsiteY9" fmla="*/ 20484 h 24396"/>
                    <a:gd name="connsiteX10" fmla="*/ 20483 w 24396"/>
                    <a:gd name="connsiteY10" fmla="*/ 3913 h 24396"/>
                    <a:gd name="connsiteX11" fmla="*/ 3913 w 24396"/>
                    <a:gd name="connsiteY11" fmla="*/ 3913 h 24396"/>
                    <a:gd name="connsiteX12" fmla="*/ 3913 w 24396"/>
                    <a:gd name="connsiteY12" fmla="*/ 20484 h 24396"/>
                    <a:gd name="connsiteX13" fmla="*/ 20483 w 24396"/>
                    <a:gd name="connsiteY13" fmla="*/ 20484 h 2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396" h="24396">
                      <a:moveTo>
                        <a:pt x="24396" y="1956"/>
                      </a:moveTo>
                      <a:lnTo>
                        <a:pt x="24396" y="22440"/>
                      </a:lnTo>
                      <a:cubicBezTo>
                        <a:pt x="24396" y="23523"/>
                        <a:pt x="23523" y="24396"/>
                        <a:pt x="22440" y="24396"/>
                      </a:cubicBezTo>
                      <a:lnTo>
                        <a:pt x="1956" y="24396"/>
                      </a:lnTo>
                      <a:cubicBezTo>
                        <a:pt x="873" y="24396"/>
                        <a:pt x="0" y="23523"/>
                        <a:pt x="0" y="22440"/>
                      </a:cubicBezTo>
                      <a:lnTo>
                        <a:pt x="0" y="1956"/>
                      </a:lnTo>
                      <a:cubicBezTo>
                        <a:pt x="0" y="873"/>
                        <a:pt x="873" y="0"/>
                        <a:pt x="1956" y="0"/>
                      </a:cubicBezTo>
                      <a:lnTo>
                        <a:pt x="22440" y="0"/>
                      </a:lnTo>
                      <a:cubicBezTo>
                        <a:pt x="23523" y="0"/>
                        <a:pt x="24396" y="873"/>
                        <a:pt x="24396" y="1956"/>
                      </a:cubicBezTo>
                      <a:close/>
                      <a:moveTo>
                        <a:pt x="20483" y="20484"/>
                      </a:moveTo>
                      <a:lnTo>
                        <a:pt x="20483" y="3913"/>
                      </a:lnTo>
                      <a:lnTo>
                        <a:pt x="3913" y="3913"/>
                      </a:lnTo>
                      <a:lnTo>
                        <a:pt x="3913" y="20484"/>
                      </a:lnTo>
                      <a:lnTo>
                        <a:pt x="20483" y="20484"/>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48" name="Freeform: Shape 647">
                  <a:extLst>
                    <a:ext uri="{FF2B5EF4-FFF2-40B4-BE49-F238E27FC236}">
                      <a16:creationId xmlns:a16="http://schemas.microsoft.com/office/drawing/2014/main" id="{3C07D940-489A-4DA2-B475-3F76F040E473}"/>
                    </a:ext>
                  </a:extLst>
                </p:cNvPr>
                <p:cNvSpPr/>
                <p:nvPr/>
              </p:nvSpPr>
              <p:spPr>
                <a:xfrm>
                  <a:off x="2524920" y="4798038"/>
                  <a:ext cx="24396" cy="24396"/>
                </a:xfrm>
                <a:custGeom>
                  <a:avLst/>
                  <a:gdLst>
                    <a:gd name="connsiteX0" fmla="*/ 24396 w 24396"/>
                    <a:gd name="connsiteY0" fmla="*/ 1956 h 24396"/>
                    <a:gd name="connsiteX1" fmla="*/ 24396 w 24396"/>
                    <a:gd name="connsiteY1" fmla="*/ 22440 h 24396"/>
                    <a:gd name="connsiteX2" fmla="*/ 22440 w 24396"/>
                    <a:gd name="connsiteY2" fmla="*/ 24396 h 24396"/>
                    <a:gd name="connsiteX3" fmla="*/ 1956 w 24396"/>
                    <a:gd name="connsiteY3" fmla="*/ 24396 h 24396"/>
                    <a:gd name="connsiteX4" fmla="*/ 0 w 24396"/>
                    <a:gd name="connsiteY4" fmla="*/ 22440 h 24396"/>
                    <a:gd name="connsiteX5" fmla="*/ 0 w 24396"/>
                    <a:gd name="connsiteY5" fmla="*/ 1956 h 24396"/>
                    <a:gd name="connsiteX6" fmla="*/ 1956 w 24396"/>
                    <a:gd name="connsiteY6" fmla="*/ 0 h 24396"/>
                    <a:gd name="connsiteX7" fmla="*/ 22440 w 24396"/>
                    <a:gd name="connsiteY7" fmla="*/ 0 h 24396"/>
                    <a:gd name="connsiteX8" fmla="*/ 24396 w 24396"/>
                    <a:gd name="connsiteY8" fmla="*/ 1956 h 24396"/>
                    <a:gd name="connsiteX9" fmla="*/ 20483 w 24396"/>
                    <a:gd name="connsiteY9" fmla="*/ 20484 h 24396"/>
                    <a:gd name="connsiteX10" fmla="*/ 20483 w 24396"/>
                    <a:gd name="connsiteY10" fmla="*/ 3913 h 24396"/>
                    <a:gd name="connsiteX11" fmla="*/ 3913 w 24396"/>
                    <a:gd name="connsiteY11" fmla="*/ 3913 h 24396"/>
                    <a:gd name="connsiteX12" fmla="*/ 3913 w 24396"/>
                    <a:gd name="connsiteY12" fmla="*/ 20484 h 24396"/>
                    <a:gd name="connsiteX13" fmla="*/ 20483 w 24396"/>
                    <a:gd name="connsiteY13" fmla="*/ 20484 h 2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396" h="24396">
                      <a:moveTo>
                        <a:pt x="24396" y="1956"/>
                      </a:moveTo>
                      <a:lnTo>
                        <a:pt x="24396" y="22440"/>
                      </a:lnTo>
                      <a:cubicBezTo>
                        <a:pt x="24396" y="23523"/>
                        <a:pt x="23523" y="24396"/>
                        <a:pt x="22440" y="24396"/>
                      </a:cubicBezTo>
                      <a:lnTo>
                        <a:pt x="1956" y="24396"/>
                      </a:lnTo>
                      <a:cubicBezTo>
                        <a:pt x="873" y="24396"/>
                        <a:pt x="0" y="23523"/>
                        <a:pt x="0" y="22440"/>
                      </a:cubicBezTo>
                      <a:lnTo>
                        <a:pt x="0" y="1956"/>
                      </a:lnTo>
                      <a:cubicBezTo>
                        <a:pt x="0" y="873"/>
                        <a:pt x="873" y="0"/>
                        <a:pt x="1956" y="0"/>
                      </a:cubicBezTo>
                      <a:lnTo>
                        <a:pt x="22440" y="0"/>
                      </a:lnTo>
                      <a:cubicBezTo>
                        <a:pt x="23523" y="0"/>
                        <a:pt x="24396" y="873"/>
                        <a:pt x="24396" y="1956"/>
                      </a:cubicBezTo>
                      <a:close/>
                      <a:moveTo>
                        <a:pt x="20483" y="20484"/>
                      </a:moveTo>
                      <a:lnTo>
                        <a:pt x="20483" y="3913"/>
                      </a:lnTo>
                      <a:lnTo>
                        <a:pt x="3913" y="3913"/>
                      </a:lnTo>
                      <a:lnTo>
                        <a:pt x="3913" y="20484"/>
                      </a:lnTo>
                      <a:lnTo>
                        <a:pt x="20483" y="20484"/>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49" name="Freeform: Shape 648">
                  <a:extLst>
                    <a:ext uri="{FF2B5EF4-FFF2-40B4-BE49-F238E27FC236}">
                      <a16:creationId xmlns:a16="http://schemas.microsoft.com/office/drawing/2014/main" id="{67AD0DDB-AD8E-4C98-9733-44ABAD81C3A5}"/>
                    </a:ext>
                  </a:extLst>
                </p:cNvPr>
                <p:cNvSpPr/>
                <p:nvPr/>
              </p:nvSpPr>
              <p:spPr>
                <a:xfrm>
                  <a:off x="2524920" y="4764019"/>
                  <a:ext cx="24396" cy="24411"/>
                </a:xfrm>
                <a:custGeom>
                  <a:avLst/>
                  <a:gdLst>
                    <a:gd name="connsiteX0" fmla="*/ 24396 w 24396"/>
                    <a:gd name="connsiteY0" fmla="*/ 1956 h 24411"/>
                    <a:gd name="connsiteX1" fmla="*/ 24396 w 24396"/>
                    <a:gd name="connsiteY1" fmla="*/ 22455 h 24411"/>
                    <a:gd name="connsiteX2" fmla="*/ 22440 w 24396"/>
                    <a:gd name="connsiteY2" fmla="*/ 24412 h 24411"/>
                    <a:gd name="connsiteX3" fmla="*/ 1956 w 24396"/>
                    <a:gd name="connsiteY3" fmla="*/ 24412 h 24411"/>
                    <a:gd name="connsiteX4" fmla="*/ 0 w 24396"/>
                    <a:gd name="connsiteY4" fmla="*/ 22455 h 24411"/>
                    <a:gd name="connsiteX5" fmla="*/ 0 w 24396"/>
                    <a:gd name="connsiteY5" fmla="*/ 1956 h 24411"/>
                    <a:gd name="connsiteX6" fmla="*/ 1956 w 24396"/>
                    <a:gd name="connsiteY6" fmla="*/ 0 h 24411"/>
                    <a:gd name="connsiteX7" fmla="*/ 22440 w 24396"/>
                    <a:gd name="connsiteY7" fmla="*/ 0 h 24411"/>
                    <a:gd name="connsiteX8" fmla="*/ 24396 w 24396"/>
                    <a:gd name="connsiteY8" fmla="*/ 1956 h 24411"/>
                    <a:gd name="connsiteX9" fmla="*/ 20483 w 24396"/>
                    <a:gd name="connsiteY9" fmla="*/ 20499 h 24411"/>
                    <a:gd name="connsiteX10" fmla="*/ 20483 w 24396"/>
                    <a:gd name="connsiteY10" fmla="*/ 3913 h 24411"/>
                    <a:gd name="connsiteX11" fmla="*/ 3913 w 24396"/>
                    <a:gd name="connsiteY11" fmla="*/ 3913 h 24411"/>
                    <a:gd name="connsiteX12" fmla="*/ 3913 w 24396"/>
                    <a:gd name="connsiteY12" fmla="*/ 20499 h 24411"/>
                    <a:gd name="connsiteX13" fmla="*/ 20483 w 24396"/>
                    <a:gd name="connsiteY13" fmla="*/ 20499 h 24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396" h="24411">
                      <a:moveTo>
                        <a:pt x="24396" y="1956"/>
                      </a:moveTo>
                      <a:lnTo>
                        <a:pt x="24396" y="22455"/>
                      </a:lnTo>
                      <a:cubicBezTo>
                        <a:pt x="24396" y="23523"/>
                        <a:pt x="23523" y="24412"/>
                        <a:pt x="22440" y="24412"/>
                      </a:cubicBezTo>
                      <a:lnTo>
                        <a:pt x="1956" y="24412"/>
                      </a:lnTo>
                      <a:cubicBezTo>
                        <a:pt x="873" y="24412"/>
                        <a:pt x="0" y="23523"/>
                        <a:pt x="0" y="22455"/>
                      </a:cubicBezTo>
                      <a:lnTo>
                        <a:pt x="0" y="1956"/>
                      </a:lnTo>
                      <a:cubicBezTo>
                        <a:pt x="0" y="888"/>
                        <a:pt x="873" y="0"/>
                        <a:pt x="1956" y="0"/>
                      </a:cubicBezTo>
                      <a:lnTo>
                        <a:pt x="22440" y="0"/>
                      </a:lnTo>
                      <a:cubicBezTo>
                        <a:pt x="23523" y="0"/>
                        <a:pt x="24396" y="888"/>
                        <a:pt x="24396" y="1956"/>
                      </a:cubicBezTo>
                      <a:close/>
                      <a:moveTo>
                        <a:pt x="20483" y="20499"/>
                      </a:moveTo>
                      <a:lnTo>
                        <a:pt x="20483" y="3913"/>
                      </a:lnTo>
                      <a:lnTo>
                        <a:pt x="3913" y="3913"/>
                      </a:lnTo>
                      <a:lnTo>
                        <a:pt x="3913" y="20499"/>
                      </a:lnTo>
                      <a:lnTo>
                        <a:pt x="20483" y="20499"/>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50" name="Freeform: Shape 649">
                  <a:extLst>
                    <a:ext uri="{FF2B5EF4-FFF2-40B4-BE49-F238E27FC236}">
                      <a16:creationId xmlns:a16="http://schemas.microsoft.com/office/drawing/2014/main" id="{2B14A731-2DE4-45ED-A3D6-BCD0B0D1A257}"/>
                    </a:ext>
                  </a:extLst>
                </p:cNvPr>
                <p:cNvSpPr/>
                <p:nvPr/>
              </p:nvSpPr>
              <p:spPr>
                <a:xfrm>
                  <a:off x="2489987" y="4832042"/>
                  <a:ext cx="24396" cy="24396"/>
                </a:xfrm>
                <a:custGeom>
                  <a:avLst/>
                  <a:gdLst>
                    <a:gd name="connsiteX0" fmla="*/ 24396 w 24396"/>
                    <a:gd name="connsiteY0" fmla="*/ 1956 h 24396"/>
                    <a:gd name="connsiteX1" fmla="*/ 24396 w 24396"/>
                    <a:gd name="connsiteY1" fmla="*/ 22440 h 24396"/>
                    <a:gd name="connsiteX2" fmla="*/ 22440 w 24396"/>
                    <a:gd name="connsiteY2" fmla="*/ 24396 h 24396"/>
                    <a:gd name="connsiteX3" fmla="*/ 1956 w 24396"/>
                    <a:gd name="connsiteY3" fmla="*/ 24396 h 24396"/>
                    <a:gd name="connsiteX4" fmla="*/ 0 w 24396"/>
                    <a:gd name="connsiteY4" fmla="*/ 22440 h 24396"/>
                    <a:gd name="connsiteX5" fmla="*/ 0 w 24396"/>
                    <a:gd name="connsiteY5" fmla="*/ 1956 h 24396"/>
                    <a:gd name="connsiteX6" fmla="*/ 1956 w 24396"/>
                    <a:gd name="connsiteY6" fmla="*/ 0 h 24396"/>
                    <a:gd name="connsiteX7" fmla="*/ 22440 w 24396"/>
                    <a:gd name="connsiteY7" fmla="*/ 0 h 24396"/>
                    <a:gd name="connsiteX8" fmla="*/ 24396 w 24396"/>
                    <a:gd name="connsiteY8" fmla="*/ 1956 h 24396"/>
                    <a:gd name="connsiteX9" fmla="*/ 20484 w 24396"/>
                    <a:gd name="connsiteY9" fmla="*/ 20484 h 24396"/>
                    <a:gd name="connsiteX10" fmla="*/ 20484 w 24396"/>
                    <a:gd name="connsiteY10" fmla="*/ 3913 h 24396"/>
                    <a:gd name="connsiteX11" fmla="*/ 3913 w 24396"/>
                    <a:gd name="connsiteY11" fmla="*/ 3913 h 24396"/>
                    <a:gd name="connsiteX12" fmla="*/ 3913 w 24396"/>
                    <a:gd name="connsiteY12" fmla="*/ 20484 h 24396"/>
                    <a:gd name="connsiteX13" fmla="*/ 20484 w 24396"/>
                    <a:gd name="connsiteY13" fmla="*/ 20484 h 2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396" h="24396">
                      <a:moveTo>
                        <a:pt x="24396" y="1956"/>
                      </a:moveTo>
                      <a:lnTo>
                        <a:pt x="24396" y="22440"/>
                      </a:lnTo>
                      <a:cubicBezTo>
                        <a:pt x="24396" y="23523"/>
                        <a:pt x="23523" y="24396"/>
                        <a:pt x="22440" y="24396"/>
                      </a:cubicBezTo>
                      <a:lnTo>
                        <a:pt x="1956" y="24396"/>
                      </a:lnTo>
                      <a:cubicBezTo>
                        <a:pt x="873" y="24396"/>
                        <a:pt x="0" y="23523"/>
                        <a:pt x="0" y="22440"/>
                      </a:cubicBezTo>
                      <a:lnTo>
                        <a:pt x="0" y="1956"/>
                      </a:lnTo>
                      <a:cubicBezTo>
                        <a:pt x="0" y="873"/>
                        <a:pt x="873" y="0"/>
                        <a:pt x="1956" y="0"/>
                      </a:cubicBezTo>
                      <a:lnTo>
                        <a:pt x="22440" y="0"/>
                      </a:lnTo>
                      <a:cubicBezTo>
                        <a:pt x="23523" y="0"/>
                        <a:pt x="24396" y="873"/>
                        <a:pt x="24396" y="1956"/>
                      </a:cubicBezTo>
                      <a:close/>
                      <a:moveTo>
                        <a:pt x="20484" y="20484"/>
                      </a:moveTo>
                      <a:lnTo>
                        <a:pt x="20484" y="3913"/>
                      </a:lnTo>
                      <a:lnTo>
                        <a:pt x="3913" y="3913"/>
                      </a:lnTo>
                      <a:lnTo>
                        <a:pt x="3913" y="20484"/>
                      </a:lnTo>
                      <a:lnTo>
                        <a:pt x="20484" y="20484"/>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51" name="Freeform: Shape 650">
                  <a:extLst>
                    <a:ext uri="{FF2B5EF4-FFF2-40B4-BE49-F238E27FC236}">
                      <a16:creationId xmlns:a16="http://schemas.microsoft.com/office/drawing/2014/main" id="{457CDA18-B4F0-4EBD-8260-3E5F8B5FA80D}"/>
                    </a:ext>
                  </a:extLst>
                </p:cNvPr>
                <p:cNvSpPr/>
                <p:nvPr/>
              </p:nvSpPr>
              <p:spPr>
                <a:xfrm>
                  <a:off x="2489987" y="4798038"/>
                  <a:ext cx="24396" cy="24396"/>
                </a:xfrm>
                <a:custGeom>
                  <a:avLst/>
                  <a:gdLst>
                    <a:gd name="connsiteX0" fmla="*/ 24396 w 24396"/>
                    <a:gd name="connsiteY0" fmla="*/ 1956 h 24396"/>
                    <a:gd name="connsiteX1" fmla="*/ 24396 w 24396"/>
                    <a:gd name="connsiteY1" fmla="*/ 22440 h 24396"/>
                    <a:gd name="connsiteX2" fmla="*/ 22440 w 24396"/>
                    <a:gd name="connsiteY2" fmla="*/ 24396 h 24396"/>
                    <a:gd name="connsiteX3" fmla="*/ 1956 w 24396"/>
                    <a:gd name="connsiteY3" fmla="*/ 24396 h 24396"/>
                    <a:gd name="connsiteX4" fmla="*/ 0 w 24396"/>
                    <a:gd name="connsiteY4" fmla="*/ 22440 h 24396"/>
                    <a:gd name="connsiteX5" fmla="*/ 0 w 24396"/>
                    <a:gd name="connsiteY5" fmla="*/ 1956 h 24396"/>
                    <a:gd name="connsiteX6" fmla="*/ 1956 w 24396"/>
                    <a:gd name="connsiteY6" fmla="*/ 0 h 24396"/>
                    <a:gd name="connsiteX7" fmla="*/ 22440 w 24396"/>
                    <a:gd name="connsiteY7" fmla="*/ 0 h 24396"/>
                    <a:gd name="connsiteX8" fmla="*/ 24396 w 24396"/>
                    <a:gd name="connsiteY8" fmla="*/ 1956 h 24396"/>
                    <a:gd name="connsiteX9" fmla="*/ 20484 w 24396"/>
                    <a:gd name="connsiteY9" fmla="*/ 20484 h 24396"/>
                    <a:gd name="connsiteX10" fmla="*/ 20484 w 24396"/>
                    <a:gd name="connsiteY10" fmla="*/ 3913 h 24396"/>
                    <a:gd name="connsiteX11" fmla="*/ 3913 w 24396"/>
                    <a:gd name="connsiteY11" fmla="*/ 3913 h 24396"/>
                    <a:gd name="connsiteX12" fmla="*/ 3913 w 24396"/>
                    <a:gd name="connsiteY12" fmla="*/ 20484 h 24396"/>
                    <a:gd name="connsiteX13" fmla="*/ 20484 w 24396"/>
                    <a:gd name="connsiteY13" fmla="*/ 20484 h 2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396" h="24396">
                      <a:moveTo>
                        <a:pt x="24396" y="1956"/>
                      </a:moveTo>
                      <a:lnTo>
                        <a:pt x="24396" y="22440"/>
                      </a:lnTo>
                      <a:cubicBezTo>
                        <a:pt x="24396" y="23523"/>
                        <a:pt x="23523" y="24396"/>
                        <a:pt x="22440" y="24396"/>
                      </a:cubicBezTo>
                      <a:lnTo>
                        <a:pt x="1956" y="24396"/>
                      </a:lnTo>
                      <a:cubicBezTo>
                        <a:pt x="873" y="24396"/>
                        <a:pt x="0" y="23523"/>
                        <a:pt x="0" y="22440"/>
                      </a:cubicBezTo>
                      <a:lnTo>
                        <a:pt x="0" y="1956"/>
                      </a:lnTo>
                      <a:cubicBezTo>
                        <a:pt x="0" y="873"/>
                        <a:pt x="873" y="0"/>
                        <a:pt x="1956" y="0"/>
                      </a:cubicBezTo>
                      <a:lnTo>
                        <a:pt x="22440" y="0"/>
                      </a:lnTo>
                      <a:cubicBezTo>
                        <a:pt x="23523" y="0"/>
                        <a:pt x="24396" y="873"/>
                        <a:pt x="24396" y="1956"/>
                      </a:cubicBezTo>
                      <a:close/>
                      <a:moveTo>
                        <a:pt x="20484" y="20484"/>
                      </a:moveTo>
                      <a:lnTo>
                        <a:pt x="20484" y="3913"/>
                      </a:lnTo>
                      <a:lnTo>
                        <a:pt x="3913" y="3913"/>
                      </a:lnTo>
                      <a:lnTo>
                        <a:pt x="3913" y="20484"/>
                      </a:lnTo>
                      <a:lnTo>
                        <a:pt x="20484" y="20484"/>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52" name="Freeform: Shape 651">
                  <a:extLst>
                    <a:ext uri="{FF2B5EF4-FFF2-40B4-BE49-F238E27FC236}">
                      <a16:creationId xmlns:a16="http://schemas.microsoft.com/office/drawing/2014/main" id="{DB47AA8F-5622-45F8-80A8-2D0197665D1C}"/>
                    </a:ext>
                  </a:extLst>
                </p:cNvPr>
                <p:cNvSpPr/>
                <p:nvPr/>
              </p:nvSpPr>
              <p:spPr>
                <a:xfrm>
                  <a:off x="2489987" y="4764019"/>
                  <a:ext cx="24396" cy="24411"/>
                </a:xfrm>
                <a:custGeom>
                  <a:avLst/>
                  <a:gdLst>
                    <a:gd name="connsiteX0" fmla="*/ 24396 w 24396"/>
                    <a:gd name="connsiteY0" fmla="*/ 1956 h 24411"/>
                    <a:gd name="connsiteX1" fmla="*/ 24396 w 24396"/>
                    <a:gd name="connsiteY1" fmla="*/ 22455 h 24411"/>
                    <a:gd name="connsiteX2" fmla="*/ 22440 w 24396"/>
                    <a:gd name="connsiteY2" fmla="*/ 24412 h 24411"/>
                    <a:gd name="connsiteX3" fmla="*/ 1956 w 24396"/>
                    <a:gd name="connsiteY3" fmla="*/ 24412 h 24411"/>
                    <a:gd name="connsiteX4" fmla="*/ 0 w 24396"/>
                    <a:gd name="connsiteY4" fmla="*/ 22455 h 24411"/>
                    <a:gd name="connsiteX5" fmla="*/ 0 w 24396"/>
                    <a:gd name="connsiteY5" fmla="*/ 1956 h 24411"/>
                    <a:gd name="connsiteX6" fmla="*/ 1956 w 24396"/>
                    <a:gd name="connsiteY6" fmla="*/ 0 h 24411"/>
                    <a:gd name="connsiteX7" fmla="*/ 22440 w 24396"/>
                    <a:gd name="connsiteY7" fmla="*/ 0 h 24411"/>
                    <a:gd name="connsiteX8" fmla="*/ 24396 w 24396"/>
                    <a:gd name="connsiteY8" fmla="*/ 1956 h 24411"/>
                    <a:gd name="connsiteX9" fmla="*/ 20484 w 24396"/>
                    <a:gd name="connsiteY9" fmla="*/ 20499 h 24411"/>
                    <a:gd name="connsiteX10" fmla="*/ 20484 w 24396"/>
                    <a:gd name="connsiteY10" fmla="*/ 3913 h 24411"/>
                    <a:gd name="connsiteX11" fmla="*/ 3913 w 24396"/>
                    <a:gd name="connsiteY11" fmla="*/ 3913 h 24411"/>
                    <a:gd name="connsiteX12" fmla="*/ 3913 w 24396"/>
                    <a:gd name="connsiteY12" fmla="*/ 20499 h 24411"/>
                    <a:gd name="connsiteX13" fmla="*/ 20484 w 24396"/>
                    <a:gd name="connsiteY13" fmla="*/ 20499 h 24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396" h="24411">
                      <a:moveTo>
                        <a:pt x="24396" y="1956"/>
                      </a:moveTo>
                      <a:lnTo>
                        <a:pt x="24396" y="22455"/>
                      </a:lnTo>
                      <a:cubicBezTo>
                        <a:pt x="24396" y="23523"/>
                        <a:pt x="23523" y="24412"/>
                        <a:pt x="22440" y="24412"/>
                      </a:cubicBezTo>
                      <a:lnTo>
                        <a:pt x="1956" y="24412"/>
                      </a:lnTo>
                      <a:cubicBezTo>
                        <a:pt x="873" y="24412"/>
                        <a:pt x="0" y="23523"/>
                        <a:pt x="0" y="22455"/>
                      </a:cubicBezTo>
                      <a:lnTo>
                        <a:pt x="0" y="1956"/>
                      </a:lnTo>
                      <a:cubicBezTo>
                        <a:pt x="0" y="888"/>
                        <a:pt x="873" y="0"/>
                        <a:pt x="1956" y="0"/>
                      </a:cubicBezTo>
                      <a:lnTo>
                        <a:pt x="22440" y="0"/>
                      </a:lnTo>
                      <a:cubicBezTo>
                        <a:pt x="23523" y="0"/>
                        <a:pt x="24396" y="888"/>
                        <a:pt x="24396" y="1956"/>
                      </a:cubicBezTo>
                      <a:close/>
                      <a:moveTo>
                        <a:pt x="20484" y="20499"/>
                      </a:moveTo>
                      <a:lnTo>
                        <a:pt x="20484" y="3913"/>
                      </a:lnTo>
                      <a:lnTo>
                        <a:pt x="3913" y="3913"/>
                      </a:lnTo>
                      <a:lnTo>
                        <a:pt x="3913" y="20499"/>
                      </a:lnTo>
                      <a:lnTo>
                        <a:pt x="20484" y="20499"/>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53" name="Freeform: Shape 652">
                  <a:extLst>
                    <a:ext uri="{FF2B5EF4-FFF2-40B4-BE49-F238E27FC236}">
                      <a16:creationId xmlns:a16="http://schemas.microsoft.com/office/drawing/2014/main" id="{C4569283-68F0-4937-98EB-84BBFC98EF5F}"/>
                    </a:ext>
                  </a:extLst>
                </p:cNvPr>
                <p:cNvSpPr/>
                <p:nvPr/>
              </p:nvSpPr>
              <p:spPr>
                <a:xfrm>
                  <a:off x="2349817" y="4761903"/>
                  <a:ext cx="102684" cy="3912"/>
                </a:xfrm>
                <a:custGeom>
                  <a:avLst/>
                  <a:gdLst>
                    <a:gd name="connsiteX0" fmla="*/ 100728 w 102684"/>
                    <a:gd name="connsiteY0" fmla="*/ 0 h 3912"/>
                    <a:gd name="connsiteX1" fmla="*/ 102685 w 102684"/>
                    <a:gd name="connsiteY1" fmla="*/ 1956 h 3912"/>
                    <a:gd name="connsiteX2" fmla="*/ 100728 w 102684"/>
                    <a:gd name="connsiteY2" fmla="*/ 3913 h 3912"/>
                    <a:gd name="connsiteX3" fmla="*/ 1956 w 102684"/>
                    <a:gd name="connsiteY3" fmla="*/ 3913 h 3912"/>
                    <a:gd name="connsiteX4" fmla="*/ 0 w 102684"/>
                    <a:gd name="connsiteY4" fmla="*/ 1956 h 3912"/>
                    <a:gd name="connsiteX5" fmla="*/ 1956 w 102684"/>
                    <a:gd name="connsiteY5" fmla="*/ 0 h 3912"/>
                    <a:gd name="connsiteX6" fmla="*/ 100728 w 102684"/>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4" h="3912">
                      <a:moveTo>
                        <a:pt x="100728" y="0"/>
                      </a:moveTo>
                      <a:cubicBezTo>
                        <a:pt x="101812" y="0"/>
                        <a:pt x="102685" y="873"/>
                        <a:pt x="102685" y="1956"/>
                      </a:cubicBezTo>
                      <a:cubicBezTo>
                        <a:pt x="102685" y="3040"/>
                        <a:pt x="101812" y="3913"/>
                        <a:pt x="100728" y="3913"/>
                      </a:cubicBezTo>
                      <a:lnTo>
                        <a:pt x="1956" y="3913"/>
                      </a:lnTo>
                      <a:cubicBezTo>
                        <a:pt x="873" y="3913"/>
                        <a:pt x="0" y="3040"/>
                        <a:pt x="0" y="1956"/>
                      </a:cubicBezTo>
                      <a:cubicBezTo>
                        <a:pt x="0" y="873"/>
                        <a:pt x="873" y="0"/>
                        <a:pt x="1956" y="0"/>
                      </a:cubicBezTo>
                      <a:lnTo>
                        <a:pt x="100728" y="0"/>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54" name="Freeform: Shape 653">
                  <a:extLst>
                    <a:ext uri="{FF2B5EF4-FFF2-40B4-BE49-F238E27FC236}">
                      <a16:creationId xmlns:a16="http://schemas.microsoft.com/office/drawing/2014/main" id="{E8179451-AF28-414E-9F0E-EC496FF8C753}"/>
                    </a:ext>
                  </a:extLst>
                </p:cNvPr>
                <p:cNvSpPr/>
                <p:nvPr/>
              </p:nvSpPr>
              <p:spPr>
                <a:xfrm>
                  <a:off x="2349817" y="4784554"/>
                  <a:ext cx="102684" cy="3912"/>
                </a:xfrm>
                <a:custGeom>
                  <a:avLst/>
                  <a:gdLst>
                    <a:gd name="connsiteX0" fmla="*/ 100728 w 102684"/>
                    <a:gd name="connsiteY0" fmla="*/ 0 h 3912"/>
                    <a:gd name="connsiteX1" fmla="*/ 102685 w 102684"/>
                    <a:gd name="connsiteY1" fmla="*/ 1956 h 3912"/>
                    <a:gd name="connsiteX2" fmla="*/ 100728 w 102684"/>
                    <a:gd name="connsiteY2" fmla="*/ 3913 h 3912"/>
                    <a:gd name="connsiteX3" fmla="*/ 1956 w 102684"/>
                    <a:gd name="connsiteY3" fmla="*/ 3913 h 3912"/>
                    <a:gd name="connsiteX4" fmla="*/ 0 w 102684"/>
                    <a:gd name="connsiteY4" fmla="*/ 1956 h 3912"/>
                    <a:gd name="connsiteX5" fmla="*/ 1956 w 102684"/>
                    <a:gd name="connsiteY5" fmla="*/ 0 h 3912"/>
                    <a:gd name="connsiteX6" fmla="*/ 100728 w 102684"/>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4" h="3912">
                      <a:moveTo>
                        <a:pt x="100728" y="0"/>
                      </a:moveTo>
                      <a:cubicBezTo>
                        <a:pt x="101812" y="0"/>
                        <a:pt x="102685" y="888"/>
                        <a:pt x="102685" y="1956"/>
                      </a:cubicBezTo>
                      <a:cubicBezTo>
                        <a:pt x="102685" y="3025"/>
                        <a:pt x="101812" y="3913"/>
                        <a:pt x="100728" y="3913"/>
                      </a:cubicBezTo>
                      <a:lnTo>
                        <a:pt x="1956" y="3913"/>
                      </a:lnTo>
                      <a:cubicBezTo>
                        <a:pt x="873" y="3913"/>
                        <a:pt x="0" y="3040"/>
                        <a:pt x="0" y="1956"/>
                      </a:cubicBezTo>
                      <a:cubicBezTo>
                        <a:pt x="0" y="873"/>
                        <a:pt x="873" y="0"/>
                        <a:pt x="1956" y="0"/>
                      </a:cubicBezTo>
                      <a:lnTo>
                        <a:pt x="100728" y="0"/>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55" name="Freeform: Shape 654">
                  <a:extLst>
                    <a:ext uri="{FF2B5EF4-FFF2-40B4-BE49-F238E27FC236}">
                      <a16:creationId xmlns:a16="http://schemas.microsoft.com/office/drawing/2014/main" id="{C7104338-F458-40E2-B1CD-92BE4C2156C7}"/>
                    </a:ext>
                  </a:extLst>
                </p:cNvPr>
                <p:cNvSpPr/>
                <p:nvPr/>
              </p:nvSpPr>
              <p:spPr>
                <a:xfrm>
                  <a:off x="2349817" y="4807215"/>
                  <a:ext cx="102684" cy="3912"/>
                </a:xfrm>
                <a:custGeom>
                  <a:avLst/>
                  <a:gdLst>
                    <a:gd name="connsiteX0" fmla="*/ 100728 w 102684"/>
                    <a:gd name="connsiteY0" fmla="*/ 0 h 3912"/>
                    <a:gd name="connsiteX1" fmla="*/ 102685 w 102684"/>
                    <a:gd name="connsiteY1" fmla="*/ 1956 h 3912"/>
                    <a:gd name="connsiteX2" fmla="*/ 100728 w 102684"/>
                    <a:gd name="connsiteY2" fmla="*/ 3913 h 3912"/>
                    <a:gd name="connsiteX3" fmla="*/ 1956 w 102684"/>
                    <a:gd name="connsiteY3" fmla="*/ 3913 h 3912"/>
                    <a:gd name="connsiteX4" fmla="*/ 0 w 102684"/>
                    <a:gd name="connsiteY4" fmla="*/ 1956 h 3912"/>
                    <a:gd name="connsiteX5" fmla="*/ 1956 w 102684"/>
                    <a:gd name="connsiteY5" fmla="*/ 0 h 3912"/>
                    <a:gd name="connsiteX6" fmla="*/ 100728 w 102684"/>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4" h="3912">
                      <a:moveTo>
                        <a:pt x="100728" y="0"/>
                      </a:moveTo>
                      <a:cubicBezTo>
                        <a:pt x="101812" y="0"/>
                        <a:pt x="102685" y="873"/>
                        <a:pt x="102685" y="1956"/>
                      </a:cubicBezTo>
                      <a:cubicBezTo>
                        <a:pt x="102685" y="3040"/>
                        <a:pt x="101812" y="3913"/>
                        <a:pt x="100728" y="3913"/>
                      </a:cubicBezTo>
                      <a:lnTo>
                        <a:pt x="1956" y="3913"/>
                      </a:lnTo>
                      <a:cubicBezTo>
                        <a:pt x="873" y="3913"/>
                        <a:pt x="0" y="3040"/>
                        <a:pt x="0" y="1956"/>
                      </a:cubicBezTo>
                      <a:cubicBezTo>
                        <a:pt x="0" y="873"/>
                        <a:pt x="873" y="0"/>
                        <a:pt x="1956" y="0"/>
                      </a:cubicBezTo>
                      <a:lnTo>
                        <a:pt x="100728" y="0"/>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56" name="Freeform: Shape 655">
                  <a:extLst>
                    <a:ext uri="{FF2B5EF4-FFF2-40B4-BE49-F238E27FC236}">
                      <a16:creationId xmlns:a16="http://schemas.microsoft.com/office/drawing/2014/main" id="{0405564E-9C52-4783-85E1-9AF6C514731F}"/>
                    </a:ext>
                  </a:extLst>
                </p:cNvPr>
                <p:cNvSpPr/>
                <p:nvPr/>
              </p:nvSpPr>
              <p:spPr>
                <a:xfrm>
                  <a:off x="2349817" y="4829881"/>
                  <a:ext cx="102684" cy="3912"/>
                </a:xfrm>
                <a:custGeom>
                  <a:avLst/>
                  <a:gdLst>
                    <a:gd name="connsiteX0" fmla="*/ 100728 w 102684"/>
                    <a:gd name="connsiteY0" fmla="*/ 0 h 3912"/>
                    <a:gd name="connsiteX1" fmla="*/ 102685 w 102684"/>
                    <a:gd name="connsiteY1" fmla="*/ 1956 h 3912"/>
                    <a:gd name="connsiteX2" fmla="*/ 100728 w 102684"/>
                    <a:gd name="connsiteY2" fmla="*/ 3913 h 3912"/>
                    <a:gd name="connsiteX3" fmla="*/ 1956 w 102684"/>
                    <a:gd name="connsiteY3" fmla="*/ 3913 h 3912"/>
                    <a:gd name="connsiteX4" fmla="*/ 0 w 102684"/>
                    <a:gd name="connsiteY4" fmla="*/ 1956 h 3912"/>
                    <a:gd name="connsiteX5" fmla="*/ 1956 w 102684"/>
                    <a:gd name="connsiteY5" fmla="*/ 0 h 3912"/>
                    <a:gd name="connsiteX6" fmla="*/ 100728 w 102684"/>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4" h="3912">
                      <a:moveTo>
                        <a:pt x="100728" y="0"/>
                      </a:moveTo>
                      <a:cubicBezTo>
                        <a:pt x="101812" y="0"/>
                        <a:pt x="102685" y="873"/>
                        <a:pt x="102685" y="1956"/>
                      </a:cubicBezTo>
                      <a:cubicBezTo>
                        <a:pt x="102685" y="3040"/>
                        <a:pt x="101812" y="3913"/>
                        <a:pt x="100728" y="3913"/>
                      </a:cubicBezTo>
                      <a:lnTo>
                        <a:pt x="1956" y="3913"/>
                      </a:lnTo>
                      <a:cubicBezTo>
                        <a:pt x="873" y="3913"/>
                        <a:pt x="0" y="3024"/>
                        <a:pt x="0" y="1956"/>
                      </a:cubicBezTo>
                      <a:cubicBezTo>
                        <a:pt x="0" y="888"/>
                        <a:pt x="873" y="0"/>
                        <a:pt x="1956" y="0"/>
                      </a:cubicBezTo>
                      <a:lnTo>
                        <a:pt x="100728" y="0"/>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57" name="Freeform: Shape 656">
                  <a:extLst>
                    <a:ext uri="{FF2B5EF4-FFF2-40B4-BE49-F238E27FC236}">
                      <a16:creationId xmlns:a16="http://schemas.microsoft.com/office/drawing/2014/main" id="{F278692A-F937-4120-A8C5-6EAC7247F34C}"/>
                    </a:ext>
                  </a:extLst>
                </p:cNvPr>
                <p:cNvSpPr/>
                <p:nvPr/>
              </p:nvSpPr>
              <p:spPr>
                <a:xfrm>
                  <a:off x="2349817" y="4852531"/>
                  <a:ext cx="102684" cy="3912"/>
                </a:xfrm>
                <a:custGeom>
                  <a:avLst/>
                  <a:gdLst>
                    <a:gd name="connsiteX0" fmla="*/ 100728 w 102684"/>
                    <a:gd name="connsiteY0" fmla="*/ 0 h 3912"/>
                    <a:gd name="connsiteX1" fmla="*/ 102685 w 102684"/>
                    <a:gd name="connsiteY1" fmla="*/ 1956 h 3912"/>
                    <a:gd name="connsiteX2" fmla="*/ 100728 w 102684"/>
                    <a:gd name="connsiteY2" fmla="*/ 3913 h 3912"/>
                    <a:gd name="connsiteX3" fmla="*/ 1956 w 102684"/>
                    <a:gd name="connsiteY3" fmla="*/ 3913 h 3912"/>
                    <a:gd name="connsiteX4" fmla="*/ 0 w 102684"/>
                    <a:gd name="connsiteY4" fmla="*/ 1956 h 3912"/>
                    <a:gd name="connsiteX5" fmla="*/ 1956 w 102684"/>
                    <a:gd name="connsiteY5" fmla="*/ 0 h 3912"/>
                    <a:gd name="connsiteX6" fmla="*/ 100728 w 102684"/>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684" h="3912">
                      <a:moveTo>
                        <a:pt x="100728" y="0"/>
                      </a:moveTo>
                      <a:cubicBezTo>
                        <a:pt x="101812" y="0"/>
                        <a:pt x="102685" y="873"/>
                        <a:pt x="102685" y="1956"/>
                      </a:cubicBezTo>
                      <a:cubicBezTo>
                        <a:pt x="102685" y="3040"/>
                        <a:pt x="101812" y="3913"/>
                        <a:pt x="100728" y="3913"/>
                      </a:cubicBezTo>
                      <a:lnTo>
                        <a:pt x="1956" y="3913"/>
                      </a:lnTo>
                      <a:cubicBezTo>
                        <a:pt x="873" y="3913"/>
                        <a:pt x="0" y="3040"/>
                        <a:pt x="0" y="1956"/>
                      </a:cubicBezTo>
                      <a:cubicBezTo>
                        <a:pt x="0" y="873"/>
                        <a:pt x="873" y="0"/>
                        <a:pt x="1956" y="0"/>
                      </a:cubicBezTo>
                      <a:lnTo>
                        <a:pt x="100728" y="0"/>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58" name="Freeform: Shape 657">
                  <a:extLst>
                    <a:ext uri="{FF2B5EF4-FFF2-40B4-BE49-F238E27FC236}">
                      <a16:creationId xmlns:a16="http://schemas.microsoft.com/office/drawing/2014/main" id="{28959DA4-6617-4A5C-B313-84034BB55135}"/>
                    </a:ext>
                  </a:extLst>
                </p:cNvPr>
                <p:cNvSpPr/>
                <p:nvPr/>
              </p:nvSpPr>
              <p:spPr>
                <a:xfrm>
                  <a:off x="2349817" y="4739243"/>
                  <a:ext cx="83125" cy="3912"/>
                </a:xfrm>
                <a:custGeom>
                  <a:avLst/>
                  <a:gdLst>
                    <a:gd name="connsiteX0" fmla="*/ 81169 w 83125"/>
                    <a:gd name="connsiteY0" fmla="*/ 0 h 3912"/>
                    <a:gd name="connsiteX1" fmla="*/ 83125 w 83125"/>
                    <a:gd name="connsiteY1" fmla="*/ 1956 h 3912"/>
                    <a:gd name="connsiteX2" fmla="*/ 81169 w 83125"/>
                    <a:gd name="connsiteY2" fmla="*/ 3913 h 3912"/>
                    <a:gd name="connsiteX3" fmla="*/ 1956 w 83125"/>
                    <a:gd name="connsiteY3" fmla="*/ 3913 h 3912"/>
                    <a:gd name="connsiteX4" fmla="*/ 0 w 83125"/>
                    <a:gd name="connsiteY4" fmla="*/ 1956 h 3912"/>
                    <a:gd name="connsiteX5" fmla="*/ 1956 w 83125"/>
                    <a:gd name="connsiteY5" fmla="*/ 0 h 3912"/>
                    <a:gd name="connsiteX6" fmla="*/ 81169 w 83125"/>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125" h="3912">
                      <a:moveTo>
                        <a:pt x="81169" y="0"/>
                      </a:moveTo>
                      <a:cubicBezTo>
                        <a:pt x="82253" y="0"/>
                        <a:pt x="83125" y="873"/>
                        <a:pt x="83125" y="1956"/>
                      </a:cubicBezTo>
                      <a:cubicBezTo>
                        <a:pt x="83125" y="3040"/>
                        <a:pt x="82253" y="3913"/>
                        <a:pt x="81169" y="3913"/>
                      </a:cubicBezTo>
                      <a:lnTo>
                        <a:pt x="1956" y="3913"/>
                      </a:lnTo>
                      <a:cubicBezTo>
                        <a:pt x="873" y="3913"/>
                        <a:pt x="0" y="3040"/>
                        <a:pt x="0" y="1956"/>
                      </a:cubicBezTo>
                      <a:cubicBezTo>
                        <a:pt x="0" y="873"/>
                        <a:pt x="873" y="0"/>
                        <a:pt x="1956" y="0"/>
                      </a:cubicBezTo>
                      <a:lnTo>
                        <a:pt x="81169" y="0"/>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sp>
            <p:nvSpPr>
              <p:cNvPr id="486" name="Freeform: Shape 485">
                <a:extLst>
                  <a:ext uri="{FF2B5EF4-FFF2-40B4-BE49-F238E27FC236}">
                    <a16:creationId xmlns:a16="http://schemas.microsoft.com/office/drawing/2014/main" id="{05633D3D-8053-4FE3-BC45-A21041AE9A5E}"/>
                  </a:ext>
                </a:extLst>
              </p:cNvPr>
              <p:cNvSpPr/>
              <p:nvPr/>
            </p:nvSpPr>
            <p:spPr>
              <a:xfrm>
                <a:off x="2733901" y="4248721"/>
                <a:ext cx="20909" cy="20909"/>
              </a:xfrm>
              <a:custGeom>
                <a:avLst/>
                <a:gdLst>
                  <a:gd name="connsiteX0" fmla="*/ 10455 w 20909"/>
                  <a:gd name="connsiteY0" fmla="*/ 20910 h 20909"/>
                  <a:gd name="connsiteX1" fmla="*/ 0 w 20909"/>
                  <a:gd name="connsiteY1" fmla="*/ 10455 h 20909"/>
                  <a:gd name="connsiteX2" fmla="*/ 10455 w 20909"/>
                  <a:gd name="connsiteY2" fmla="*/ 0 h 20909"/>
                  <a:gd name="connsiteX3" fmla="*/ 20910 w 20909"/>
                  <a:gd name="connsiteY3" fmla="*/ 10455 h 20909"/>
                  <a:gd name="connsiteX4" fmla="*/ 10455 w 20909"/>
                  <a:gd name="connsiteY4" fmla="*/ 20910 h 20909"/>
                  <a:gd name="connsiteX5" fmla="*/ 10455 w 20909"/>
                  <a:gd name="connsiteY5" fmla="*/ 3913 h 20909"/>
                  <a:gd name="connsiteX6" fmla="*/ 3913 w 20909"/>
                  <a:gd name="connsiteY6" fmla="*/ 10455 h 20909"/>
                  <a:gd name="connsiteX7" fmla="*/ 10455 w 20909"/>
                  <a:gd name="connsiteY7" fmla="*/ 16997 h 20909"/>
                  <a:gd name="connsiteX8" fmla="*/ 16997 w 20909"/>
                  <a:gd name="connsiteY8" fmla="*/ 10455 h 20909"/>
                  <a:gd name="connsiteX9" fmla="*/ 10455 w 20909"/>
                  <a:gd name="connsiteY9" fmla="*/ 3913 h 20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09" h="20909">
                    <a:moveTo>
                      <a:pt x="10455" y="20910"/>
                    </a:moveTo>
                    <a:cubicBezTo>
                      <a:pt x="4693" y="20910"/>
                      <a:pt x="0" y="16221"/>
                      <a:pt x="0" y="10455"/>
                    </a:cubicBezTo>
                    <a:cubicBezTo>
                      <a:pt x="0" y="4688"/>
                      <a:pt x="4688" y="0"/>
                      <a:pt x="10455" y="0"/>
                    </a:cubicBezTo>
                    <a:cubicBezTo>
                      <a:pt x="16221" y="0"/>
                      <a:pt x="20910" y="4688"/>
                      <a:pt x="20910" y="10455"/>
                    </a:cubicBezTo>
                    <a:cubicBezTo>
                      <a:pt x="20910" y="16221"/>
                      <a:pt x="16221" y="20910"/>
                      <a:pt x="10455" y="20910"/>
                    </a:cubicBezTo>
                    <a:close/>
                    <a:moveTo>
                      <a:pt x="10455" y="3913"/>
                    </a:moveTo>
                    <a:cubicBezTo>
                      <a:pt x="6845" y="3913"/>
                      <a:pt x="3913" y="6845"/>
                      <a:pt x="3913" y="10455"/>
                    </a:cubicBezTo>
                    <a:cubicBezTo>
                      <a:pt x="3913" y="14065"/>
                      <a:pt x="6845" y="16997"/>
                      <a:pt x="10455" y="16997"/>
                    </a:cubicBezTo>
                    <a:cubicBezTo>
                      <a:pt x="14065" y="16997"/>
                      <a:pt x="16997" y="14060"/>
                      <a:pt x="16997" y="10455"/>
                    </a:cubicBezTo>
                    <a:cubicBezTo>
                      <a:pt x="16997" y="6850"/>
                      <a:pt x="14065" y="3913"/>
                      <a:pt x="10455"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87" name="Freeform: Shape 486">
                <a:extLst>
                  <a:ext uri="{FF2B5EF4-FFF2-40B4-BE49-F238E27FC236}">
                    <a16:creationId xmlns:a16="http://schemas.microsoft.com/office/drawing/2014/main" id="{9F8B8A93-EA56-4C44-AD7D-045C1343E6C6}"/>
                  </a:ext>
                </a:extLst>
              </p:cNvPr>
              <p:cNvSpPr/>
              <p:nvPr/>
            </p:nvSpPr>
            <p:spPr>
              <a:xfrm>
                <a:off x="2915690" y="4354883"/>
                <a:ext cx="35708" cy="3912"/>
              </a:xfrm>
              <a:custGeom>
                <a:avLst/>
                <a:gdLst>
                  <a:gd name="connsiteX0" fmla="*/ 33752 w 35708"/>
                  <a:gd name="connsiteY0" fmla="*/ 3913 h 3912"/>
                  <a:gd name="connsiteX1" fmla="*/ 1956 w 35708"/>
                  <a:gd name="connsiteY1" fmla="*/ 3913 h 3912"/>
                  <a:gd name="connsiteX2" fmla="*/ 0 w 35708"/>
                  <a:gd name="connsiteY2" fmla="*/ 1956 h 3912"/>
                  <a:gd name="connsiteX3" fmla="*/ 1956 w 35708"/>
                  <a:gd name="connsiteY3" fmla="*/ 0 h 3912"/>
                  <a:gd name="connsiteX4" fmla="*/ 33752 w 35708"/>
                  <a:gd name="connsiteY4" fmla="*/ 0 h 3912"/>
                  <a:gd name="connsiteX5" fmla="*/ 35709 w 35708"/>
                  <a:gd name="connsiteY5" fmla="*/ 1956 h 3912"/>
                  <a:gd name="connsiteX6" fmla="*/ 33752 w 35708"/>
                  <a:gd name="connsiteY6" fmla="*/ 3913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708" h="3912">
                    <a:moveTo>
                      <a:pt x="33752" y="3913"/>
                    </a:moveTo>
                    <a:lnTo>
                      <a:pt x="1956" y="3913"/>
                    </a:lnTo>
                    <a:cubicBezTo>
                      <a:pt x="878" y="3913"/>
                      <a:pt x="0" y="3035"/>
                      <a:pt x="0" y="1956"/>
                    </a:cubicBezTo>
                    <a:cubicBezTo>
                      <a:pt x="0" y="878"/>
                      <a:pt x="878" y="0"/>
                      <a:pt x="1956" y="0"/>
                    </a:cubicBezTo>
                    <a:lnTo>
                      <a:pt x="33752" y="0"/>
                    </a:lnTo>
                    <a:cubicBezTo>
                      <a:pt x="34831" y="0"/>
                      <a:pt x="35709" y="878"/>
                      <a:pt x="35709" y="1956"/>
                    </a:cubicBezTo>
                    <a:cubicBezTo>
                      <a:pt x="35709" y="3035"/>
                      <a:pt x="34831" y="3913"/>
                      <a:pt x="33752"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88" name="Freeform: Shape 487">
                <a:extLst>
                  <a:ext uri="{FF2B5EF4-FFF2-40B4-BE49-F238E27FC236}">
                    <a16:creationId xmlns:a16="http://schemas.microsoft.com/office/drawing/2014/main" id="{53C51826-17C3-48AC-8824-5FDB712CF805}"/>
                  </a:ext>
                </a:extLst>
              </p:cNvPr>
              <p:cNvSpPr/>
              <p:nvPr/>
            </p:nvSpPr>
            <p:spPr>
              <a:xfrm>
                <a:off x="2405055" y="4275177"/>
                <a:ext cx="35708" cy="3912"/>
              </a:xfrm>
              <a:custGeom>
                <a:avLst/>
                <a:gdLst>
                  <a:gd name="connsiteX0" fmla="*/ 33752 w 35708"/>
                  <a:gd name="connsiteY0" fmla="*/ 3913 h 3912"/>
                  <a:gd name="connsiteX1" fmla="*/ 1956 w 35708"/>
                  <a:gd name="connsiteY1" fmla="*/ 3913 h 3912"/>
                  <a:gd name="connsiteX2" fmla="*/ 0 w 35708"/>
                  <a:gd name="connsiteY2" fmla="*/ 1956 h 3912"/>
                  <a:gd name="connsiteX3" fmla="*/ 1956 w 35708"/>
                  <a:gd name="connsiteY3" fmla="*/ 0 h 3912"/>
                  <a:gd name="connsiteX4" fmla="*/ 33752 w 35708"/>
                  <a:gd name="connsiteY4" fmla="*/ 0 h 3912"/>
                  <a:gd name="connsiteX5" fmla="*/ 35709 w 35708"/>
                  <a:gd name="connsiteY5" fmla="*/ 1956 h 3912"/>
                  <a:gd name="connsiteX6" fmla="*/ 33752 w 35708"/>
                  <a:gd name="connsiteY6" fmla="*/ 3913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708" h="3912">
                    <a:moveTo>
                      <a:pt x="33752" y="3913"/>
                    </a:moveTo>
                    <a:lnTo>
                      <a:pt x="1956" y="3913"/>
                    </a:lnTo>
                    <a:cubicBezTo>
                      <a:pt x="878" y="3913"/>
                      <a:pt x="0" y="3035"/>
                      <a:pt x="0" y="1956"/>
                    </a:cubicBezTo>
                    <a:cubicBezTo>
                      <a:pt x="0" y="878"/>
                      <a:pt x="878" y="0"/>
                      <a:pt x="1956" y="0"/>
                    </a:cubicBezTo>
                    <a:lnTo>
                      <a:pt x="33752" y="0"/>
                    </a:lnTo>
                    <a:cubicBezTo>
                      <a:pt x="34831" y="0"/>
                      <a:pt x="35709" y="878"/>
                      <a:pt x="35709" y="1956"/>
                    </a:cubicBezTo>
                    <a:cubicBezTo>
                      <a:pt x="35709" y="3035"/>
                      <a:pt x="34831" y="3913"/>
                      <a:pt x="33752"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89" name="Freeform: Shape 488">
                <a:extLst>
                  <a:ext uri="{FF2B5EF4-FFF2-40B4-BE49-F238E27FC236}">
                    <a16:creationId xmlns:a16="http://schemas.microsoft.com/office/drawing/2014/main" id="{A4F9A502-AF78-42AE-85F1-39A28EADEB7B}"/>
                  </a:ext>
                </a:extLst>
              </p:cNvPr>
              <p:cNvSpPr/>
              <p:nvPr/>
            </p:nvSpPr>
            <p:spPr>
              <a:xfrm>
                <a:off x="1824774" y="4569690"/>
                <a:ext cx="21926" cy="3912"/>
              </a:xfrm>
              <a:custGeom>
                <a:avLst/>
                <a:gdLst>
                  <a:gd name="connsiteX0" fmla="*/ 19970 w 21926"/>
                  <a:gd name="connsiteY0" fmla="*/ 3913 h 3912"/>
                  <a:gd name="connsiteX1" fmla="*/ 1956 w 21926"/>
                  <a:gd name="connsiteY1" fmla="*/ 3913 h 3912"/>
                  <a:gd name="connsiteX2" fmla="*/ 0 w 21926"/>
                  <a:gd name="connsiteY2" fmla="*/ 1956 h 3912"/>
                  <a:gd name="connsiteX3" fmla="*/ 1956 w 21926"/>
                  <a:gd name="connsiteY3" fmla="*/ 0 h 3912"/>
                  <a:gd name="connsiteX4" fmla="*/ 19970 w 21926"/>
                  <a:gd name="connsiteY4" fmla="*/ 0 h 3912"/>
                  <a:gd name="connsiteX5" fmla="*/ 21926 w 21926"/>
                  <a:gd name="connsiteY5" fmla="*/ 1956 h 3912"/>
                  <a:gd name="connsiteX6" fmla="*/ 19970 w 21926"/>
                  <a:gd name="connsiteY6" fmla="*/ 3913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26" h="3912">
                    <a:moveTo>
                      <a:pt x="19970" y="3913"/>
                    </a:moveTo>
                    <a:lnTo>
                      <a:pt x="1956" y="3913"/>
                    </a:lnTo>
                    <a:cubicBezTo>
                      <a:pt x="878" y="3913"/>
                      <a:pt x="0" y="3035"/>
                      <a:pt x="0" y="1956"/>
                    </a:cubicBezTo>
                    <a:cubicBezTo>
                      <a:pt x="0" y="878"/>
                      <a:pt x="878" y="0"/>
                      <a:pt x="1956" y="0"/>
                    </a:cubicBezTo>
                    <a:lnTo>
                      <a:pt x="19970" y="0"/>
                    </a:lnTo>
                    <a:cubicBezTo>
                      <a:pt x="21048" y="0"/>
                      <a:pt x="21926" y="878"/>
                      <a:pt x="21926" y="1956"/>
                    </a:cubicBezTo>
                    <a:cubicBezTo>
                      <a:pt x="21926" y="3035"/>
                      <a:pt x="21048" y="3913"/>
                      <a:pt x="19970"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90" name="Freeform: Shape 489">
                <a:extLst>
                  <a:ext uri="{FF2B5EF4-FFF2-40B4-BE49-F238E27FC236}">
                    <a16:creationId xmlns:a16="http://schemas.microsoft.com/office/drawing/2014/main" id="{732B7B8F-4E3C-400D-BF52-0F4D9D76E159}"/>
                  </a:ext>
                </a:extLst>
              </p:cNvPr>
              <p:cNvSpPr/>
              <p:nvPr/>
            </p:nvSpPr>
            <p:spPr>
              <a:xfrm>
                <a:off x="1835003" y="4343175"/>
                <a:ext cx="21926" cy="3912"/>
              </a:xfrm>
              <a:custGeom>
                <a:avLst/>
                <a:gdLst>
                  <a:gd name="connsiteX0" fmla="*/ 19970 w 21926"/>
                  <a:gd name="connsiteY0" fmla="*/ 3913 h 3912"/>
                  <a:gd name="connsiteX1" fmla="*/ 1956 w 21926"/>
                  <a:gd name="connsiteY1" fmla="*/ 3913 h 3912"/>
                  <a:gd name="connsiteX2" fmla="*/ 0 w 21926"/>
                  <a:gd name="connsiteY2" fmla="*/ 1956 h 3912"/>
                  <a:gd name="connsiteX3" fmla="*/ 1956 w 21926"/>
                  <a:gd name="connsiteY3" fmla="*/ 0 h 3912"/>
                  <a:gd name="connsiteX4" fmla="*/ 19970 w 21926"/>
                  <a:gd name="connsiteY4" fmla="*/ 0 h 3912"/>
                  <a:gd name="connsiteX5" fmla="*/ 21926 w 21926"/>
                  <a:gd name="connsiteY5" fmla="*/ 1956 h 3912"/>
                  <a:gd name="connsiteX6" fmla="*/ 19970 w 21926"/>
                  <a:gd name="connsiteY6" fmla="*/ 3913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26" h="3912">
                    <a:moveTo>
                      <a:pt x="19970" y="3913"/>
                    </a:moveTo>
                    <a:lnTo>
                      <a:pt x="1956" y="3913"/>
                    </a:lnTo>
                    <a:cubicBezTo>
                      <a:pt x="878" y="3913"/>
                      <a:pt x="0" y="3035"/>
                      <a:pt x="0" y="1956"/>
                    </a:cubicBezTo>
                    <a:cubicBezTo>
                      <a:pt x="0" y="878"/>
                      <a:pt x="878" y="0"/>
                      <a:pt x="1956" y="0"/>
                    </a:cubicBezTo>
                    <a:lnTo>
                      <a:pt x="19970" y="0"/>
                    </a:lnTo>
                    <a:cubicBezTo>
                      <a:pt x="21048" y="0"/>
                      <a:pt x="21926" y="878"/>
                      <a:pt x="21926" y="1956"/>
                    </a:cubicBezTo>
                    <a:cubicBezTo>
                      <a:pt x="21926" y="3035"/>
                      <a:pt x="21048" y="3913"/>
                      <a:pt x="19970"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91" name="Freeform: Shape 490">
                <a:extLst>
                  <a:ext uri="{FF2B5EF4-FFF2-40B4-BE49-F238E27FC236}">
                    <a16:creationId xmlns:a16="http://schemas.microsoft.com/office/drawing/2014/main" id="{E9C2EF09-FD11-415F-B683-D3A66121E7C5}"/>
                  </a:ext>
                </a:extLst>
              </p:cNvPr>
              <p:cNvSpPr/>
              <p:nvPr/>
            </p:nvSpPr>
            <p:spPr>
              <a:xfrm>
                <a:off x="2487759" y="4511305"/>
                <a:ext cx="21926" cy="3912"/>
              </a:xfrm>
              <a:custGeom>
                <a:avLst/>
                <a:gdLst>
                  <a:gd name="connsiteX0" fmla="*/ 19970 w 21926"/>
                  <a:gd name="connsiteY0" fmla="*/ 3913 h 3912"/>
                  <a:gd name="connsiteX1" fmla="*/ 1956 w 21926"/>
                  <a:gd name="connsiteY1" fmla="*/ 3913 h 3912"/>
                  <a:gd name="connsiteX2" fmla="*/ 0 w 21926"/>
                  <a:gd name="connsiteY2" fmla="*/ 1956 h 3912"/>
                  <a:gd name="connsiteX3" fmla="*/ 1956 w 21926"/>
                  <a:gd name="connsiteY3" fmla="*/ 0 h 3912"/>
                  <a:gd name="connsiteX4" fmla="*/ 19970 w 21926"/>
                  <a:gd name="connsiteY4" fmla="*/ 0 h 3912"/>
                  <a:gd name="connsiteX5" fmla="*/ 21926 w 21926"/>
                  <a:gd name="connsiteY5" fmla="*/ 1956 h 3912"/>
                  <a:gd name="connsiteX6" fmla="*/ 19970 w 21926"/>
                  <a:gd name="connsiteY6" fmla="*/ 3913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26" h="3912">
                    <a:moveTo>
                      <a:pt x="19970" y="3913"/>
                    </a:moveTo>
                    <a:lnTo>
                      <a:pt x="1956" y="3913"/>
                    </a:lnTo>
                    <a:cubicBezTo>
                      <a:pt x="878" y="3913"/>
                      <a:pt x="0" y="3035"/>
                      <a:pt x="0" y="1956"/>
                    </a:cubicBezTo>
                    <a:cubicBezTo>
                      <a:pt x="0" y="878"/>
                      <a:pt x="878" y="0"/>
                      <a:pt x="1956" y="0"/>
                    </a:cubicBezTo>
                    <a:lnTo>
                      <a:pt x="19970" y="0"/>
                    </a:lnTo>
                    <a:cubicBezTo>
                      <a:pt x="21048" y="0"/>
                      <a:pt x="21926" y="878"/>
                      <a:pt x="21926" y="1956"/>
                    </a:cubicBezTo>
                    <a:cubicBezTo>
                      <a:pt x="21926" y="3035"/>
                      <a:pt x="21048" y="3913"/>
                      <a:pt x="19970"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92" name="Freeform: Shape 491">
                <a:extLst>
                  <a:ext uri="{FF2B5EF4-FFF2-40B4-BE49-F238E27FC236}">
                    <a16:creationId xmlns:a16="http://schemas.microsoft.com/office/drawing/2014/main" id="{D9D2652F-778B-42C7-B61B-FAC538A17D52}"/>
                  </a:ext>
                </a:extLst>
              </p:cNvPr>
              <p:cNvSpPr/>
              <p:nvPr/>
            </p:nvSpPr>
            <p:spPr>
              <a:xfrm>
                <a:off x="3052820" y="4343175"/>
                <a:ext cx="21926" cy="3912"/>
              </a:xfrm>
              <a:custGeom>
                <a:avLst/>
                <a:gdLst>
                  <a:gd name="connsiteX0" fmla="*/ 19970 w 21926"/>
                  <a:gd name="connsiteY0" fmla="*/ 3913 h 3912"/>
                  <a:gd name="connsiteX1" fmla="*/ 1956 w 21926"/>
                  <a:gd name="connsiteY1" fmla="*/ 3913 h 3912"/>
                  <a:gd name="connsiteX2" fmla="*/ 0 w 21926"/>
                  <a:gd name="connsiteY2" fmla="*/ 1956 h 3912"/>
                  <a:gd name="connsiteX3" fmla="*/ 1956 w 21926"/>
                  <a:gd name="connsiteY3" fmla="*/ 0 h 3912"/>
                  <a:gd name="connsiteX4" fmla="*/ 19970 w 21926"/>
                  <a:gd name="connsiteY4" fmla="*/ 0 h 3912"/>
                  <a:gd name="connsiteX5" fmla="*/ 21926 w 21926"/>
                  <a:gd name="connsiteY5" fmla="*/ 1956 h 3912"/>
                  <a:gd name="connsiteX6" fmla="*/ 19970 w 21926"/>
                  <a:gd name="connsiteY6" fmla="*/ 3913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26" h="3912">
                    <a:moveTo>
                      <a:pt x="19970" y="3913"/>
                    </a:moveTo>
                    <a:lnTo>
                      <a:pt x="1956" y="3913"/>
                    </a:lnTo>
                    <a:cubicBezTo>
                      <a:pt x="878" y="3913"/>
                      <a:pt x="0" y="3035"/>
                      <a:pt x="0" y="1956"/>
                    </a:cubicBezTo>
                    <a:cubicBezTo>
                      <a:pt x="0" y="878"/>
                      <a:pt x="878" y="0"/>
                      <a:pt x="1956" y="0"/>
                    </a:cubicBezTo>
                    <a:lnTo>
                      <a:pt x="19970" y="0"/>
                    </a:lnTo>
                    <a:cubicBezTo>
                      <a:pt x="21048" y="0"/>
                      <a:pt x="21926" y="878"/>
                      <a:pt x="21926" y="1956"/>
                    </a:cubicBezTo>
                    <a:cubicBezTo>
                      <a:pt x="21926" y="3035"/>
                      <a:pt x="21048" y="3913"/>
                      <a:pt x="19970"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93" name="Freeform: Shape 492">
                <a:extLst>
                  <a:ext uri="{FF2B5EF4-FFF2-40B4-BE49-F238E27FC236}">
                    <a16:creationId xmlns:a16="http://schemas.microsoft.com/office/drawing/2014/main" id="{EC8E64B1-8BCB-4E70-BAB7-35854B452608}"/>
                  </a:ext>
                </a:extLst>
              </p:cNvPr>
              <p:cNvSpPr/>
              <p:nvPr/>
            </p:nvSpPr>
            <p:spPr>
              <a:xfrm>
                <a:off x="2935537" y="4379187"/>
                <a:ext cx="79495" cy="3912"/>
              </a:xfrm>
              <a:custGeom>
                <a:avLst/>
                <a:gdLst>
                  <a:gd name="connsiteX0" fmla="*/ 77539 w 79495"/>
                  <a:gd name="connsiteY0" fmla="*/ 3913 h 3912"/>
                  <a:gd name="connsiteX1" fmla="*/ 1956 w 79495"/>
                  <a:gd name="connsiteY1" fmla="*/ 3913 h 3912"/>
                  <a:gd name="connsiteX2" fmla="*/ 0 w 79495"/>
                  <a:gd name="connsiteY2" fmla="*/ 1956 h 3912"/>
                  <a:gd name="connsiteX3" fmla="*/ 1956 w 79495"/>
                  <a:gd name="connsiteY3" fmla="*/ 0 h 3912"/>
                  <a:gd name="connsiteX4" fmla="*/ 77539 w 79495"/>
                  <a:gd name="connsiteY4" fmla="*/ 0 h 3912"/>
                  <a:gd name="connsiteX5" fmla="*/ 79495 w 79495"/>
                  <a:gd name="connsiteY5" fmla="*/ 1956 h 3912"/>
                  <a:gd name="connsiteX6" fmla="*/ 77539 w 79495"/>
                  <a:gd name="connsiteY6" fmla="*/ 3913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495" h="3912">
                    <a:moveTo>
                      <a:pt x="77539" y="3913"/>
                    </a:moveTo>
                    <a:lnTo>
                      <a:pt x="1956" y="3913"/>
                    </a:lnTo>
                    <a:cubicBezTo>
                      <a:pt x="878" y="3913"/>
                      <a:pt x="0" y="3035"/>
                      <a:pt x="0" y="1956"/>
                    </a:cubicBezTo>
                    <a:cubicBezTo>
                      <a:pt x="0" y="878"/>
                      <a:pt x="878" y="0"/>
                      <a:pt x="1956" y="0"/>
                    </a:cubicBezTo>
                    <a:lnTo>
                      <a:pt x="77539" y="0"/>
                    </a:lnTo>
                    <a:cubicBezTo>
                      <a:pt x="78617" y="0"/>
                      <a:pt x="79495" y="878"/>
                      <a:pt x="79495" y="1956"/>
                    </a:cubicBezTo>
                    <a:cubicBezTo>
                      <a:pt x="79495" y="3035"/>
                      <a:pt x="78617" y="3913"/>
                      <a:pt x="77539"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94" name="Freeform: Shape 493">
                <a:extLst>
                  <a:ext uri="{FF2B5EF4-FFF2-40B4-BE49-F238E27FC236}">
                    <a16:creationId xmlns:a16="http://schemas.microsoft.com/office/drawing/2014/main" id="{D8BDB69A-786A-4FF3-A521-08F89F276680}"/>
                  </a:ext>
                </a:extLst>
              </p:cNvPr>
              <p:cNvSpPr/>
              <p:nvPr/>
            </p:nvSpPr>
            <p:spPr>
              <a:xfrm>
                <a:off x="2338978" y="4304236"/>
                <a:ext cx="54318" cy="3912"/>
              </a:xfrm>
              <a:custGeom>
                <a:avLst/>
                <a:gdLst>
                  <a:gd name="connsiteX0" fmla="*/ 52362 w 54318"/>
                  <a:gd name="connsiteY0" fmla="*/ 3913 h 3912"/>
                  <a:gd name="connsiteX1" fmla="*/ 1956 w 54318"/>
                  <a:gd name="connsiteY1" fmla="*/ 3913 h 3912"/>
                  <a:gd name="connsiteX2" fmla="*/ 0 w 54318"/>
                  <a:gd name="connsiteY2" fmla="*/ 1956 h 3912"/>
                  <a:gd name="connsiteX3" fmla="*/ 1956 w 54318"/>
                  <a:gd name="connsiteY3" fmla="*/ 0 h 3912"/>
                  <a:gd name="connsiteX4" fmla="*/ 52362 w 54318"/>
                  <a:gd name="connsiteY4" fmla="*/ 0 h 3912"/>
                  <a:gd name="connsiteX5" fmla="*/ 54318 w 54318"/>
                  <a:gd name="connsiteY5" fmla="*/ 1956 h 3912"/>
                  <a:gd name="connsiteX6" fmla="*/ 52362 w 54318"/>
                  <a:gd name="connsiteY6" fmla="*/ 3913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18" h="3912">
                    <a:moveTo>
                      <a:pt x="52362" y="3913"/>
                    </a:moveTo>
                    <a:lnTo>
                      <a:pt x="1956" y="3913"/>
                    </a:lnTo>
                    <a:cubicBezTo>
                      <a:pt x="878" y="3913"/>
                      <a:pt x="0" y="3035"/>
                      <a:pt x="0" y="1956"/>
                    </a:cubicBezTo>
                    <a:cubicBezTo>
                      <a:pt x="0" y="878"/>
                      <a:pt x="878" y="0"/>
                      <a:pt x="1956" y="0"/>
                    </a:cubicBezTo>
                    <a:lnTo>
                      <a:pt x="52362" y="0"/>
                    </a:lnTo>
                    <a:cubicBezTo>
                      <a:pt x="53440" y="0"/>
                      <a:pt x="54318" y="878"/>
                      <a:pt x="54318" y="1956"/>
                    </a:cubicBezTo>
                    <a:cubicBezTo>
                      <a:pt x="54318" y="3035"/>
                      <a:pt x="53440" y="3913"/>
                      <a:pt x="52362"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nvGrpSpPr>
              <p:cNvPr id="495" name="Group 494">
                <a:extLst>
                  <a:ext uri="{FF2B5EF4-FFF2-40B4-BE49-F238E27FC236}">
                    <a16:creationId xmlns:a16="http://schemas.microsoft.com/office/drawing/2014/main" id="{92211F7E-58C8-4246-B5A8-43D350BC80B2}"/>
                  </a:ext>
                </a:extLst>
              </p:cNvPr>
              <p:cNvGrpSpPr/>
              <p:nvPr/>
            </p:nvGrpSpPr>
            <p:grpSpPr>
              <a:xfrm>
                <a:off x="1583051" y="4349158"/>
                <a:ext cx="120563" cy="104721"/>
                <a:chOff x="1541630" y="4349158"/>
                <a:chExt cx="120563" cy="104721"/>
              </a:xfrm>
            </p:grpSpPr>
            <p:sp>
              <p:nvSpPr>
                <p:cNvPr id="643" name="Freeform: Shape 642">
                  <a:extLst>
                    <a:ext uri="{FF2B5EF4-FFF2-40B4-BE49-F238E27FC236}">
                      <a16:creationId xmlns:a16="http://schemas.microsoft.com/office/drawing/2014/main" id="{9E8B7581-BE53-4BA8-B418-5E120263F3F3}"/>
                    </a:ext>
                  </a:extLst>
                </p:cNvPr>
                <p:cNvSpPr/>
                <p:nvPr/>
              </p:nvSpPr>
              <p:spPr>
                <a:xfrm>
                  <a:off x="1636525" y="4349158"/>
                  <a:ext cx="25668" cy="25668"/>
                </a:xfrm>
                <a:custGeom>
                  <a:avLst/>
                  <a:gdLst>
                    <a:gd name="connsiteX0" fmla="*/ 12832 w 25668"/>
                    <a:gd name="connsiteY0" fmla="*/ 25663 h 25668"/>
                    <a:gd name="connsiteX1" fmla="*/ 11451 w 25668"/>
                    <a:gd name="connsiteY1" fmla="*/ 25088 h 25668"/>
                    <a:gd name="connsiteX2" fmla="*/ 575 w 25668"/>
                    <a:gd name="connsiteY2" fmla="*/ 14212 h 25668"/>
                    <a:gd name="connsiteX3" fmla="*/ 0 w 25668"/>
                    <a:gd name="connsiteY3" fmla="*/ 12831 h 25668"/>
                    <a:gd name="connsiteX4" fmla="*/ 575 w 25668"/>
                    <a:gd name="connsiteY4" fmla="*/ 11450 h 25668"/>
                    <a:gd name="connsiteX5" fmla="*/ 11451 w 25668"/>
                    <a:gd name="connsiteY5" fmla="*/ 574 h 25668"/>
                    <a:gd name="connsiteX6" fmla="*/ 14219 w 25668"/>
                    <a:gd name="connsiteY6" fmla="*/ 574 h 25668"/>
                    <a:gd name="connsiteX7" fmla="*/ 25095 w 25668"/>
                    <a:gd name="connsiteY7" fmla="*/ 11450 h 25668"/>
                    <a:gd name="connsiteX8" fmla="*/ 25095 w 25668"/>
                    <a:gd name="connsiteY8" fmla="*/ 14218 h 25668"/>
                    <a:gd name="connsiteX9" fmla="*/ 14219 w 25668"/>
                    <a:gd name="connsiteY9" fmla="*/ 25093 h 25668"/>
                    <a:gd name="connsiteX10" fmla="*/ 12838 w 25668"/>
                    <a:gd name="connsiteY10" fmla="*/ 25669 h 25668"/>
                    <a:gd name="connsiteX11" fmla="*/ 4719 w 25668"/>
                    <a:gd name="connsiteY11" fmla="*/ 12831 h 25668"/>
                    <a:gd name="connsiteX12" fmla="*/ 12832 w 25668"/>
                    <a:gd name="connsiteY12" fmla="*/ 20944 h 25668"/>
                    <a:gd name="connsiteX13" fmla="*/ 20941 w 25668"/>
                    <a:gd name="connsiteY13" fmla="*/ 12831 h 25668"/>
                    <a:gd name="connsiteX14" fmla="*/ 12832 w 25668"/>
                    <a:gd name="connsiteY14" fmla="*/ 4723 h 25668"/>
                    <a:gd name="connsiteX15" fmla="*/ 4719 w 25668"/>
                    <a:gd name="connsiteY15" fmla="*/ 12831 h 2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668" h="25668">
                      <a:moveTo>
                        <a:pt x="12832" y="25663"/>
                      </a:moveTo>
                      <a:cubicBezTo>
                        <a:pt x="12314" y="25663"/>
                        <a:pt x="11816" y="25458"/>
                        <a:pt x="11451" y="25088"/>
                      </a:cubicBezTo>
                      <a:lnTo>
                        <a:pt x="575" y="14212"/>
                      </a:lnTo>
                      <a:cubicBezTo>
                        <a:pt x="211" y="13848"/>
                        <a:pt x="0" y="13350"/>
                        <a:pt x="0" y="12831"/>
                      </a:cubicBezTo>
                      <a:cubicBezTo>
                        <a:pt x="0" y="12312"/>
                        <a:pt x="205" y="11814"/>
                        <a:pt x="575" y="11450"/>
                      </a:cubicBezTo>
                      <a:lnTo>
                        <a:pt x="11451" y="574"/>
                      </a:lnTo>
                      <a:cubicBezTo>
                        <a:pt x="12216" y="-191"/>
                        <a:pt x="13454" y="-191"/>
                        <a:pt x="14219" y="574"/>
                      </a:cubicBezTo>
                      <a:lnTo>
                        <a:pt x="25095" y="11450"/>
                      </a:lnTo>
                      <a:cubicBezTo>
                        <a:pt x="25860" y="12215"/>
                        <a:pt x="25860" y="13452"/>
                        <a:pt x="25095" y="14218"/>
                      </a:cubicBezTo>
                      <a:lnTo>
                        <a:pt x="14219" y="25093"/>
                      </a:lnTo>
                      <a:cubicBezTo>
                        <a:pt x="13854" y="25458"/>
                        <a:pt x="13356" y="25669"/>
                        <a:pt x="12838" y="25669"/>
                      </a:cubicBezTo>
                      <a:close/>
                      <a:moveTo>
                        <a:pt x="4719" y="12831"/>
                      </a:moveTo>
                      <a:lnTo>
                        <a:pt x="12832" y="20944"/>
                      </a:lnTo>
                      <a:lnTo>
                        <a:pt x="20941" y="12831"/>
                      </a:lnTo>
                      <a:lnTo>
                        <a:pt x="12832" y="4723"/>
                      </a:lnTo>
                      <a:lnTo>
                        <a:pt x="4719" y="12831"/>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44" name="Freeform: Shape 643">
                  <a:extLst>
                    <a:ext uri="{FF2B5EF4-FFF2-40B4-BE49-F238E27FC236}">
                      <a16:creationId xmlns:a16="http://schemas.microsoft.com/office/drawing/2014/main" id="{EF161DB9-86DE-478A-A1EB-623A39F22D86}"/>
                    </a:ext>
                  </a:extLst>
                </p:cNvPr>
                <p:cNvSpPr/>
                <p:nvPr/>
              </p:nvSpPr>
              <p:spPr>
                <a:xfrm>
                  <a:off x="1594079" y="4449967"/>
                  <a:ext cx="21926" cy="3912"/>
                </a:xfrm>
                <a:custGeom>
                  <a:avLst/>
                  <a:gdLst>
                    <a:gd name="connsiteX0" fmla="*/ 19970 w 21926"/>
                    <a:gd name="connsiteY0" fmla="*/ 3913 h 3912"/>
                    <a:gd name="connsiteX1" fmla="*/ 1956 w 21926"/>
                    <a:gd name="connsiteY1" fmla="*/ 3913 h 3912"/>
                    <a:gd name="connsiteX2" fmla="*/ 0 w 21926"/>
                    <a:gd name="connsiteY2" fmla="*/ 1956 h 3912"/>
                    <a:gd name="connsiteX3" fmla="*/ 1956 w 21926"/>
                    <a:gd name="connsiteY3" fmla="*/ 0 h 3912"/>
                    <a:gd name="connsiteX4" fmla="*/ 19970 w 21926"/>
                    <a:gd name="connsiteY4" fmla="*/ 0 h 3912"/>
                    <a:gd name="connsiteX5" fmla="*/ 21926 w 21926"/>
                    <a:gd name="connsiteY5" fmla="*/ 1956 h 3912"/>
                    <a:gd name="connsiteX6" fmla="*/ 19970 w 21926"/>
                    <a:gd name="connsiteY6" fmla="*/ 3913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26" h="3912">
                      <a:moveTo>
                        <a:pt x="19970" y="3913"/>
                      </a:moveTo>
                      <a:lnTo>
                        <a:pt x="1956" y="3913"/>
                      </a:lnTo>
                      <a:cubicBezTo>
                        <a:pt x="878" y="3913"/>
                        <a:pt x="0" y="3035"/>
                        <a:pt x="0" y="1956"/>
                      </a:cubicBezTo>
                      <a:cubicBezTo>
                        <a:pt x="0" y="878"/>
                        <a:pt x="878" y="0"/>
                        <a:pt x="1956" y="0"/>
                      </a:cubicBezTo>
                      <a:lnTo>
                        <a:pt x="19970" y="0"/>
                      </a:lnTo>
                      <a:cubicBezTo>
                        <a:pt x="21048" y="0"/>
                        <a:pt x="21926" y="878"/>
                        <a:pt x="21926" y="1956"/>
                      </a:cubicBezTo>
                      <a:cubicBezTo>
                        <a:pt x="21926" y="3035"/>
                        <a:pt x="21048" y="3913"/>
                        <a:pt x="19970"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45" name="Freeform: Shape 644">
                  <a:extLst>
                    <a:ext uri="{FF2B5EF4-FFF2-40B4-BE49-F238E27FC236}">
                      <a16:creationId xmlns:a16="http://schemas.microsoft.com/office/drawing/2014/main" id="{8F471CD3-30E9-47E8-ADF2-AA76845E0DB7}"/>
                    </a:ext>
                  </a:extLst>
                </p:cNvPr>
                <p:cNvSpPr/>
                <p:nvPr/>
              </p:nvSpPr>
              <p:spPr>
                <a:xfrm>
                  <a:off x="1541630" y="4424082"/>
                  <a:ext cx="54318" cy="3912"/>
                </a:xfrm>
                <a:custGeom>
                  <a:avLst/>
                  <a:gdLst>
                    <a:gd name="connsiteX0" fmla="*/ 52362 w 54318"/>
                    <a:gd name="connsiteY0" fmla="*/ 3913 h 3912"/>
                    <a:gd name="connsiteX1" fmla="*/ 1956 w 54318"/>
                    <a:gd name="connsiteY1" fmla="*/ 3913 h 3912"/>
                    <a:gd name="connsiteX2" fmla="*/ 0 w 54318"/>
                    <a:gd name="connsiteY2" fmla="*/ 1956 h 3912"/>
                    <a:gd name="connsiteX3" fmla="*/ 1956 w 54318"/>
                    <a:gd name="connsiteY3" fmla="*/ 0 h 3912"/>
                    <a:gd name="connsiteX4" fmla="*/ 52362 w 54318"/>
                    <a:gd name="connsiteY4" fmla="*/ 0 h 3912"/>
                    <a:gd name="connsiteX5" fmla="*/ 54318 w 54318"/>
                    <a:gd name="connsiteY5" fmla="*/ 1956 h 3912"/>
                    <a:gd name="connsiteX6" fmla="*/ 52362 w 54318"/>
                    <a:gd name="connsiteY6" fmla="*/ 3913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18" h="3912">
                      <a:moveTo>
                        <a:pt x="52362" y="3913"/>
                      </a:moveTo>
                      <a:lnTo>
                        <a:pt x="1956" y="3913"/>
                      </a:lnTo>
                      <a:cubicBezTo>
                        <a:pt x="878" y="3913"/>
                        <a:pt x="0" y="3035"/>
                        <a:pt x="0" y="1956"/>
                      </a:cubicBezTo>
                      <a:cubicBezTo>
                        <a:pt x="0" y="878"/>
                        <a:pt x="878" y="0"/>
                        <a:pt x="1956" y="0"/>
                      </a:cubicBezTo>
                      <a:lnTo>
                        <a:pt x="52362" y="0"/>
                      </a:lnTo>
                      <a:cubicBezTo>
                        <a:pt x="53440" y="0"/>
                        <a:pt x="54318" y="878"/>
                        <a:pt x="54318" y="1956"/>
                      </a:cubicBezTo>
                      <a:cubicBezTo>
                        <a:pt x="54318" y="3035"/>
                        <a:pt x="53440" y="3913"/>
                        <a:pt x="52362"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sp>
            <p:nvSpPr>
              <p:cNvPr id="496" name="Freeform: Shape 495">
                <a:extLst>
                  <a:ext uri="{FF2B5EF4-FFF2-40B4-BE49-F238E27FC236}">
                    <a16:creationId xmlns:a16="http://schemas.microsoft.com/office/drawing/2014/main" id="{0F728981-E905-4E6C-8908-92B21C7FC406}"/>
                  </a:ext>
                </a:extLst>
              </p:cNvPr>
              <p:cNvSpPr/>
              <p:nvPr/>
            </p:nvSpPr>
            <p:spPr>
              <a:xfrm>
                <a:off x="1854537" y="4319749"/>
                <a:ext cx="54318" cy="3912"/>
              </a:xfrm>
              <a:custGeom>
                <a:avLst/>
                <a:gdLst>
                  <a:gd name="connsiteX0" fmla="*/ 52362 w 54318"/>
                  <a:gd name="connsiteY0" fmla="*/ 3913 h 3912"/>
                  <a:gd name="connsiteX1" fmla="*/ 1956 w 54318"/>
                  <a:gd name="connsiteY1" fmla="*/ 3913 h 3912"/>
                  <a:gd name="connsiteX2" fmla="*/ 0 w 54318"/>
                  <a:gd name="connsiteY2" fmla="*/ 1956 h 3912"/>
                  <a:gd name="connsiteX3" fmla="*/ 1956 w 54318"/>
                  <a:gd name="connsiteY3" fmla="*/ 0 h 3912"/>
                  <a:gd name="connsiteX4" fmla="*/ 52362 w 54318"/>
                  <a:gd name="connsiteY4" fmla="*/ 0 h 3912"/>
                  <a:gd name="connsiteX5" fmla="*/ 54318 w 54318"/>
                  <a:gd name="connsiteY5" fmla="*/ 1956 h 3912"/>
                  <a:gd name="connsiteX6" fmla="*/ 52362 w 54318"/>
                  <a:gd name="connsiteY6" fmla="*/ 3913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18" h="3912">
                    <a:moveTo>
                      <a:pt x="52362" y="3913"/>
                    </a:moveTo>
                    <a:lnTo>
                      <a:pt x="1956" y="3913"/>
                    </a:lnTo>
                    <a:cubicBezTo>
                      <a:pt x="878" y="3913"/>
                      <a:pt x="0" y="3035"/>
                      <a:pt x="0" y="1956"/>
                    </a:cubicBezTo>
                    <a:cubicBezTo>
                      <a:pt x="0" y="878"/>
                      <a:pt x="878" y="0"/>
                      <a:pt x="1956" y="0"/>
                    </a:cubicBezTo>
                    <a:lnTo>
                      <a:pt x="52362" y="0"/>
                    </a:lnTo>
                    <a:cubicBezTo>
                      <a:pt x="53440" y="0"/>
                      <a:pt x="54318" y="878"/>
                      <a:pt x="54318" y="1956"/>
                    </a:cubicBezTo>
                    <a:cubicBezTo>
                      <a:pt x="54318" y="3035"/>
                      <a:pt x="53440" y="3913"/>
                      <a:pt x="52362" y="39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497" name="Freeform: Shape 496">
                <a:extLst>
                  <a:ext uri="{FF2B5EF4-FFF2-40B4-BE49-F238E27FC236}">
                    <a16:creationId xmlns:a16="http://schemas.microsoft.com/office/drawing/2014/main" id="{CF9F5817-D065-416E-ADA7-07D82C7B5D76}"/>
                  </a:ext>
                </a:extLst>
              </p:cNvPr>
              <p:cNvSpPr/>
              <p:nvPr/>
            </p:nvSpPr>
            <p:spPr>
              <a:xfrm>
                <a:off x="1936491" y="4551425"/>
                <a:ext cx="41059" cy="32920"/>
              </a:xfrm>
              <a:custGeom>
                <a:avLst/>
                <a:gdLst>
                  <a:gd name="connsiteX0" fmla="*/ 39442 w 41059"/>
                  <a:gd name="connsiteY0" fmla="*/ 19462 h 32920"/>
                  <a:gd name="connsiteX1" fmla="*/ 40346 w 41059"/>
                  <a:gd name="connsiteY1" fmla="*/ 15646 h 32920"/>
                  <a:gd name="connsiteX2" fmla="*/ 31858 w 41059"/>
                  <a:gd name="connsiteY2" fmla="*/ 7158 h 32920"/>
                  <a:gd name="connsiteX3" fmla="*/ 31765 w 41059"/>
                  <a:gd name="connsiteY3" fmla="*/ 7163 h 32920"/>
                  <a:gd name="connsiteX4" fmla="*/ 23390 w 41059"/>
                  <a:gd name="connsiteY4" fmla="*/ 0 h 32920"/>
                  <a:gd name="connsiteX5" fmla="*/ 16227 w 41059"/>
                  <a:gd name="connsiteY5" fmla="*/ 3964 h 32920"/>
                  <a:gd name="connsiteX6" fmla="*/ 12083 w 41059"/>
                  <a:gd name="connsiteY6" fmla="*/ 2881 h 32920"/>
                  <a:gd name="connsiteX7" fmla="*/ 3595 w 41059"/>
                  <a:gd name="connsiteY7" fmla="*/ 11369 h 32920"/>
                  <a:gd name="connsiteX8" fmla="*/ 4144 w 41059"/>
                  <a:gd name="connsiteY8" fmla="*/ 14322 h 32920"/>
                  <a:gd name="connsiteX9" fmla="*/ 0 w 41059"/>
                  <a:gd name="connsiteY9" fmla="*/ 22589 h 32920"/>
                  <a:gd name="connsiteX10" fmla="*/ 10332 w 41059"/>
                  <a:gd name="connsiteY10" fmla="*/ 32921 h 32920"/>
                  <a:gd name="connsiteX11" fmla="*/ 32571 w 41059"/>
                  <a:gd name="connsiteY11" fmla="*/ 32921 h 32920"/>
                  <a:gd name="connsiteX12" fmla="*/ 41059 w 41059"/>
                  <a:gd name="connsiteY12" fmla="*/ 24432 h 32920"/>
                  <a:gd name="connsiteX13" fmla="*/ 39442 w 41059"/>
                  <a:gd name="connsiteY13" fmla="*/ 19457 h 32920"/>
                  <a:gd name="connsiteX14" fmla="*/ 32571 w 41059"/>
                  <a:gd name="connsiteY14" fmla="*/ 29018 h 32920"/>
                  <a:gd name="connsiteX15" fmla="*/ 10332 w 41059"/>
                  <a:gd name="connsiteY15" fmla="*/ 29018 h 32920"/>
                  <a:gd name="connsiteX16" fmla="*/ 3913 w 41059"/>
                  <a:gd name="connsiteY16" fmla="*/ 22599 h 32920"/>
                  <a:gd name="connsiteX17" fmla="*/ 7271 w 41059"/>
                  <a:gd name="connsiteY17" fmla="*/ 16956 h 32920"/>
                  <a:gd name="connsiteX18" fmla="*/ 7590 w 41059"/>
                  <a:gd name="connsiteY18" fmla="*/ 16740 h 32920"/>
                  <a:gd name="connsiteX19" fmla="*/ 7764 w 41059"/>
                  <a:gd name="connsiteY19" fmla="*/ 16658 h 32920"/>
                  <a:gd name="connsiteX20" fmla="*/ 8288 w 41059"/>
                  <a:gd name="connsiteY20" fmla="*/ 13942 h 32920"/>
                  <a:gd name="connsiteX21" fmla="*/ 7502 w 41059"/>
                  <a:gd name="connsiteY21" fmla="*/ 11379 h 32920"/>
                  <a:gd name="connsiteX22" fmla="*/ 12078 w 41059"/>
                  <a:gd name="connsiteY22" fmla="*/ 6804 h 32920"/>
                  <a:gd name="connsiteX23" fmla="*/ 15426 w 41059"/>
                  <a:gd name="connsiteY23" fmla="*/ 8257 h 32920"/>
                  <a:gd name="connsiteX24" fmla="*/ 17623 w 41059"/>
                  <a:gd name="connsiteY24" fmla="*/ 8699 h 32920"/>
                  <a:gd name="connsiteX25" fmla="*/ 18958 w 41059"/>
                  <a:gd name="connsiteY25" fmla="*/ 7328 h 32920"/>
                  <a:gd name="connsiteX26" fmla="*/ 23385 w 41059"/>
                  <a:gd name="connsiteY26" fmla="*/ 3923 h 32920"/>
                  <a:gd name="connsiteX27" fmla="*/ 27960 w 41059"/>
                  <a:gd name="connsiteY27" fmla="*/ 8498 h 32920"/>
                  <a:gd name="connsiteX28" fmla="*/ 27940 w 41059"/>
                  <a:gd name="connsiteY28" fmla="*/ 8940 h 32920"/>
                  <a:gd name="connsiteX29" fmla="*/ 27940 w 41059"/>
                  <a:gd name="connsiteY29" fmla="*/ 9125 h 32920"/>
                  <a:gd name="connsiteX30" fmla="*/ 28001 w 41059"/>
                  <a:gd name="connsiteY30" fmla="*/ 10024 h 32920"/>
                  <a:gd name="connsiteX31" fmla="*/ 30461 w 41059"/>
                  <a:gd name="connsiteY31" fmla="*/ 11292 h 32920"/>
                  <a:gd name="connsiteX32" fmla="*/ 31847 w 41059"/>
                  <a:gd name="connsiteY32" fmla="*/ 11076 h 32920"/>
                  <a:gd name="connsiteX33" fmla="*/ 36423 w 41059"/>
                  <a:gd name="connsiteY33" fmla="*/ 15651 h 32920"/>
                  <a:gd name="connsiteX34" fmla="*/ 35570 w 41059"/>
                  <a:gd name="connsiteY34" fmla="*/ 18311 h 32920"/>
                  <a:gd name="connsiteX35" fmla="*/ 35668 w 41059"/>
                  <a:gd name="connsiteY35" fmla="*/ 21084 h 32920"/>
                  <a:gd name="connsiteX36" fmla="*/ 37136 w 41059"/>
                  <a:gd name="connsiteY36" fmla="*/ 24443 h 32920"/>
                  <a:gd name="connsiteX37" fmla="*/ 32561 w 41059"/>
                  <a:gd name="connsiteY37" fmla="*/ 29018 h 3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1059" h="32920">
                    <a:moveTo>
                      <a:pt x="39442" y="19462"/>
                    </a:moveTo>
                    <a:cubicBezTo>
                      <a:pt x="40032" y="18286"/>
                      <a:pt x="40346" y="16992"/>
                      <a:pt x="40346" y="15646"/>
                    </a:cubicBezTo>
                    <a:cubicBezTo>
                      <a:pt x="40346" y="10963"/>
                      <a:pt x="36536" y="7158"/>
                      <a:pt x="31858" y="7158"/>
                    </a:cubicBezTo>
                    <a:cubicBezTo>
                      <a:pt x="31827" y="7158"/>
                      <a:pt x="31796" y="7163"/>
                      <a:pt x="31765" y="7163"/>
                    </a:cubicBezTo>
                    <a:cubicBezTo>
                      <a:pt x="31123" y="3112"/>
                      <a:pt x="27621" y="0"/>
                      <a:pt x="23390" y="0"/>
                    </a:cubicBezTo>
                    <a:cubicBezTo>
                      <a:pt x="20422" y="0"/>
                      <a:pt x="17752" y="1551"/>
                      <a:pt x="16227" y="3964"/>
                    </a:cubicBezTo>
                    <a:cubicBezTo>
                      <a:pt x="14969" y="3261"/>
                      <a:pt x="13541" y="2881"/>
                      <a:pt x="12083" y="2881"/>
                    </a:cubicBezTo>
                    <a:cubicBezTo>
                      <a:pt x="7400" y="2881"/>
                      <a:pt x="3595" y="6691"/>
                      <a:pt x="3595" y="11369"/>
                    </a:cubicBezTo>
                    <a:cubicBezTo>
                      <a:pt x="3595" y="12391"/>
                      <a:pt x="3795" y="13382"/>
                      <a:pt x="4144" y="14322"/>
                    </a:cubicBezTo>
                    <a:cubicBezTo>
                      <a:pt x="1556" y="16257"/>
                      <a:pt x="0" y="19302"/>
                      <a:pt x="0" y="22589"/>
                    </a:cubicBezTo>
                    <a:cubicBezTo>
                      <a:pt x="0" y="28284"/>
                      <a:pt x="4632" y="32921"/>
                      <a:pt x="10332" y="32921"/>
                    </a:cubicBezTo>
                    <a:lnTo>
                      <a:pt x="32571" y="32921"/>
                    </a:lnTo>
                    <a:cubicBezTo>
                      <a:pt x="37254" y="32921"/>
                      <a:pt x="41059" y="29115"/>
                      <a:pt x="41059" y="24432"/>
                    </a:cubicBezTo>
                    <a:cubicBezTo>
                      <a:pt x="41059" y="22635"/>
                      <a:pt x="40479" y="20894"/>
                      <a:pt x="39442" y="19457"/>
                    </a:cubicBezTo>
                    <a:close/>
                    <a:moveTo>
                      <a:pt x="32571" y="29018"/>
                    </a:moveTo>
                    <a:lnTo>
                      <a:pt x="10332" y="29018"/>
                    </a:lnTo>
                    <a:cubicBezTo>
                      <a:pt x="6794" y="29018"/>
                      <a:pt x="3913" y="26137"/>
                      <a:pt x="3913" y="22599"/>
                    </a:cubicBezTo>
                    <a:cubicBezTo>
                      <a:pt x="3913" y="20242"/>
                      <a:pt x="5202" y="18080"/>
                      <a:pt x="7271" y="16956"/>
                    </a:cubicBezTo>
                    <a:cubicBezTo>
                      <a:pt x="7384" y="16894"/>
                      <a:pt x="7492" y="16817"/>
                      <a:pt x="7590" y="16740"/>
                    </a:cubicBezTo>
                    <a:cubicBezTo>
                      <a:pt x="7646" y="16709"/>
                      <a:pt x="7708" y="16694"/>
                      <a:pt x="7764" y="16658"/>
                    </a:cubicBezTo>
                    <a:cubicBezTo>
                      <a:pt x="8658" y="16052"/>
                      <a:pt x="8894" y="14835"/>
                      <a:pt x="8288" y="13942"/>
                    </a:cubicBezTo>
                    <a:cubicBezTo>
                      <a:pt x="7774" y="13182"/>
                      <a:pt x="7502" y="12298"/>
                      <a:pt x="7502" y="11379"/>
                    </a:cubicBezTo>
                    <a:cubicBezTo>
                      <a:pt x="7502" y="8858"/>
                      <a:pt x="9556" y="6804"/>
                      <a:pt x="12078" y="6804"/>
                    </a:cubicBezTo>
                    <a:cubicBezTo>
                      <a:pt x="13361" y="6804"/>
                      <a:pt x="14547" y="7322"/>
                      <a:pt x="15426" y="8257"/>
                    </a:cubicBezTo>
                    <a:cubicBezTo>
                      <a:pt x="16006" y="8878"/>
                      <a:pt x="16889" y="9017"/>
                      <a:pt x="17623" y="8699"/>
                    </a:cubicBezTo>
                    <a:cubicBezTo>
                      <a:pt x="18255" y="8509"/>
                      <a:pt x="18779" y="8011"/>
                      <a:pt x="18958" y="7328"/>
                    </a:cubicBezTo>
                    <a:cubicBezTo>
                      <a:pt x="19487" y="5325"/>
                      <a:pt x="21305" y="3923"/>
                      <a:pt x="23385" y="3923"/>
                    </a:cubicBezTo>
                    <a:cubicBezTo>
                      <a:pt x="25906" y="3923"/>
                      <a:pt x="27960" y="5977"/>
                      <a:pt x="27960" y="8498"/>
                    </a:cubicBezTo>
                    <a:cubicBezTo>
                      <a:pt x="27960" y="8647"/>
                      <a:pt x="27955" y="8796"/>
                      <a:pt x="27940" y="8940"/>
                    </a:cubicBezTo>
                    <a:cubicBezTo>
                      <a:pt x="27934" y="9002"/>
                      <a:pt x="27940" y="9063"/>
                      <a:pt x="27940" y="9125"/>
                    </a:cubicBezTo>
                    <a:cubicBezTo>
                      <a:pt x="27893" y="9418"/>
                      <a:pt x="27904" y="9721"/>
                      <a:pt x="28001" y="10024"/>
                    </a:cubicBezTo>
                    <a:cubicBezTo>
                      <a:pt x="28330" y="11051"/>
                      <a:pt x="29429" y="11621"/>
                      <a:pt x="30461" y="11292"/>
                    </a:cubicBezTo>
                    <a:cubicBezTo>
                      <a:pt x="30908" y="11148"/>
                      <a:pt x="31370" y="11076"/>
                      <a:pt x="31847" y="11076"/>
                    </a:cubicBezTo>
                    <a:cubicBezTo>
                      <a:pt x="34369" y="11076"/>
                      <a:pt x="36423" y="13130"/>
                      <a:pt x="36423" y="15651"/>
                    </a:cubicBezTo>
                    <a:cubicBezTo>
                      <a:pt x="36423" y="16612"/>
                      <a:pt x="36130" y="17531"/>
                      <a:pt x="35570" y="18311"/>
                    </a:cubicBezTo>
                    <a:cubicBezTo>
                      <a:pt x="34826" y="19112"/>
                      <a:pt x="34877" y="20350"/>
                      <a:pt x="35668" y="21084"/>
                    </a:cubicBezTo>
                    <a:cubicBezTo>
                      <a:pt x="36613" y="21962"/>
                      <a:pt x="37136" y="23154"/>
                      <a:pt x="37136" y="24443"/>
                    </a:cubicBezTo>
                    <a:cubicBezTo>
                      <a:pt x="37136" y="26964"/>
                      <a:pt x="35082" y="29018"/>
                      <a:pt x="32561" y="29018"/>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nvGrpSpPr>
              <p:cNvPr id="498" name="Graphic 6">
                <a:extLst>
                  <a:ext uri="{FF2B5EF4-FFF2-40B4-BE49-F238E27FC236}">
                    <a16:creationId xmlns:a16="http://schemas.microsoft.com/office/drawing/2014/main" id="{892A2593-6353-4665-8538-A56E06C0572D}"/>
                  </a:ext>
                </a:extLst>
              </p:cNvPr>
              <p:cNvGrpSpPr/>
              <p:nvPr/>
            </p:nvGrpSpPr>
            <p:grpSpPr>
              <a:xfrm>
                <a:off x="1661955" y="4318643"/>
                <a:ext cx="251463" cy="581243"/>
                <a:chOff x="1635757" y="4318735"/>
                <a:chExt cx="251463" cy="581243"/>
              </a:xfrm>
              <a:solidFill>
                <a:srgbClr val="069688"/>
              </a:solidFill>
            </p:grpSpPr>
            <p:sp>
              <p:nvSpPr>
                <p:cNvPr id="634" name="Freeform: Shape 633">
                  <a:extLst>
                    <a:ext uri="{FF2B5EF4-FFF2-40B4-BE49-F238E27FC236}">
                      <a16:creationId xmlns:a16="http://schemas.microsoft.com/office/drawing/2014/main" id="{855B6940-710A-4EE8-91EF-B236A75795BF}"/>
                    </a:ext>
                  </a:extLst>
                </p:cNvPr>
                <p:cNvSpPr/>
                <p:nvPr/>
              </p:nvSpPr>
              <p:spPr>
                <a:xfrm>
                  <a:off x="1635757" y="4318735"/>
                  <a:ext cx="251463" cy="581243"/>
                </a:xfrm>
                <a:custGeom>
                  <a:avLst/>
                  <a:gdLst>
                    <a:gd name="connsiteX0" fmla="*/ 182505 w 251463"/>
                    <a:gd name="connsiteY0" fmla="*/ 149117 h 581243"/>
                    <a:gd name="connsiteX1" fmla="*/ 133368 w 251463"/>
                    <a:gd name="connsiteY1" fmla="*/ 135227 h 581243"/>
                    <a:gd name="connsiteX2" fmla="*/ 133337 w 251463"/>
                    <a:gd name="connsiteY2" fmla="*/ 135335 h 581243"/>
                    <a:gd name="connsiteX3" fmla="*/ 133897 w 251463"/>
                    <a:gd name="connsiteY3" fmla="*/ 1963 h 581243"/>
                    <a:gd name="connsiteX4" fmla="*/ 132670 w 251463"/>
                    <a:gd name="connsiteY4" fmla="*/ 141 h 581243"/>
                    <a:gd name="connsiteX5" fmla="*/ 130523 w 251463"/>
                    <a:gd name="connsiteY5" fmla="*/ 608 h 581243"/>
                    <a:gd name="connsiteX6" fmla="*/ 114764 w 251463"/>
                    <a:gd name="connsiteY6" fmla="*/ 86034 h 581243"/>
                    <a:gd name="connsiteX7" fmla="*/ 114492 w 251463"/>
                    <a:gd name="connsiteY7" fmla="*/ 136624 h 581243"/>
                    <a:gd name="connsiteX8" fmla="*/ 113947 w 251463"/>
                    <a:gd name="connsiteY8" fmla="*/ 136819 h 581243"/>
                    <a:gd name="connsiteX9" fmla="*/ 998 w 251463"/>
                    <a:gd name="connsiteY9" fmla="*/ 200190 h 581243"/>
                    <a:gd name="connsiteX10" fmla="*/ 2 w 251463"/>
                    <a:gd name="connsiteY10" fmla="*/ 201972 h 581243"/>
                    <a:gd name="connsiteX11" fmla="*/ 1131 w 251463"/>
                    <a:gd name="connsiteY11" fmla="*/ 203672 h 581243"/>
                    <a:gd name="connsiteX12" fmla="*/ 7617 w 251463"/>
                    <a:gd name="connsiteY12" fmla="*/ 204586 h 581243"/>
                    <a:gd name="connsiteX13" fmla="*/ 79142 w 251463"/>
                    <a:gd name="connsiteY13" fmla="*/ 177879 h 581243"/>
                    <a:gd name="connsiteX14" fmla="*/ 118292 w 251463"/>
                    <a:gd name="connsiteY14" fmla="*/ 155988 h 581243"/>
                    <a:gd name="connsiteX15" fmla="*/ 95590 w 251463"/>
                    <a:gd name="connsiteY15" fmla="*/ 579185 h 581243"/>
                    <a:gd name="connsiteX16" fmla="*/ 96124 w 251463"/>
                    <a:gd name="connsiteY16" fmla="*/ 580633 h 581243"/>
                    <a:gd name="connsiteX17" fmla="*/ 97546 w 251463"/>
                    <a:gd name="connsiteY17" fmla="*/ 581244 h 581243"/>
                    <a:gd name="connsiteX18" fmla="*/ 150606 w 251463"/>
                    <a:gd name="connsiteY18" fmla="*/ 581244 h 581243"/>
                    <a:gd name="connsiteX19" fmla="*/ 152023 w 251463"/>
                    <a:gd name="connsiteY19" fmla="*/ 580638 h 581243"/>
                    <a:gd name="connsiteX20" fmla="*/ 152558 w 251463"/>
                    <a:gd name="connsiteY20" fmla="*/ 579195 h 581243"/>
                    <a:gd name="connsiteX21" fmla="*/ 131483 w 251463"/>
                    <a:gd name="connsiteY21" fmla="*/ 154278 h 581243"/>
                    <a:gd name="connsiteX22" fmla="*/ 248977 w 251463"/>
                    <a:gd name="connsiteY22" fmla="*/ 187317 h 581243"/>
                    <a:gd name="connsiteX23" fmla="*/ 249506 w 251463"/>
                    <a:gd name="connsiteY23" fmla="*/ 187389 h 581243"/>
                    <a:gd name="connsiteX24" fmla="*/ 250770 w 251463"/>
                    <a:gd name="connsiteY24" fmla="*/ 186926 h 581243"/>
                    <a:gd name="connsiteX25" fmla="*/ 251453 w 251463"/>
                    <a:gd name="connsiteY25" fmla="*/ 185227 h 581243"/>
                    <a:gd name="connsiteX26" fmla="*/ 182510 w 251463"/>
                    <a:gd name="connsiteY26" fmla="*/ 149128 h 581243"/>
                    <a:gd name="connsiteX27" fmla="*/ 117177 w 251463"/>
                    <a:gd name="connsiteY27" fmla="*/ 142601 h 581243"/>
                    <a:gd name="connsiteX28" fmla="*/ 124027 w 251463"/>
                    <a:gd name="connsiteY28" fmla="*/ 135751 h 581243"/>
                    <a:gd name="connsiteX29" fmla="*/ 130878 w 251463"/>
                    <a:gd name="connsiteY29" fmla="*/ 142601 h 581243"/>
                    <a:gd name="connsiteX30" fmla="*/ 124027 w 251463"/>
                    <a:gd name="connsiteY30" fmla="*/ 149451 h 581243"/>
                    <a:gd name="connsiteX31" fmla="*/ 117177 w 251463"/>
                    <a:gd name="connsiteY31" fmla="*/ 142601 h 581243"/>
                    <a:gd name="connsiteX32" fmla="*/ 129953 w 251463"/>
                    <a:gd name="connsiteY32" fmla="*/ 9219 h 581243"/>
                    <a:gd name="connsiteX33" fmla="*/ 129435 w 251463"/>
                    <a:gd name="connsiteY33" fmla="*/ 133307 h 581243"/>
                    <a:gd name="connsiteX34" fmla="*/ 124027 w 251463"/>
                    <a:gd name="connsiteY34" fmla="*/ 131838 h 581243"/>
                    <a:gd name="connsiteX35" fmla="*/ 118415 w 251463"/>
                    <a:gd name="connsiteY35" fmla="*/ 133435 h 581243"/>
                    <a:gd name="connsiteX36" fmla="*/ 118672 w 251463"/>
                    <a:gd name="connsiteY36" fmla="*/ 86059 h 581243"/>
                    <a:gd name="connsiteX37" fmla="*/ 129953 w 251463"/>
                    <a:gd name="connsiteY37" fmla="*/ 9224 h 581243"/>
                    <a:gd name="connsiteX38" fmla="*/ 77227 w 251463"/>
                    <a:gd name="connsiteY38" fmla="*/ 174459 h 581243"/>
                    <a:gd name="connsiteX39" fmla="*/ 8136 w 251463"/>
                    <a:gd name="connsiteY39" fmla="*/ 200668 h 581243"/>
                    <a:gd name="connsiteX40" fmla="*/ 113311 w 251463"/>
                    <a:gd name="connsiteY40" fmla="*/ 141661 h 581243"/>
                    <a:gd name="connsiteX41" fmla="*/ 113264 w 251463"/>
                    <a:gd name="connsiteY41" fmla="*/ 142596 h 581243"/>
                    <a:gd name="connsiteX42" fmla="*/ 118122 w 251463"/>
                    <a:gd name="connsiteY42" fmla="*/ 151587 h 581243"/>
                    <a:gd name="connsiteX43" fmla="*/ 77222 w 251463"/>
                    <a:gd name="connsiteY43" fmla="*/ 174459 h 581243"/>
                    <a:gd name="connsiteX44" fmla="*/ 136464 w 251463"/>
                    <a:gd name="connsiteY44" fmla="*/ 577326 h 581243"/>
                    <a:gd name="connsiteX45" fmla="*/ 99605 w 251463"/>
                    <a:gd name="connsiteY45" fmla="*/ 577326 h 581243"/>
                    <a:gd name="connsiteX46" fmla="*/ 122353 w 251463"/>
                    <a:gd name="connsiteY46" fmla="*/ 153215 h 581243"/>
                    <a:gd name="connsiteX47" fmla="*/ 124033 w 251463"/>
                    <a:gd name="connsiteY47" fmla="*/ 153359 h 581243"/>
                    <a:gd name="connsiteX48" fmla="*/ 127494 w 251463"/>
                    <a:gd name="connsiteY48" fmla="*/ 152779 h 581243"/>
                    <a:gd name="connsiteX49" fmla="*/ 148547 w 251463"/>
                    <a:gd name="connsiteY49" fmla="*/ 577326 h 581243"/>
                    <a:gd name="connsiteX50" fmla="*/ 136470 w 251463"/>
                    <a:gd name="connsiteY50" fmla="*/ 577326 h 581243"/>
                    <a:gd name="connsiteX51" fmla="*/ 131602 w 251463"/>
                    <a:gd name="connsiteY51" fmla="*/ 150237 h 581243"/>
                    <a:gd name="connsiteX52" fmla="*/ 134790 w 251463"/>
                    <a:gd name="connsiteY52" fmla="*/ 142596 h 581243"/>
                    <a:gd name="connsiteX53" fmla="*/ 134349 w 251463"/>
                    <a:gd name="connsiteY53" fmla="*/ 139566 h 581243"/>
                    <a:gd name="connsiteX54" fmla="*/ 181437 w 251463"/>
                    <a:gd name="connsiteY54" fmla="*/ 152881 h 581243"/>
                    <a:gd name="connsiteX55" fmla="*/ 245419 w 251463"/>
                    <a:gd name="connsiteY55" fmla="*/ 182243 h 581243"/>
                    <a:gd name="connsiteX56" fmla="*/ 131596 w 251463"/>
                    <a:gd name="connsiteY56" fmla="*/ 150237 h 58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51463" h="581243">
                      <a:moveTo>
                        <a:pt x="182505" y="149117"/>
                      </a:moveTo>
                      <a:lnTo>
                        <a:pt x="133368" y="135227"/>
                      </a:lnTo>
                      <a:lnTo>
                        <a:pt x="133337" y="135335"/>
                      </a:lnTo>
                      <a:lnTo>
                        <a:pt x="133897" y="1963"/>
                      </a:lnTo>
                      <a:cubicBezTo>
                        <a:pt x="133897" y="1162"/>
                        <a:pt x="133414" y="438"/>
                        <a:pt x="132670" y="141"/>
                      </a:cubicBezTo>
                      <a:cubicBezTo>
                        <a:pt x="131925" y="-157"/>
                        <a:pt x="131073" y="28"/>
                        <a:pt x="130523" y="608"/>
                      </a:cubicBezTo>
                      <a:cubicBezTo>
                        <a:pt x="129897" y="1270"/>
                        <a:pt x="115123" y="17630"/>
                        <a:pt x="114764" y="86034"/>
                      </a:cubicBezTo>
                      <a:cubicBezTo>
                        <a:pt x="114671" y="104284"/>
                        <a:pt x="114512" y="132690"/>
                        <a:pt x="114492" y="136624"/>
                      </a:cubicBezTo>
                      <a:cubicBezTo>
                        <a:pt x="114307" y="136665"/>
                        <a:pt x="114122" y="136721"/>
                        <a:pt x="113947" y="136819"/>
                      </a:cubicBezTo>
                      <a:lnTo>
                        <a:pt x="998" y="200190"/>
                      </a:lnTo>
                      <a:cubicBezTo>
                        <a:pt x="361" y="200550"/>
                        <a:pt x="-29" y="201238"/>
                        <a:pt x="2" y="201972"/>
                      </a:cubicBezTo>
                      <a:cubicBezTo>
                        <a:pt x="27" y="202706"/>
                        <a:pt x="469" y="203364"/>
                        <a:pt x="1131" y="203672"/>
                      </a:cubicBezTo>
                      <a:cubicBezTo>
                        <a:pt x="1357" y="203774"/>
                        <a:pt x="3247" y="204586"/>
                        <a:pt x="7617" y="204586"/>
                      </a:cubicBezTo>
                      <a:cubicBezTo>
                        <a:pt x="17081" y="204586"/>
                        <a:pt x="38165" y="200801"/>
                        <a:pt x="79142" y="177879"/>
                      </a:cubicBezTo>
                      <a:lnTo>
                        <a:pt x="118292" y="155988"/>
                      </a:lnTo>
                      <a:lnTo>
                        <a:pt x="95590" y="579185"/>
                      </a:lnTo>
                      <a:cubicBezTo>
                        <a:pt x="95564" y="579719"/>
                        <a:pt x="95754" y="580247"/>
                        <a:pt x="96124" y="580633"/>
                      </a:cubicBezTo>
                      <a:cubicBezTo>
                        <a:pt x="96494" y="581023"/>
                        <a:pt x="97007" y="581244"/>
                        <a:pt x="97546" y="581244"/>
                      </a:cubicBezTo>
                      <a:lnTo>
                        <a:pt x="150606" y="581244"/>
                      </a:lnTo>
                      <a:cubicBezTo>
                        <a:pt x="151140" y="581244"/>
                        <a:pt x="151654" y="581023"/>
                        <a:pt x="152023" y="580638"/>
                      </a:cubicBezTo>
                      <a:cubicBezTo>
                        <a:pt x="152393" y="580247"/>
                        <a:pt x="152588" y="579729"/>
                        <a:pt x="152558" y="579195"/>
                      </a:cubicBezTo>
                      <a:lnTo>
                        <a:pt x="131483" y="154278"/>
                      </a:lnTo>
                      <a:lnTo>
                        <a:pt x="248977" y="187317"/>
                      </a:lnTo>
                      <a:cubicBezTo>
                        <a:pt x="249152" y="187363"/>
                        <a:pt x="249332" y="187389"/>
                        <a:pt x="249506" y="187389"/>
                      </a:cubicBezTo>
                      <a:cubicBezTo>
                        <a:pt x="249963" y="187389"/>
                        <a:pt x="250410" y="187229"/>
                        <a:pt x="250770" y="186926"/>
                      </a:cubicBezTo>
                      <a:cubicBezTo>
                        <a:pt x="251268" y="186505"/>
                        <a:pt x="251519" y="185869"/>
                        <a:pt x="251453" y="185227"/>
                      </a:cubicBezTo>
                      <a:cubicBezTo>
                        <a:pt x="251268" y="183476"/>
                        <a:pt x="247740" y="167557"/>
                        <a:pt x="182510" y="149128"/>
                      </a:cubicBezTo>
                      <a:close/>
                      <a:moveTo>
                        <a:pt x="117177" y="142601"/>
                      </a:moveTo>
                      <a:cubicBezTo>
                        <a:pt x="117177" y="138822"/>
                        <a:pt x="120253" y="135751"/>
                        <a:pt x="124027" y="135751"/>
                      </a:cubicBezTo>
                      <a:cubicBezTo>
                        <a:pt x="127802" y="135751"/>
                        <a:pt x="130878" y="138822"/>
                        <a:pt x="130878" y="142601"/>
                      </a:cubicBezTo>
                      <a:cubicBezTo>
                        <a:pt x="130878" y="146380"/>
                        <a:pt x="127807" y="149451"/>
                        <a:pt x="124027" y="149451"/>
                      </a:cubicBezTo>
                      <a:cubicBezTo>
                        <a:pt x="120248" y="149451"/>
                        <a:pt x="117177" y="146375"/>
                        <a:pt x="117177" y="142601"/>
                      </a:cubicBezTo>
                      <a:close/>
                      <a:moveTo>
                        <a:pt x="129953" y="9219"/>
                      </a:moveTo>
                      <a:lnTo>
                        <a:pt x="129435" y="133307"/>
                      </a:lnTo>
                      <a:cubicBezTo>
                        <a:pt x="127843" y="132377"/>
                        <a:pt x="125999" y="131838"/>
                        <a:pt x="124027" y="131838"/>
                      </a:cubicBezTo>
                      <a:cubicBezTo>
                        <a:pt x="122056" y="131838"/>
                        <a:pt x="120053" y="132429"/>
                        <a:pt x="118415" y="133435"/>
                      </a:cubicBezTo>
                      <a:cubicBezTo>
                        <a:pt x="118461" y="124577"/>
                        <a:pt x="118589" y="101624"/>
                        <a:pt x="118672" y="86059"/>
                      </a:cubicBezTo>
                      <a:cubicBezTo>
                        <a:pt x="118908" y="40497"/>
                        <a:pt x="125686" y="18550"/>
                        <a:pt x="129953" y="9224"/>
                      </a:cubicBezTo>
                      <a:close/>
                      <a:moveTo>
                        <a:pt x="77227" y="174459"/>
                      </a:moveTo>
                      <a:cubicBezTo>
                        <a:pt x="37159" y="196873"/>
                        <a:pt x="16814" y="200524"/>
                        <a:pt x="8136" y="200668"/>
                      </a:cubicBezTo>
                      <a:lnTo>
                        <a:pt x="113311" y="141661"/>
                      </a:lnTo>
                      <a:cubicBezTo>
                        <a:pt x="113285" y="141969"/>
                        <a:pt x="113264" y="142283"/>
                        <a:pt x="113264" y="142596"/>
                      </a:cubicBezTo>
                      <a:cubicBezTo>
                        <a:pt x="113264" y="146350"/>
                        <a:pt x="115200" y="149662"/>
                        <a:pt x="118122" y="151587"/>
                      </a:cubicBezTo>
                      <a:lnTo>
                        <a:pt x="77222" y="174459"/>
                      </a:lnTo>
                      <a:close/>
                      <a:moveTo>
                        <a:pt x="136464" y="577326"/>
                      </a:moveTo>
                      <a:lnTo>
                        <a:pt x="99605" y="577326"/>
                      </a:lnTo>
                      <a:lnTo>
                        <a:pt x="122353" y="153215"/>
                      </a:lnTo>
                      <a:cubicBezTo>
                        <a:pt x="122903" y="153302"/>
                        <a:pt x="123457" y="153359"/>
                        <a:pt x="124033" y="153359"/>
                      </a:cubicBezTo>
                      <a:cubicBezTo>
                        <a:pt x="125244" y="153359"/>
                        <a:pt x="126405" y="153148"/>
                        <a:pt x="127494" y="152779"/>
                      </a:cubicBezTo>
                      <a:lnTo>
                        <a:pt x="148547" y="577326"/>
                      </a:lnTo>
                      <a:lnTo>
                        <a:pt x="136470" y="577326"/>
                      </a:lnTo>
                      <a:close/>
                      <a:moveTo>
                        <a:pt x="131602" y="150237"/>
                      </a:moveTo>
                      <a:cubicBezTo>
                        <a:pt x="133568" y="148285"/>
                        <a:pt x="134790" y="145584"/>
                        <a:pt x="134790" y="142596"/>
                      </a:cubicBezTo>
                      <a:cubicBezTo>
                        <a:pt x="134790" y="141543"/>
                        <a:pt x="134631" y="140526"/>
                        <a:pt x="134349" y="139566"/>
                      </a:cubicBezTo>
                      <a:lnTo>
                        <a:pt x="181437" y="152881"/>
                      </a:lnTo>
                      <a:cubicBezTo>
                        <a:pt x="226229" y="165539"/>
                        <a:pt x="240767" y="176831"/>
                        <a:pt x="245419" y="182243"/>
                      </a:cubicBezTo>
                      <a:lnTo>
                        <a:pt x="131596" y="150237"/>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35" name="Freeform: Shape 634">
                  <a:extLst>
                    <a:ext uri="{FF2B5EF4-FFF2-40B4-BE49-F238E27FC236}">
                      <a16:creationId xmlns:a16="http://schemas.microsoft.com/office/drawing/2014/main" id="{209937EE-6C90-44C8-A056-FBEE2FC6239D}"/>
                    </a:ext>
                  </a:extLst>
                </p:cNvPr>
                <p:cNvSpPr/>
                <p:nvPr/>
              </p:nvSpPr>
              <p:spPr>
                <a:xfrm>
                  <a:off x="1720311" y="4427796"/>
                  <a:ext cx="19244" cy="26684"/>
                </a:xfrm>
                <a:custGeom>
                  <a:avLst/>
                  <a:gdLst>
                    <a:gd name="connsiteX0" fmla="*/ 52 w 19244"/>
                    <a:gd name="connsiteY0" fmla="*/ 24287 h 26684"/>
                    <a:gd name="connsiteX1" fmla="*/ 1515 w 19244"/>
                    <a:gd name="connsiteY1" fmla="*/ 26633 h 26684"/>
                    <a:gd name="connsiteX2" fmla="*/ 1962 w 19244"/>
                    <a:gd name="connsiteY2" fmla="*/ 26685 h 26684"/>
                    <a:gd name="connsiteX3" fmla="*/ 3867 w 19244"/>
                    <a:gd name="connsiteY3" fmla="*/ 25170 h 26684"/>
                    <a:gd name="connsiteX4" fmla="*/ 18420 w 19244"/>
                    <a:gd name="connsiteY4" fmla="*/ 3551 h 26684"/>
                    <a:gd name="connsiteX5" fmla="*/ 18882 w 19244"/>
                    <a:gd name="connsiteY5" fmla="*/ 825 h 26684"/>
                    <a:gd name="connsiteX6" fmla="*/ 16155 w 19244"/>
                    <a:gd name="connsiteY6" fmla="*/ 363 h 26684"/>
                    <a:gd name="connsiteX7" fmla="*/ 57 w 19244"/>
                    <a:gd name="connsiteY7" fmla="*/ 24287 h 2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44" h="26684">
                      <a:moveTo>
                        <a:pt x="52" y="24287"/>
                      </a:moveTo>
                      <a:cubicBezTo>
                        <a:pt x="-195" y="25339"/>
                        <a:pt x="463" y="26392"/>
                        <a:pt x="1515" y="26633"/>
                      </a:cubicBezTo>
                      <a:cubicBezTo>
                        <a:pt x="1664" y="26669"/>
                        <a:pt x="1813" y="26685"/>
                        <a:pt x="1962" y="26685"/>
                      </a:cubicBezTo>
                      <a:cubicBezTo>
                        <a:pt x="2850" y="26685"/>
                        <a:pt x="3657" y="26074"/>
                        <a:pt x="3867" y="25170"/>
                      </a:cubicBezTo>
                      <a:cubicBezTo>
                        <a:pt x="5901" y="16445"/>
                        <a:pt x="11066" y="8769"/>
                        <a:pt x="18420" y="3551"/>
                      </a:cubicBezTo>
                      <a:cubicBezTo>
                        <a:pt x="19303" y="2925"/>
                        <a:pt x="19508" y="1703"/>
                        <a:pt x="18882" y="825"/>
                      </a:cubicBezTo>
                      <a:cubicBezTo>
                        <a:pt x="18255" y="-59"/>
                        <a:pt x="17033" y="-264"/>
                        <a:pt x="16155" y="363"/>
                      </a:cubicBezTo>
                      <a:cubicBezTo>
                        <a:pt x="8021" y="6129"/>
                        <a:pt x="2306" y="14628"/>
                        <a:pt x="57" y="24287"/>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36" name="Freeform: Shape 635">
                  <a:extLst>
                    <a:ext uri="{FF2B5EF4-FFF2-40B4-BE49-F238E27FC236}">
                      <a16:creationId xmlns:a16="http://schemas.microsoft.com/office/drawing/2014/main" id="{C1C1A7C7-8E32-4449-A6B7-2E3B7ED67B05}"/>
                    </a:ext>
                  </a:extLst>
                </p:cNvPr>
                <p:cNvSpPr/>
                <p:nvPr/>
              </p:nvSpPr>
              <p:spPr>
                <a:xfrm>
                  <a:off x="1733840" y="4489595"/>
                  <a:ext cx="12905" cy="9298"/>
                </a:xfrm>
                <a:custGeom>
                  <a:avLst/>
                  <a:gdLst>
                    <a:gd name="connsiteX0" fmla="*/ 10180 w 12905"/>
                    <a:gd name="connsiteY0" fmla="*/ 9145 h 9298"/>
                    <a:gd name="connsiteX1" fmla="*/ 10945 w 12905"/>
                    <a:gd name="connsiteY1" fmla="*/ 9299 h 9298"/>
                    <a:gd name="connsiteX2" fmla="*/ 12747 w 12905"/>
                    <a:gd name="connsiteY2" fmla="*/ 8107 h 9298"/>
                    <a:gd name="connsiteX3" fmla="*/ 11715 w 12905"/>
                    <a:gd name="connsiteY3" fmla="*/ 5540 h 9298"/>
                    <a:gd name="connsiteX4" fmla="*/ 3176 w 12905"/>
                    <a:gd name="connsiteY4" fmla="*/ 430 h 9298"/>
                    <a:gd name="connsiteX5" fmla="*/ 428 w 12905"/>
                    <a:gd name="connsiteY5" fmla="*/ 733 h 9298"/>
                    <a:gd name="connsiteX6" fmla="*/ 731 w 12905"/>
                    <a:gd name="connsiteY6" fmla="*/ 3481 h 9298"/>
                    <a:gd name="connsiteX7" fmla="*/ 10180 w 12905"/>
                    <a:gd name="connsiteY7" fmla="*/ 9139 h 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05" h="9298">
                      <a:moveTo>
                        <a:pt x="10180" y="9145"/>
                      </a:moveTo>
                      <a:cubicBezTo>
                        <a:pt x="10431" y="9252"/>
                        <a:pt x="10688" y="9299"/>
                        <a:pt x="10945" y="9299"/>
                      </a:cubicBezTo>
                      <a:cubicBezTo>
                        <a:pt x="11705" y="9299"/>
                        <a:pt x="12429" y="8852"/>
                        <a:pt x="12747" y="8107"/>
                      </a:cubicBezTo>
                      <a:cubicBezTo>
                        <a:pt x="13173" y="7116"/>
                        <a:pt x="12711" y="5966"/>
                        <a:pt x="11715" y="5540"/>
                      </a:cubicBezTo>
                      <a:cubicBezTo>
                        <a:pt x="8660" y="4236"/>
                        <a:pt x="5784" y="2515"/>
                        <a:pt x="3176" y="430"/>
                      </a:cubicBezTo>
                      <a:cubicBezTo>
                        <a:pt x="2333" y="-247"/>
                        <a:pt x="1101" y="-109"/>
                        <a:pt x="428" y="733"/>
                      </a:cubicBezTo>
                      <a:cubicBezTo>
                        <a:pt x="-244" y="1576"/>
                        <a:pt x="-111" y="2808"/>
                        <a:pt x="731" y="3481"/>
                      </a:cubicBezTo>
                      <a:cubicBezTo>
                        <a:pt x="3617" y="5791"/>
                        <a:pt x="6796" y="7697"/>
                        <a:pt x="10180" y="9139"/>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37" name="Freeform: Shape 636">
                  <a:extLst>
                    <a:ext uri="{FF2B5EF4-FFF2-40B4-BE49-F238E27FC236}">
                      <a16:creationId xmlns:a16="http://schemas.microsoft.com/office/drawing/2014/main" id="{43A36977-A3A4-42F6-8B2D-39B232775229}"/>
                    </a:ext>
                  </a:extLst>
                </p:cNvPr>
                <p:cNvSpPr/>
                <p:nvPr/>
              </p:nvSpPr>
              <p:spPr>
                <a:xfrm>
                  <a:off x="1777027" y="4484993"/>
                  <a:ext cx="13868" cy="11979"/>
                </a:xfrm>
                <a:custGeom>
                  <a:avLst/>
                  <a:gdLst>
                    <a:gd name="connsiteX0" fmla="*/ 13377 w 13868"/>
                    <a:gd name="connsiteY0" fmla="*/ 3255 h 11979"/>
                    <a:gd name="connsiteX1" fmla="*/ 13208 w 13868"/>
                    <a:gd name="connsiteY1" fmla="*/ 493 h 11979"/>
                    <a:gd name="connsiteX2" fmla="*/ 10445 w 13868"/>
                    <a:gd name="connsiteY2" fmla="*/ 662 h 11979"/>
                    <a:gd name="connsiteX3" fmla="*/ 992 w 13868"/>
                    <a:gd name="connsiteY3" fmla="*/ 8324 h 11979"/>
                    <a:gd name="connsiteX4" fmla="*/ 252 w 13868"/>
                    <a:gd name="connsiteY4" fmla="*/ 10989 h 11979"/>
                    <a:gd name="connsiteX5" fmla="*/ 1957 w 13868"/>
                    <a:gd name="connsiteY5" fmla="*/ 11980 h 11979"/>
                    <a:gd name="connsiteX6" fmla="*/ 2917 w 13868"/>
                    <a:gd name="connsiteY6" fmla="*/ 11728 h 11979"/>
                    <a:gd name="connsiteX7" fmla="*/ 13377 w 13868"/>
                    <a:gd name="connsiteY7" fmla="*/ 3250 h 11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68" h="11979">
                      <a:moveTo>
                        <a:pt x="13377" y="3255"/>
                      </a:moveTo>
                      <a:cubicBezTo>
                        <a:pt x="14091" y="2449"/>
                        <a:pt x="14019" y="1212"/>
                        <a:pt x="13208" y="493"/>
                      </a:cubicBezTo>
                      <a:cubicBezTo>
                        <a:pt x="12397" y="-226"/>
                        <a:pt x="11159" y="-149"/>
                        <a:pt x="10445" y="662"/>
                      </a:cubicBezTo>
                      <a:cubicBezTo>
                        <a:pt x="7729" y="3733"/>
                        <a:pt x="4550" y="6311"/>
                        <a:pt x="992" y="8324"/>
                      </a:cubicBezTo>
                      <a:cubicBezTo>
                        <a:pt x="52" y="8858"/>
                        <a:pt x="-276" y="10049"/>
                        <a:pt x="252" y="10989"/>
                      </a:cubicBezTo>
                      <a:cubicBezTo>
                        <a:pt x="612" y="11626"/>
                        <a:pt x="1274" y="11980"/>
                        <a:pt x="1957" y="11980"/>
                      </a:cubicBezTo>
                      <a:cubicBezTo>
                        <a:pt x="2286" y="11980"/>
                        <a:pt x="2615" y="11898"/>
                        <a:pt x="2917" y="11728"/>
                      </a:cubicBezTo>
                      <a:cubicBezTo>
                        <a:pt x="6856" y="9500"/>
                        <a:pt x="10373" y="6650"/>
                        <a:pt x="13377" y="325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38" name="Freeform: Shape 637">
                  <a:extLst>
                    <a:ext uri="{FF2B5EF4-FFF2-40B4-BE49-F238E27FC236}">
                      <a16:creationId xmlns:a16="http://schemas.microsoft.com/office/drawing/2014/main" id="{1388A771-F425-4B3E-9D32-99459529E4DB}"/>
                    </a:ext>
                  </a:extLst>
                </p:cNvPr>
                <p:cNvSpPr/>
                <p:nvPr/>
              </p:nvSpPr>
              <p:spPr>
                <a:xfrm>
                  <a:off x="1784397" y="4431108"/>
                  <a:ext cx="13976" cy="19243"/>
                </a:xfrm>
                <a:custGeom>
                  <a:avLst/>
                  <a:gdLst>
                    <a:gd name="connsiteX0" fmla="*/ 10177 w 13976"/>
                    <a:gd name="connsiteY0" fmla="*/ 17940 h 19243"/>
                    <a:gd name="connsiteX1" fmla="*/ 12021 w 13976"/>
                    <a:gd name="connsiteY1" fmla="*/ 19244 h 19243"/>
                    <a:gd name="connsiteX2" fmla="*/ 12673 w 13976"/>
                    <a:gd name="connsiteY2" fmla="*/ 19131 h 19243"/>
                    <a:gd name="connsiteX3" fmla="*/ 13864 w 13976"/>
                    <a:gd name="connsiteY3" fmla="*/ 16635 h 19243"/>
                    <a:gd name="connsiteX4" fmla="*/ 3291 w 13976"/>
                    <a:gd name="connsiteY4" fmla="*/ 527 h 19243"/>
                    <a:gd name="connsiteX5" fmla="*/ 529 w 13976"/>
                    <a:gd name="connsiteY5" fmla="*/ 619 h 19243"/>
                    <a:gd name="connsiteX6" fmla="*/ 621 w 13976"/>
                    <a:gd name="connsiteY6" fmla="*/ 3382 h 19243"/>
                    <a:gd name="connsiteX7" fmla="*/ 10177 w 13976"/>
                    <a:gd name="connsiteY7" fmla="*/ 17940 h 19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76" h="19243">
                      <a:moveTo>
                        <a:pt x="10177" y="17940"/>
                      </a:moveTo>
                      <a:cubicBezTo>
                        <a:pt x="10465" y="18741"/>
                        <a:pt x="11215" y="19244"/>
                        <a:pt x="12021" y="19244"/>
                      </a:cubicBezTo>
                      <a:cubicBezTo>
                        <a:pt x="12237" y="19244"/>
                        <a:pt x="12457" y="19208"/>
                        <a:pt x="12673" y="19131"/>
                      </a:cubicBezTo>
                      <a:cubicBezTo>
                        <a:pt x="13690" y="18772"/>
                        <a:pt x="14224" y="17652"/>
                        <a:pt x="13864" y="16635"/>
                      </a:cubicBezTo>
                      <a:cubicBezTo>
                        <a:pt x="11702" y="10535"/>
                        <a:pt x="8046" y="4969"/>
                        <a:pt x="3291" y="527"/>
                      </a:cubicBezTo>
                      <a:cubicBezTo>
                        <a:pt x="2501" y="-213"/>
                        <a:pt x="1263" y="-166"/>
                        <a:pt x="529" y="619"/>
                      </a:cubicBezTo>
                      <a:cubicBezTo>
                        <a:pt x="-211" y="1410"/>
                        <a:pt x="-170" y="2648"/>
                        <a:pt x="621" y="3382"/>
                      </a:cubicBezTo>
                      <a:cubicBezTo>
                        <a:pt x="4919" y="7398"/>
                        <a:pt x="8221" y="12430"/>
                        <a:pt x="10177" y="1794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39" name="Freeform: Shape 638">
                  <a:extLst>
                    <a:ext uri="{FF2B5EF4-FFF2-40B4-BE49-F238E27FC236}">
                      <a16:creationId xmlns:a16="http://schemas.microsoft.com/office/drawing/2014/main" id="{9D6DD6AE-49D3-4EE9-96AB-EC12834B827F}"/>
                    </a:ext>
                  </a:extLst>
                </p:cNvPr>
                <p:cNvSpPr/>
                <p:nvPr/>
              </p:nvSpPr>
              <p:spPr>
                <a:xfrm>
                  <a:off x="1692264" y="4399860"/>
                  <a:ext cx="41706" cy="63432"/>
                </a:xfrm>
                <a:custGeom>
                  <a:avLst/>
                  <a:gdLst>
                    <a:gd name="connsiteX0" fmla="*/ 1951 w 41706"/>
                    <a:gd name="connsiteY0" fmla="*/ 63432 h 63432"/>
                    <a:gd name="connsiteX1" fmla="*/ 3908 w 41706"/>
                    <a:gd name="connsiteY1" fmla="*/ 61476 h 63432"/>
                    <a:gd name="connsiteX2" fmla="*/ 40582 w 41706"/>
                    <a:gd name="connsiteY2" fmla="*/ 3728 h 63432"/>
                    <a:gd name="connsiteX3" fmla="*/ 41522 w 41706"/>
                    <a:gd name="connsiteY3" fmla="*/ 1124 h 63432"/>
                    <a:gd name="connsiteX4" fmla="*/ 38918 w 41706"/>
                    <a:gd name="connsiteY4" fmla="*/ 185 h 63432"/>
                    <a:gd name="connsiteX5" fmla="*/ 0 w 41706"/>
                    <a:gd name="connsiteY5" fmla="*/ 61471 h 63432"/>
                    <a:gd name="connsiteX6" fmla="*/ 1956 w 41706"/>
                    <a:gd name="connsiteY6" fmla="*/ 63427 h 6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06" h="63432">
                      <a:moveTo>
                        <a:pt x="1951" y="63432"/>
                      </a:moveTo>
                      <a:cubicBezTo>
                        <a:pt x="3030" y="63432"/>
                        <a:pt x="3908" y="62554"/>
                        <a:pt x="3908" y="61476"/>
                      </a:cubicBezTo>
                      <a:cubicBezTo>
                        <a:pt x="3908" y="36869"/>
                        <a:pt x="18301" y="14203"/>
                        <a:pt x="40582" y="3728"/>
                      </a:cubicBezTo>
                      <a:cubicBezTo>
                        <a:pt x="41558" y="3266"/>
                        <a:pt x="41979" y="2105"/>
                        <a:pt x="41522" y="1124"/>
                      </a:cubicBezTo>
                      <a:cubicBezTo>
                        <a:pt x="41059" y="149"/>
                        <a:pt x="39899" y="-272"/>
                        <a:pt x="38918" y="185"/>
                      </a:cubicBezTo>
                      <a:cubicBezTo>
                        <a:pt x="15277" y="11302"/>
                        <a:pt x="0" y="35359"/>
                        <a:pt x="0" y="61471"/>
                      </a:cubicBezTo>
                      <a:cubicBezTo>
                        <a:pt x="0" y="62549"/>
                        <a:pt x="878" y="63427"/>
                        <a:pt x="1956" y="63427"/>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40" name="Freeform: Shape 639">
                  <a:extLst>
                    <a:ext uri="{FF2B5EF4-FFF2-40B4-BE49-F238E27FC236}">
                      <a16:creationId xmlns:a16="http://schemas.microsoft.com/office/drawing/2014/main" id="{AE0B5F59-BCA9-4753-8E7A-8A195B93C1D7}"/>
                    </a:ext>
                  </a:extLst>
                </p:cNvPr>
                <p:cNvSpPr/>
                <p:nvPr/>
              </p:nvSpPr>
              <p:spPr>
                <a:xfrm>
                  <a:off x="1713389" y="4507670"/>
                  <a:ext cx="24349" cy="16774"/>
                </a:xfrm>
                <a:custGeom>
                  <a:avLst/>
                  <a:gdLst>
                    <a:gd name="connsiteX0" fmla="*/ 22395 w 24349"/>
                    <a:gd name="connsiteY0" fmla="*/ 16775 h 16774"/>
                    <a:gd name="connsiteX1" fmla="*/ 24212 w 24349"/>
                    <a:gd name="connsiteY1" fmla="*/ 15537 h 16774"/>
                    <a:gd name="connsiteX2" fmla="*/ 23114 w 24349"/>
                    <a:gd name="connsiteY2" fmla="*/ 13001 h 16774"/>
                    <a:gd name="connsiteX3" fmla="*/ 3282 w 24349"/>
                    <a:gd name="connsiteY3" fmla="*/ 518 h 16774"/>
                    <a:gd name="connsiteX4" fmla="*/ 520 w 24349"/>
                    <a:gd name="connsiteY4" fmla="*/ 625 h 16774"/>
                    <a:gd name="connsiteX5" fmla="*/ 627 w 24349"/>
                    <a:gd name="connsiteY5" fmla="*/ 3388 h 16774"/>
                    <a:gd name="connsiteX6" fmla="*/ 21676 w 24349"/>
                    <a:gd name="connsiteY6" fmla="*/ 16636 h 16774"/>
                    <a:gd name="connsiteX7" fmla="*/ 22395 w 24349"/>
                    <a:gd name="connsiteY7" fmla="*/ 16775 h 1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49" h="16774">
                      <a:moveTo>
                        <a:pt x="22395" y="16775"/>
                      </a:moveTo>
                      <a:cubicBezTo>
                        <a:pt x="23175" y="16775"/>
                        <a:pt x="23909" y="16308"/>
                        <a:pt x="24212" y="15537"/>
                      </a:cubicBezTo>
                      <a:cubicBezTo>
                        <a:pt x="24608" y="14531"/>
                        <a:pt x="24120" y="13396"/>
                        <a:pt x="23114" y="13001"/>
                      </a:cubicBezTo>
                      <a:cubicBezTo>
                        <a:pt x="15776" y="10099"/>
                        <a:pt x="9100" y="5899"/>
                        <a:pt x="3282" y="518"/>
                      </a:cubicBezTo>
                      <a:cubicBezTo>
                        <a:pt x="2491" y="-212"/>
                        <a:pt x="1254" y="-165"/>
                        <a:pt x="520" y="625"/>
                      </a:cubicBezTo>
                      <a:cubicBezTo>
                        <a:pt x="-215" y="1416"/>
                        <a:pt x="-163" y="2659"/>
                        <a:pt x="627" y="3388"/>
                      </a:cubicBezTo>
                      <a:cubicBezTo>
                        <a:pt x="6805" y="9098"/>
                        <a:pt x="13886" y="13555"/>
                        <a:pt x="21676" y="16636"/>
                      </a:cubicBezTo>
                      <a:cubicBezTo>
                        <a:pt x="21912" y="16729"/>
                        <a:pt x="22153" y="16775"/>
                        <a:pt x="22395" y="16775"/>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41" name="Freeform: Shape 640">
                  <a:extLst>
                    <a:ext uri="{FF2B5EF4-FFF2-40B4-BE49-F238E27FC236}">
                      <a16:creationId xmlns:a16="http://schemas.microsoft.com/office/drawing/2014/main" id="{A63BAF69-5331-4F9A-BCF2-7CBE401C6EAF}"/>
                    </a:ext>
                  </a:extLst>
                </p:cNvPr>
                <p:cNvSpPr/>
                <p:nvPr/>
              </p:nvSpPr>
              <p:spPr>
                <a:xfrm>
                  <a:off x="1782011" y="4502216"/>
                  <a:ext cx="29770" cy="22290"/>
                </a:xfrm>
                <a:custGeom>
                  <a:avLst/>
                  <a:gdLst>
                    <a:gd name="connsiteX0" fmla="*/ 26325 w 29770"/>
                    <a:gd name="connsiteY0" fmla="*/ 673 h 22290"/>
                    <a:gd name="connsiteX1" fmla="*/ 1240 w 29770"/>
                    <a:gd name="connsiteY1" fmla="*/ 18512 h 22290"/>
                    <a:gd name="connsiteX2" fmla="*/ 136 w 29770"/>
                    <a:gd name="connsiteY2" fmla="*/ 21048 h 22290"/>
                    <a:gd name="connsiteX3" fmla="*/ 1959 w 29770"/>
                    <a:gd name="connsiteY3" fmla="*/ 22291 h 22290"/>
                    <a:gd name="connsiteX4" fmla="*/ 2673 w 29770"/>
                    <a:gd name="connsiteY4" fmla="*/ 22157 h 22290"/>
                    <a:gd name="connsiteX5" fmla="*/ 29298 w 29770"/>
                    <a:gd name="connsiteY5" fmla="*/ 3230 h 22290"/>
                    <a:gd name="connsiteX6" fmla="*/ 29088 w 29770"/>
                    <a:gd name="connsiteY6" fmla="*/ 472 h 22290"/>
                    <a:gd name="connsiteX7" fmla="*/ 26330 w 29770"/>
                    <a:gd name="connsiteY7" fmla="*/ 683 h 2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70" h="22290">
                      <a:moveTo>
                        <a:pt x="26325" y="673"/>
                      </a:moveTo>
                      <a:cubicBezTo>
                        <a:pt x="19547" y="8560"/>
                        <a:pt x="10874" y="14727"/>
                        <a:pt x="1240" y="18512"/>
                      </a:cubicBezTo>
                      <a:cubicBezTo>
                        <a:pt x="234" y="18907"/>
                        <a:pt x="-259" y="20042"/>
                        <a:pt x="136" y="21048"/>
                      </a:cubicBezTo>
                      <a:cubicBezTo>
                        <a:pt x="439" y="21819"/>
                        <a:pt x="1179" y="22291"/>
                        <a:pt x="1959" y="22291"/>
                      </a:cubicBezTo>
                      <a:cubicBezTo>
                        <a:pt x="2196" y="22291"/>
                        <a:pt x="2437" y="22250"/>
                        <a:pt x="2673" y="22157"/>
                      </a:cubicBezTo>
                      <a:cubicBezTo>
                        <a:pt x="12897" y="18142"/>
                        <a:pt x="22104" y="11600"/>
                        <a:pt x="29298" y="3230"/>
                      </a:cubicBezTo>
                      <a:cubicBezTo>
                        <a:pt x="30002" y="2413"/>
                        <a:pt x="29909" y="1176"/>
                        <a:pt x="29088" y="472"/>
                      </a:cubicBezTo>
                      <a:cubicBezTo>
                        <a:pt x="28271" y="-231"/>
                        <a:pt x="27034" y="-139"/>
                        <a:pt x="26330" y="68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42" name="Freeform: Shape 641">
                  <a:extLst>
                    <a:ext uri="{FF2B5EF4-FFF2-40B4-BE49-F238E27FC236}">
                      <a16:creationId xmlns:a16="http://schemas.microsoft.com/office/drawing/2014/main" id="{961C8FF1-3DB3-4211-87B8-34F6C6C0DE21}"/>
                    </a:ext>
                  </a:extLst>
                </p:cNvPr>
                <p:cNvSpPr/>
                <p:nvPr/>
              </p:nvSpPr>
              <p:spPr>
                <a:xfrm>
                  <a:off x="1784410" y="4399167"/>
                  <a:ext cx="36855" cy="35851"/>
                </a:xfrm>
                <a:custGeom>
                  <a:avLst/>
                  <a:gdLst>
                    <a:gd name="connsiteX0" fmla="*/ 1163 w 36855"/>
                    <a:gd name="connsiteY0" fmla="*/ 3748 h 35851"/>
                    <a:gd name="connsiteX1" fmla="*/ 33133 w 36855"/>
                    <a:gd name="connsiteY1" fmla="*/ 34738 h 35851"/>
                    <a:gd name="connsiteX2" fmla="*/ 34900 w 36855"/>
                    <a:gd name="connsiteY2" fmla="*/ 35852 h 35851"/>
                    <a:gd name="connsiteX3" fmla="*/ 35742 w 36855"/>
                    <a:gd name="connsiteY3" fmla="*/ 35662 h 35851"/>
                    <a:gd name="connsiteX4" fmla="*/ 36666 w 36855"/>
                    <a:gd name="connsiteY4" fmla="*/ 33053 h 35851"/>
                    <a:gd name="connsiteX5" fmla="*/ 2744 w 36855"/>
                    <a:gd name="connsiteY5" fmla="*/ 169 h 35851"/>
                    <a:gd name="connsiteX6" fmla="*/ 167 w 36855"/>
                    <a:gd name="connsiteY6" fmla="*/ 1170 h 35851"/>
                    <a:gd name="connsiteX7" fmla="*/ 1168 w 36855"/>
                    <a:gd name="connsiteY7" fmla="*/ 3748 h 3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55" h="35851">
                      <a:moveTo>
                        <a:pt x="1163" y="3748"/>
                      </a:moveTo>
                      <a:cubicBezTo>
                        <a:pt x="15181" y="9905"/>
                        <a:pt x="26530" y="20914"/>
                        <a:pt x="33133" y="34738"/>
                      </a:cubicBezTo>
                      <a:cubicBezTo>
                        <a:pt x="33467" y="35441"/>
                        <a:pt x="34171" y="35852"/>
                        <a:pt x="34900" y="35852"/>
                      </a:cubicBezTo>
                      <a:cubicBezTo>
                        <a:pt x="35182" y="35852"/>
                        <a:pt x="35470" y="35790"/>
                        <a:pt x="35742" y="35662"/>
                      </a:cubicBezTo>
                      <a:cubicBezTo>
                        <a:pt x="36717" y="35195"/>
                        <a:pt x="37128" y="34029"/>
                        <a:pt x="36666" y="33053"/>
                      </a:cubicBezTo>
                      <a:cubicBezTo>
                        <a:pt x="29667" y="18383"/>
                        <a:pt x="17615" y="6706"/>
                        <a:pt x="2744" y="169"/>
                      </a:cubicBezTo>
                      <a:cubicBezTo>
                        <a:pt x="1753" y="-273"/>
                        <a:pt x="603" y="184"/>
                        <a:pt x="167" y="1170"/>
                      </a:cubicBezTo>
                      <a:cubicBezTo>
                        <a:pt x="-270" y="2161"/>
                        <a:pt x="182" y="3311"/>
                        <a:pt x="1168" y="3748"/>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499" name="Graphic 6">
                <a:extLst>
                  <a:ext uri="{FF2B5EF4-FFF2-40B4-BE49-F238E27FC236}">
                    <a16:creationId xmlns:a16="http://schemas.microsoft.com/office/drawing/2014/main" id="{965B2037-67C3-4E7F-892D-3D5D49BFA34A}"/>
                  </a:ext>
                </a:extLst>
              </p:cNvPr>
              <p:cNvGrpSpPr/>
              <p:nvPr/>
            </p:nvGrpSpPr>
            <p:grpSpPr>
              <a:xfrm>
                <a:off x="2967388" y="4445339"/>
                <a:ext cx="197134" cy="454552"/>
                <a:chOff x="2967428" y="4445431"/>
                <a:chExt cx="197134" cy="454552"/>
              </a:xfrm>
              <a:solidFill>
                <a:srgbClr val="069688"/>
              </a:solidFill>
            </p:grpSpPr>
            <p:sp>
              <p:nvSpPr>
                <p:cNvPr id="625" name="Freeform: Shape 624">
                  <a:extLst>
                    <a:ext uri="{FF2B5EF4-FFF2-40B4-BE49-F238E27FC236}">
                      <a16:creationId xmlns:a16="http://schemas.microsoft.com/office/drawing/2014/main" id="{35D8B3A1-CCF5-43AA-985A-E713BE259A5F}"/>
                    </a:ext>
                  </a:extLst>
                </p:cNvPr>
                <p:cNvSpPr/>
                <p:nvPr/>
              </p:nvSpPr>
              <p:spPr>
                <a:xfrm>
                  <a:off x="2967428" y="4445431"/>
                  <a:ext cx="197134" cy="454552"/>
                </a:xfrm>
                <a:custGeom>
                  <a:avLst/>
                  <a:gdLst>
                    <a:gd name="connsiteX0" fmla="*/ 142996 w 197134"/>
                    <a:gd name="connsiteY0" fmla="*/ 116412 h 454552"/>
                    <a:gd name="connsiteX1" fmla="*/ 104936 w 197134"/>
                    <a:gd name="connsiteY1" fmla="*/ 105649 h 454552"/>
                    <a:gd name="connsiteX2" fmla="*/ 105367 w 197134"/>
                    <a:gd name="connsiteY2" fmla="*/ 1963 h 454552"/>
                    <a:gd name="connsiteX3" fmla="*/ 104140 w 197134"/>
                    <a:gd name="connsiteY3" fmla="*/ 140 h 454552"/>
                    <a:gd name="connsiteX4" fmla="*/ 101993 w 197134"/>
                    <a:gd name="connsiteY4" fmla="*/ 613 h 454552"/>
                    <a:gd name="connsiteX5" fmla="*/ 89577 w 197134"/>
                    <a:gd name="connsiteY5" fmla="*/ 67589 h 454552"/>
                    <a:gd name="connsiteX6" fmla="*/ 89366 w 197134"/>
                    <a:gd name="connsiteY6" fmla="*/ 106769 h 454552"/>
                    <a:gd name="connsiteX7" fmla="*/ 89161 w 197134"/>
                    <a:gd name="connsiteY7" fmla="*/ 106856 h 454552"/>
                    <a:gd name="connsiteX8" fmla="*/ 998 w 197134"/>
                    <a:gd name="connsiteY8" fmla="*/ 156322 h 454552"/>
                    <a:gd name="connsiteX9" fmla="*/ 2 w 197134"/>
                    <a:gd name="connsiteY9" fmla="*/ 158103 h 454552"/>
                    <a:gd name="connsiteX10" fmla="*/ 1131 w 197134"/>
                    <a:gd name="connsiteY10" fmla="*/ 159803 h 454552"/>
                    <a:gd name="connsiteX11" fmla="*/ 6528 w 197134"/>
                    <a:gd name="connsiteY11" fmla="*/ 160620 h 454552"/>
                    <a:gd name="connsiteX12" fmla="*/ 62413 w 197134"/>
                    <a:gd name="connsiteY12" fmla="*/ 139653 h 454552"/>
                    <a:gd name="connsiteX13" fmla="*/ 92293 w 197134"/>
                    <a:gd name="connsiteY13" fmla="*/ 122944 h 454552"/>
                    <a:gd name="connsiteX14" fmla="*/ 74618 w 197134"/>
                    <a:gd name="connsiteY14" fmla="*/ 452493 h 454552"/>
                    <a:gd name="connsiteX15" fmla="*/ 75153 w 197134"/>
                    <a:gd name="connsiteY15" fmla="*/ 453942 h 454552"/>
                    <a:gd name="connsiteX16" fmla="*/ 76570 w 197134"/>
                    <a:gd name="connsiteY16" fmla="*/ 454553 h 454552"/>
                    <a:gd name="connsiteX17" fmla="*/ 117984 w 197134"/>
                    <a:gd name="connsiteY17" fmla="*/ 454553 h 454552"/>
                    <a:gd name="connsiteX18" fmla="*/ 119401 w 197134"/>
                    <a:gd name="connsiteY18" fmla="*/ 453947 h 454552"/>
                    <a:gd name="connsiteX19" fmla="*/ 119935 w 197134"/>
                    <a:gd name="connsiteY19" fmla="*/ 452504 h 454552"/>
                    <a:gd name="connsiteX20" fmla="*/ 103513 w 197134"/>
                    <a:gd name="connsiteY20" fmla="*/ 121429 h 454552"/>
                    <a:gd name="connsiteX21" fmla="*/ 194649 w 197134"/>
                    <a:gd name="connsiteY21" fmla="*/ 147058 h 454552"/>
                    <a:gd name="connsiteX22" fmla="*/ 195178 w 197134"/>
                    <a:gd name="connsiteY22" fmla="*/ 147130 h 454552"/>
                    <a:gd name="connsiteX23" fmla="*/ 196441 w 197134"/>
                    <a:gd name="connsiteY23" fmla="*/ 146668 h 454552"/>
                    <a:gd name="connsiteX24" fmla="*/ 197124 w 197134"/>
                    <a:gd name="connsiteY24" fmla="*/ 144968 h 454552"/>
                    <a:gd name="connsiteX25" fmla="*/ 143001 w 197134"/>
                    <a:gd name="connsiteY25" fmla="*/ 116423 h 454552"/>
                    <a:gd name="connsiteX26" fmla="*/ 92319 w 197134"/>
                    <a:gd name="connsiteY26" fmla="*/ 111739 h 454552"/>
                    <a:gd name="connsiteX27" fmla="*/ 97238 w 197134"/>
                    <a:gd name="connsiteY27" fmla="*/ 106820 h 454552"/>
                    <a:gd name="connsiteX28" fmla="*/ 102157 w 197134"/>
                    <a:gd name="connsiteY28" fmla="*/ 111739 h 454552"/>
                    <a:gd name="connsiteX29" fmla="*/ 97238 w 197134"/>
                    <a:gd name="connsiteY29" fmla="*/ 116659 h 454552"/>
                    <a:gd name="connsiteX30" fmla="*/ 92319 w 197134"/>
                    <a:gd name="connsiteY30" fmla="*/ 111739 h 454552"/>
                    <a:gd name="connsiteX31" fmla="*/ 101423 w 197134"/>
                    <a:gd name="connsiteY31" fmla="*/ 9738 h 454552"/>
                    <a:gd name="connsiteX32" fmla="*/ 101028 w 197134"/>
                    <a:gd name="connsiteY32" fmla="*/ 103780 h 454552"/>
                    <a:gd name="connsiteX33" fmla="*/ 97238 w 197134"/>
                    <a:gd name="connsiteY33" fmla="*/ 102912 h 454552"/>
                    <a:gd name="connsiteX34" fmla="*/ 93289 w 197134"/>
                    <a:gd name="connsiteY34" fmla="*/ 103852 h 454552"/>
                    <a:gd name="connsiteX35" fmla="*/ 93484 w 197134"/>
                    <a:gd name="connsiteY35" fmla="*/ 67609 h 454552"/>
                    <a:gd name="connsiteX36" fmla="*/ 101418 w 197134"/>
                    <a:gd name="connsiteY36" fmla="*/ 9738 h 454552"/>
                    <a:gd name="connsiteX37" fmla="*/ 60497 w 197134"/>
                    <a:gd name="connsiteY37" fmla="*/ 136233 h 454552"/>
                    <a:gd name="connsiteX38" fmla="*/ 8567 w 197134"/>
                    <a:gd name="connsiteY38" fmla="*/ 156553 h 454552"/>
                    <a:gd name="connsiteX39" fmla="*/ 88411 w 197134"/>
                    <a:gd name="connsiteY39" fmla="*/ 111760 h 454552"/>
                    <a:gd name="connsiteX40" fmla="*/ 91836 w 197134"/>
                    <a:gd name="connsiteY40" fmla="*/ 118708 h 454552"/>
                    <a:gd name="connsiteX41" fmla="*/ 60497 w 197134"/>
                    <a:gd name="connsiteY41" fmla="*/ 136233 h 454552"/>
                    <a:gd name="connsiteX42" fmla="*/ 106948 w 197134"/>
                    <a:gd name="connsiteY42" fmla="*/ 450635 h 454552"/>
                    <a:gd name="connsiteX43" fmla="*/ 78629 w 197134"/>
                    <a:gd name="connsiteY43" fmla="*/ 450635 h 454552"/>
                    <a:gd name="connsiteX44" fmla="*/ 96334 w 197134"/>
                    <a:gd name="connsiteY44" fmla="*/ 120520 h 454552"/>
                    <a:gd name="connsiteX45" fmla="*/ 97243 w 197134"/>
                    <a:gd name="connsiteY45" fmla="*/ 120567 h 454552"/>
                    <a:gd name="connsiteX46" fmla="*/ 99539 w 197134"/>
                    <a:gd name="connsiteY46" fmla="*/ 120253 h 454552"/>
                    <a:gd name="connsiteX47" fmla="*/ 115924 w 197134"/>
                    <a:gd name="connsiteY47" fmla="*/ 450635 h 454552"/>
                    <a:gd name="connsiteX48" fmla="*/ 106948 w 197134"/>
                    <a:gd name="connsiteY48" fmla="*/ 450635 h 454552"/>
                    <a:gd name="connsiteX49" fmla="*/ 103939 w 197134"/>
                    <a:gd name="connsiteY49" fmla="*/ 117475 h 454552"/>
                    <a:gd name="connsiteX50" fmla="*/ 106070 w 197134"/>
                    <a:gd name="connsiteY50" fmla="*/ 111739 h 454552"/>
                    <a:gd name="connsiteX51" fmla="*/ 105896 w 197134"/>
                    <a:gd name="connsiteY51" fmla="*/ 109988 h 454552"/>
                    <a:gd name="connsiteX52" fmla="*/ 141938 w 197134"/>
                    <a:gd name="connsiteY52" fmla="*/ 120176 h 454552"/>
                    <a:gd name="connsiteX53" fmla="*/ 190654 w 197134"/>
                    <a:gd name="connsiteY53" fmla="*/ 141856 h 454552"/>
                    <a:gd name="connsiteX54" fmla="*/ 103944 w 197134"/>
                    <a:gd name="connsiteY54" fmla="*/ 117475 h 454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97134" h="454552">
                      <a:moveTo>
                        <a:pt x="142996" y="116412"/>
                      </a:moveTo>
                      <a:lnTo>
                        <a:pt x="104936" y="105649"/>
                      </a:lnTo>
                      <a:lnTo>
                        <a:pt x="105367" y="1963"/>
                      </a:lnTo>
                      <a:cubicBezTo>
                        <a:pt x="105367" y="1162"/>
                        <a:pt x="104884" y="438"/>
                        <a:pt x="104140" y="140"/>
                      </a:cubicBezTo>
                      <a:cubicBezTo>
                        <a:pt x="103395" y="-157"/>
                        <a:pt x="102543" y="27"/>
                        <a:pt x="101993" y="613"/>
                      </a:cubicBezTo>
                      <a:cubicBezTo>
                        <a:pt x="101500" y="1137"/>
                        <a:pt x="89859" y="14025"/>
                        <a:pt x="89577" y="67589"/>
                      </a:cubicBezTo>
                      <a:lnTo>
                        <a:pt x="89366" y="106769"/>
                      </a:lnTo>
                      <a:cubicBezTo>
                        <a:pt x="89299" y="106800"/>
                        <a:pt x="89228" y="106820"/>
                        <a:pt x="89161" y="106856"/>
                      </a:cubicBezTo>
                      <a:lnTo>
                        <a:pt x="998" y="156322"/>
                      </a:lnTo>
                      <a:cubicBezTo>
                        <a:pt x="361" y="156681"/>
                        <a:pt x="-29" y="157369"/>
                        <a:pt x="2" y="158103"/>
                      </a:cubicBezTo>
                      <a:cubicBezTo>
                        <a:pt x="27" y="158838"/>
                        <a:pt x="469" y="159495"/>
                        <a:pt x="1131" y="159803"/>
                      </a:cubicBezTo>
                      <a:cubicBezTo>
                        <a:pt x="1568" y="160003"/>
                        <a:pt x="3170" y="160620"/>
                        <a:pt x="6528" y="160620"/>
                      </a:cubicBezTo>
                      <a:cubicBezTo>
                        <a:pt x="14072" y="160620"/>
                        <a:pt x="30478" y="157513"/>
                        <a:pt x="62413" y="139653"/>
                      </a:cubicBezTo>
                      <a:cubicBezTo>
                        <a:pt x="72544" y="133984"/>
                        <a:pt x="86239" y="126328"/>
                        <a:pt x="92293" y="122944"/>
                      </a:cubicBezTo>
                      <a:lnTo>
                        <a:pt x="74618" y="452493"/>
                      </a:lnTo>
                      <a:cubicBezTo>
                        <a:pt x="74593" y="453027"/>
                        <a:pt x="74783" y="453556"/>
                        <a:pt x="75153" y="453942"/>
                      </a:cubicBezTo>
                      <a:cubicBezTo>
                        <a:pt x="75522" y="454332"/>
                        <a:pt x="76036" y="454553"/>
                        <a:pt x="76570" y="454553"/>
                      </a:cubicBezTo>
                      <a:lnTo>
                        <a:pt x="117984" y="454553"/>
                      </a:lnTo>
                      <a:cubicBezTo>
                        <a:pt x="118518" y="454553"/>
                        <a:pt x="119031" y="454332"/>
                        <a:pt x="119401" y="453947"/>
                      </a:cubicBezTo>
                      <a:cubicBezTo>
                        <a:pt x="119771" y="453556"/>
                        <a:pt x="119966" y="453038"/>
                        <a:pt x="119935" y="452504"/>
                      </a:cubicBezTo>
                      <a:lnTo>
                        <a:pt x="103513" y="121429"/>
                      </a:lnTo>
                      <a:lnTo>
                        <a:pt x="194649" y="147058"/>
                      </a:lnTo>
                      <a:cubicBezTo>
                        <a:pt x="194824" y="147104"/>
                        <a:pt x="195003" y="147130"/>
                        <a:pt x="195178" y="147130"/>
                      </a:cubicBezTo>
                      <a:cubicBezTo>
                        <a:pt x="195635" y="147130"/>
                        <a:pt x="196082" y="146971"/>
                        <a:pt x="196441" y="146668"/>
                      </a:cubicBezTo>
                      <a:cubicBezTo>
                        <a:pt x="196939" y="146247"/>
                        <a:pt x="197191" y="145610"/>
                        <a:pt x="197124" y="144968"/>
                      </a:cubicBezTo>
                      <a:cubicBezTo>
                        <a:pt x="196975" y="143571"/>
                        <a:pt x="194187" y="130888"/>
                        <a:pt x="143001" y="116423"/>
                      </a:cubicBezTo>
                      <a:close/>
                      <a:moveTo>
                        <a:pt x="92319" y="111739"/>
                      </a:moveTo>
                      <a:cubicBezTo>
                        <a:pt x="92319" y="109028"/>
                        <a:pt x="94527" y="106820"/>
                        <a:pt x="97238" y="106820"/>
                      </a:cubicBezTo>
                      <a:cubicBezTo>
                        <a:pt x="99949" y="106820"/>
                        <a:pt x="102157" y="109023"/>
                        <a:pt x="102157" y="111739"/>
                      </a:cubicBezTo>
                      <a:cubicBezTo>
                        <a:pt x="102157" y="114456"/>
                        <a:pt x="99949" y="116659"/>
                        <a:pt x="97238" y="116659"/>
                      </a:cubicBezTo>
                      <a:cubicBezTo>
                        <a:pt x="94527" y="116659"/>
                        <a:pt x="92319" y="114451"/>
                        <a:pt x="92319" y="111739"/>
                      </a:cubicBezTo>
                      <a:close/>
                      <a:moveTo>
                        <a:pt x="101423" y="9738"/>
                      </a:moveTo>
                      <a:lnTo>
                        <a:pt x="101028" y="103780"/>
                      </a:lnTo>
                      <a:cubicBezTo>
                        <a:pt x="99878" y="103231"/>
                        <a:pt x="98594" y="102912"/>
                        <a:pt x="97238" y="102912"/>
                      </a:cubicBezTo>
                      <a:cubicBezTo>
                        <a:pt x="95882" y="102912"/>
                        <a:pt x="94481" y="103256"/>
                        <a:pt x="93289" y="103852"/>
                      </a:cubicBezTo>
                      <a:lnTo>
                        <a:pt x="93484" y="67609"/>
                      </a:lnTo>
                      <a:cubicBezTo>
                        <a:pt x="93654" y="34920"/>
                        <a:pt x="98142" y="17861"/>
                        <a:pt x="101418" y="9738"/>
                      </a:cubicBezTo>
                      <a:close/>
                      <a:moveTo>
                        <a:pt x="60497" y="136233"/>
                      </a:moveTo>
                      <a:cubicBezTo>
                        <a:pt x="31746" y="152316"/>
                        <a:pt x="16074" y="155983"/>
                        <a:pt x="8567" y="156553"/>
                      </a:cubicBezTo>
                      <a:lnTo>
                        <a:pt x="88411" y="111760"/>
                      </a:lnTo>
                      <a:cubicBezTo>
                        <a:pt x="88416" y="114584"/>
                        <a:pt x="89762" y="117095"/>
                        <a:pt x="91836" y="118708"/>
                      </a:cubicBezTo>
                      <a:cubicBezTo>
                        <a:pt x="86865" y="121486"/>
                        <a:pt x="71558" y="130041"/>
                        <a:pt x="60497" y="136233"/>
                      </a:cubicBezTo>
                      <a:close/>
                      <a:moveTo>
                        <a:pt x="106948" y="450635"/>
                      </a:moveTo>
                      <a:lnTo>
                        <a:pt x="78629" y="450635"/>
                      </a:lnTo>
                      <a:lnTo>
                        <a:pt x="96334" y="120520"/>
                      </a:lnTo>
                      <a:cubicBezTo>
                        <a:pt x="96632" y="120551"/>
                        <a:pt x="96935" y="120567"/>
                        <a:pt x="97243" y="120567"/>
                      </a:cubicBezTo>
                      <a:cubicBezTo>
                        <a:pt x="98039" y="120567"/>
                        <a:pt x="98804" y="120454"/>
                        <a:pt x="99539" y="120253"/>
                      </a:cubicBezTo>
                      <a:lnTo>
                        <a:pt x="115924" y="450635"/>
                      </a:lnTo>
                      <a:lnTo>
                        <a:pt x="106948" y="450635"/>
                      </a:lnTo>
                      <a:close/>
                      <a:moveTo>
                        <a:pt x="103939" y="117475"/>
                      </a:moveTo>
                      <a:cubicBezTo>
                        <a:pt x="105264" y="115930"/>
                        <a:pt x="106070" y="113927"/>
                        <a:pt x="106070" y="111739"/>
                      </a:cubicBezTo>
                      <a:cubicBezTo>
                        <a:pt x="106070" y="111139"/>
                        <a:pt x="106009" y="110553"/>
                        <a:pt x="105896" y="109988"/>
                      </a:cubicBezTo>
                      <a:lnTo>
                        <a:pt x="141938" y="120176"/>
                      </a:lnTo>
                      <a:cubicBezTo>
                        <a:pt x="174099" y="129265"/>
                        <a:pt x="186176" y="137425"/>
                        <a:pt x="190654" y="141856"/>
                      </a:cubicBezTo>
                      <a:lnTo>
                        <a:pt x="103944" y="117475"/>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26" name="Freeform: Shape 625">
                  <a:extLst>
                    <a:ext uri="{FF2B5EF4-FFF2-40B4-BE49-F238E27FC236}">
                      <a16:creationId xmlns:a16="http://schemas.microsoft.com/office/drawing/2014/main" id="{5852ECD8-107B-4289-8491-9462ED0F4638}"/>
                    </a:ext>
                  </a:extLst>
                </p:cNvPr>
                <p:cNvSpPr/>
                <p:nvPr/>
              </p:nvSpPr>
              <p:spPr>
                <a:xfrm>
                  <a:off x="3033419" y="4530558"/>
                  <a:ext cx="15880" cy="21688"/>
                </a:xfrm>
                <a:custGeom>
                  <a:avLst/>
                  <a:gdLst>
                    <a:gd name="connsiteX0" fmla="*/ 52 w 15880"/>
                    <a:gd name="connsiteY0" fmla="*/ 19290 h 21688"/>
                    <a:gd name="connsiteX1" fmla="*/ 1515 w 15880"/>
                    <a:gd name="connsiteY1" fmla="*/ 21637 h 21688"/>
                    <a:gd name="connsiteX2" fmla="*/ 1962 w 15880"/>
                    <a:gd name="connsiteY2" fmla="*/ 21688 h 21688"/>
                    <a:gd name="connsiteX3" fmla="*/ 3867 w 15880"/>
                    <a:gd name="connsiteY3" fmla="*/ 20173 h 21688"/>
                    <a:gd name="connsiteX4" fmla="*/ 15056 w 15880"/>
                    <a:gd name="connsiteY4" fmla="*/ 3551 h 21688"/>
                    <a:gd name="connsiteX5" fmla="*/ 15518 w 15880"/>
                    <a:gd name="connsiteY5" fmla="*/ 825 h 21688"/>
                    <a:gd name="connsiteX6" fmla="*/ 12792 w 15880"/>
                    <a:gd name="connsiteY6" fmla="*/ 363 h 21688"/>
                    <a:gd name="connsiteX7" fmla="*/ 57 w 15880"/>
                    <a:gd name="connsiteY7" fmla="*/ 19285 h 21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880" h="21688">
                      <a:moveTo>
                        <a:pt x="52" y="19290"/>
                      </a:moveTo>
                      <a:cubicBezTo>
                        <a:pt x="-195" y="20343"/>
                        <a:pt x="463" y="21396"/>
                        <a:pt x="1515" y="21637"/>
                      </a:cubicBezTo>
                      <a:cubicBezTo>
                        <a:pt x="1664" y="21673"/>
                        <a:pt x="1813" y="21688"/>
                        <a:pt x="1962" y="21688"/>
                      </a:cubicBezTo>
                      <a:cubicBezTo>
                        <a:pt x="2850" y="21688"/>
                        <a:pt x="3656" y="21077"/>
                        <a:pt x="3867" y="20173"/>
                      </a:cubicBezTo>
                      <a:cubicBezTo>
                        <a:pt x="5428" y="13467"/>
                        <a:pt x="9403" y="7562"/>
                        <a:pt x="15056" y="3551"/>
                      </a:cubicBezTo>
                      <a:cubicBezTo>
                        <a:pt x="15939" y="2925"/>
                        <a:pt x="16145" y="1703"/>
                        <a:pt x="15518" y="825"/>
                      </a:cubicBezTo>
                      <a:cubicBezTo>
                        <a:pt x="14892" y="-59"/>
                        <a:pt x="13670" y="-264"/>
                        <a:pt x="12792" y="363"/>
                      </a:cubicBezTo>
                      <a:cubicBezTo>
                        <a:pt x="6358" y="4922"/>
                        <a:pt x="1834" y="11644"/>
                        <a:pt x="57" y="19285"/>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27" name="Freeform: Shape 626">
                  <a:extLst>
                    <a:ext uri="{FF2B5EF4-FFF2-40B4-BE49-F238E27FC236}">
                      <a16:creationId xmlns:a16="http://schemas.microsoft.com/office/drawing/2014/main" id="{5D64B57C-BCAA-427C-B154-713A4BDA59B3}"/>
                    </a:ext>
                  </a:extLst>
                </p:cNvPr>
                <p:cNvSpPr/>
                <p:nvPr/>
              </p:nvSpPr>
              <p:spPr>
                <a:xfrm>
                  <a:off x="3043980" y="4578805"/>
                  <a:ext cx="10933" cy="8112"/>
                </a:xfrm>
                <a:custGeom>
                  <a:avLst/>
                  <a:gdLst>
                    <a:gd name="connsiteX0" fmla="*/ 8208 w 10933"/>
                    <a:gd name="connsiteY0" fmla="*/ 7953 h 8112"/>
                    <a:gd name="connsiteX1" fmla="*/ 8973 w 10933"/>
                    <a:gd name="connsiteY1" fmla="*/ 8112 h 8112"/>
                    <a:gd name="connsiteX2" fmla="*/ 10775 w 10933"/>
                    <a:gd name="connsiteY2" fmla="*/ 6926 h 8112"/>
                    <a:gd name="connsiteX3" fmla="*/ 9743 w 10933"/>
                    <a:gd name="connsiteY3" fmla="*/ 4359 h 8112"/>
                    <a:gd name="connsiteX4" fmla="*/ 3176 w 10933"/>
                    <a:gd name="connsiteY4" fmla="*/ 430 h 8112"/>
                    <a:gd name="connsiteX5" fmla="*/ 428 w 10933"/>
                    <a:gd name="connsiteY5" fmla="*/ 733 h 8112"/>
                    <a:gd name="connsiteX6" fmla="*/ 731 w 10933"/>
                    <a:gd name="connsiteY6" fmla="*/ 3481 h 8112"/>
                    <a:gd name="connsiteX7" fmla="*/ 8208 w 10933"/>
                    <a:gd name="connsiteY7" fmla="*/ 7953 h 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933" h="8112">
                      <a:moveTo>
                        <a:pt x="8208" y="7953"/>
                      </a:moveTo>
                      <a:cubicBezTo>
                        <a:pt x="8459" y="8061"/>
                        <a:pt x="8716" y="8112"/>
                        <a:pt x="8973" y="8112"/>
                      </a:cubicBezTo>
                      <a:cubicBezTo>
                        <a:pt x="9733" y="8112"/>
                        <a:pt x="10457" y="7666"/>
                        <a:pt x="10775" y="6926"/>
                      </a:cubicBezTo>
                      <a:cubicBezTo>
                        <a:pt x="11201" y="5930"/>
                        <a:pt x="10739" y="4785"/>
                        <a:pt x="9743" y="4359"/>
                      </a:cubicBezTo>
                      <a:cubicBezTo>
                        <a:pt x="7391" y="3357"/>
                        <a:pt x="5178" y="2033"/>
                        <a:pt x="3176" y="430"/>
                      </a:cubicBezTo>
                      <a:cubicBezTo>
                        <a:pt x="2333" y="-247"/>
                        <a:pt x="1101" y="-109"/>
                        <a:pt x="428" y="733"/>
                      </a:cubicBezTo>
                      <a:cubicBezTo>
                        <a:pt x="-244" y="1576"/>
                        <a:pt x="-111" y="2808"/>
                        <a:pt x="731" y="3481"/>
                      </a:cubicBezTo>
                      <a:cubicBezTo>
                        <a:pt x="3011" y="5309"/>
                        <a:pt x="5527" y="6813"/>
                        <a:pt x="8208" y="795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28" name="Freeform: Shape 627">
                  <a:extLst>
                    <a:ext uri="{FF2B5EF4-FFF2-40B4-BE49-F238E27FC236}">
                      <a16:creationId xmlns:a16="http://schemas.microsoft.com/office/drawing/2014/main" id="{9E891CE7-CEFC-4778-A894-4F8BAA09C6A1}"/>
                    </a:ext>
                  </a:extLst>
                </p:cNvPr>
                <p:cNvSpPr/>
                <p:nvPr/>
              </p:nvSpPr>
              <p:spPr>
                <a:xfrm>
                  <a:off x="3077687" y="4575205"/>
                  <a:ext cx="11687" cy="10213"/>
                </a:xfrm>
                <a:custGeom>
                  <a:avLst/>
                  <a:gdLst>
                    <a:gd name="connsiteX0" fmla="*/ 11195 w 11687"/>
                    <a:gd name="connsiteY0" fmla="*/ 3255 h 10213"/>
                    <a:gd name="connsiteX1" fmla="*/ 11026 w 11687"/>
                    <a:gd name="connsiteY1" fmla="*/ 493 h 10213"/>
                    <a:gd name="connsiteX2" fmla="*/ 8263 w 11687"/>
                    <a:gd name="connsiteY2" fmla="*/ 662 h 10213"/>
                    <a:gd name="connsiteX3" fmla="*/ 992 w 11687"/>
                    <a:gd name="connsiteY3" fmla="*/ 6557 h 10213"/>
                    <a:gd name="connsiteX4" fmla="*/ 252 w 11687"/>
                    <a:gd name="connsiteY4" fmla="*/ 9222 h 10213"/>
                    <a:gd name="connsiteX5" fmla="*/ 1957 w 11687"/>
                    <a:gd name="connsiteY5" fmla="*/ 10213 h 10213"/>
                    <a:gd name="connsiteX6" fmla="*/ 2917 w 11687"/>
                    <a:gd name="connsiteY6" fmla="*/ 9962 h 10213"/>
                    <a:gd name="connsiteX7" fmla="*/ 11190 w 11687"/>
                    <a:gd name="connsiteY7" fmla="*/ 3255 h 10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87" h="10213">
                      <a:moveTo>
                        <a:pt x="11195" y="3255"/>
                      </a:moveTo>
                      <a:cubicBezTo>
                        <a:pt x="11914" y="2444"/>
                        <a:pt x="11837" y="1212"/>
                        <a:pt x="11026" y="493"/>
                      </a:cubicBezTo>
                      <a:cubicBezTo>
                        <a:pt x="10214" y="-226"/>
                        <a:pt x="8977" y="-149"/>
                        <a:pt x="8263" y="662"/>
                      </a:cubicBezTo>
                      <a:cubicBezTo>
                        <a:pt x="6173" y="3024"/>
                        <a:pt x="3724" y="5007"/>
                        <a:pt x="992" y="6557"/>
                      </a:cubicBezTo>
                      <a:cubicBezTo>
                        <a:pt x="52" y="7091"/>
                        <a:pt x="-277" y="8283"/>
                        <a:pt x="252" y="9222"/>
                      </a:cubicBezTo>
                      <a:cubicBezTo>
                        <a:pt x="612" y="9859"/>
                        <a:pt x="1274" y="10213"/>
                        <a:pt x="1957" y="10213"/>
                      </a:cubicBezTo>
                      <a:cubicBezTo>
                        <a:pt x="2286" y="10213"/>
                        <a:pt x="2615" y="10131"/>
                        <a:pt x="2917" y="9962"/>
                      </a:cubicBezTo>
                      <a:cubicBezTo>
                        <a:pt x="6029" y="8200"/>
                        <a:pt x="8812" y="5941"/>
                        <a:pt x="11190" y="3255"/>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29" name="Freeform: Shape 628">
                  <a:extLst>
                    <a:ext uri="{FF2B5EF4-FFF2-40B4-BE49-F238E27FC236}">
                      <a16:creationId xmlns:a16="http://schemas.microsoft.com/office/drawing/2014/main" id="{50B1A254-6F54-4E02-BE0E-13D5AB7F7F30}"/>
                    </a:ext>
                  </a:extLst>
                </p:cNvPr>
                <p:cNvSpPr/>
                <p:nvPr/>
              </p:nvSpPr>
              <p:spPr>
                <a:xfrm>
                  <a:off x="3083445" y="4533141"/>
                  <a:ext cx="11768" cy="15880"/>
                </a:xfrm>
                <a:custGeom>
                  <a:avLst/>
                  <a:gdLst>
                    <a:gd name="connsiteX0" fmla="*/ 7969 w 11768"/>
                    <a:gd name="connsiteY0" fmla="*/ 14581 h 15880"/>
                    <a:gd name="connsiteX1" fmla="*/ 9813 w 11768"/>
                    <a:gd name="connsiteY1" fmla="*/ 15881 h 15880"/>
                    <a:gd name="connsiteX2" fmla="*/ 10465 w 11768"/>
                    <a:gd name="connsiteY2" fmla="*/ 15768 h 15880"/>
                    <a:gd name="connsiteX3" fmla="*/ 11656 w 11768"/>
                    <a:gd name="connsiteY3" fmla="*/ 13267 h 15880"/>
                    <a:gd name="connsiteX4" fmla="*/ 3291 w 11768"/>
                    <a:gd name="connsiteY4" fmla="*/ 527 h 15880"/>
                    <a:gd name="connsiteX5" fmla="*/ 529 w 11768"/>
                    <a:gd name="connsiteY5" fmla="*/ 619 h 15880"/>
                    <a:gd name="connsiteX6" fmla="*/ 621 w 11768"/>
                    <a:gd name="connsiteY6" fmla="*/ 3382 h 15880"/>
                    <a:gd name="connsiteX7" fmla="*/ 7969 w 11768"/>
                    <a:gd name="connsiteY7" fmla="*/ 14576 h 1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68" h="15880">
                      <a:moveTo>
                        <a:pt x="7969" y="14581"/>
                      </a:moveTo>
                      <a:cubicBezTo>
                        <a:pt x="8257" y="15382"/>
                        <a:pt x="9007" y="15881"/>
                        <a:pt x="9813" y="15881"/>
                      </a:cubicBezTo>
                      <a:cubicBezTo>
                        <a:pt x="10028" y="15881"/>
                        <a:pt x="10249" y="15845"/>
                        <a:pt x="10465" y="15768"/>
                      </a:cubicBezTo>
                      <a:cubicBezTo>
                        <a:pt x="11482" y="15408"/>
                        <a:pt x="12016" y="14289"/>
                        <a:pt x="11656" y="13267"/>
                      </a:cubicBezTo>
                      <a:cubicBezTo>
                        <a:pt x="9941" y="8445"/>
                        <a:pt x="7050" y="4034"/>
                        <a:pt x="3291" y="527"/>
                      </a:cubicBezTo>
                      <a:cubicBezTo>
                        <a:pt x="2506" y="-213"/>
                        <a:pt x="1263" y="-166"/>
                        <a:pt x="529" y="619"/>
                      </a:cubicBezTo>
                      <a:cubicBezTo>
                        <a:pt x="-211" y="1410"/>
                        <a:pt x="-170" y="2648"/>
                        <a:pt x="621" y="3382"/>
                      </a:cubicBezTo>
                      <a:cubicBezTo>
                        <a:pt x="3923" y="6468"/>
                        <a:pt x="6465" y="10340"/>
                        <a:pt x="7969" y="14576"/>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30" name="Freeform: Shape 629">
                  <a:extLst>
                    <a:ext uri="{FF2B5EF4-FFF2-40B4-BE49-F238E27FC236}">
                      <a16:creationId xmlns:a16="http://schemas.microsoft.com/office/drawing/2014/main" id="{FE6AA75F-476E-440E-88E3-45387B8E18D1}"/>
                    </a:ext>
                  </a:extLst>
                </p:cNvPr>
                <p:cNvSpPr/>
                <p:nvPr/>
              </p:nvSpPr>
              <p:spPr>
                <a:xfrm>
                  <a:off x="3011524" y="4508753"/>
                  <a:ext cx="33413" cy="50368"/>
                </a:xfrm>
                <a:custGeom>
                  <a:avLst/>
                  <a:gdLst>
                    <a:gd name="connsiteX0" fmla="*/ 1956 w 33413"/>
                    <a:gd name="connsiteY0" fmla="*/ 50369 h 50368"/>
                    <a:gd name="connsiteX1" fmla="*/ 3913 w 33413"/>
                    <a:gd name="connsiteY1" fmla="*/ 48413 h 50368"/>
                    <a:gd name="connsiteX2" fmla="*/ 32289 w 33413"/>
                    <a:gd name="connsiteY2" fmla="*/ 3728 h 50368"/>
                    <a:gd name="connsiteX3" fmla="*/ 33229 w 33413"/>
                    <a:gd name="connsiteY3" fmla="*/ 1124 h 50368"/>
                    <a:gd name="connsiteX4" fmla="*/ 30625 w 33413"/>
                    <a:gd name="connsiteY4" fmla="*/ 185 h 50368"/>
                    <a:gd name="connsiteX5" fmla="*/ 0 w 33413"/>
                    <a:gd name="connsiteY5" fmla="*/ 48413 h 50368"/>
                    <a:gd name="connsiteX6" fmla="*/ 1956 w 33413"/>
                    <a:gd name="connsiteY6" fmla="*/ 50369 h 50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13" h="50368">
                      <a:moveTo>
                        <a:pt x="1956" y="50369"/>
                      </a:moveTo>
                      <a:cubicBezTo>
                        <a:pt x="3035" y="50369"/>
                        <a:pt x="3913" y="49491"/>
                        <a:pt x="3913" y="48413"/>
                      </a:cubicBezTo>
                      <a:cubicBezTo>
                        <a:pt x="3913" y="29372"/>
                        <a:pt x="15051" y="11831"/>
                        <a:pt x="32289" y="3728"/>
                      </a:cubicBezTo>
                      <a:cubicBezTo>
                        <a:pt x="33264" y="3266"/>
                        <a:pt x="33686" y="2105"/>
                        <a:pt x="33229" y="1124"/>
                      </a:cubicBezTo>
                      <a:cubicBezTo>
                        <a:pt x="32766" y="149"/>
                        <a:pt x="31606" y="-272"/>
                        <a:pt x="30625" y="185"/>
                      </a:cubicBezTo>
                      <a:cubicBezTo>
                        <a:pt x="12021" y="8935"/>
                        <a:pt x="0" y="27862"/>
                        <a:pt x="0" y="48413"/>
                      </a:cubicBezTo>
                      <a:cubicBezTo>
                        <a:pt x="0" y="49491"/>
                        <a:pt x="878" y="50369"/>
                        <a:pt x="1956" y="50369"/>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31" name="Freeform: Shape 630">
                  <a:extLst>
                    <a:ext uri="{FF2B5EF4-FFF2-40B4-BE49-F238E27FC236}">
                      <a16:creationId xmlns:a16="http://schemas.microsoft.com/office/drawing/2014/main" id="{EE0AA9BD-EC28-4DDF-811F-832F0957B199}"/>
                    </a:ext>
                  </a:extLst>
                </p:cNvPr>
                <p:cNvSpPr/>
                <p:nvPr/>
              </p:nvSpPr>
              <p:spPr>
                <a:xfrm>
                  <a:off x="3028021" y="4592904"/>
                  <a:ext cx="19861" cy="13952"/>
                </a:xfrm>
                <a:custGeom>
                  <a:avLst/>
                  <a:gdLst>
                    <a:gd name="connsiteX0" fmla="*/ 17907 w 19861"/>
                    <a:gd name="connsiteY0" fmla="*/ 13953 h 13952"/>
                    <a:gd name="connsiteX1" fmla="*/ 19724 w 19861"/>
                    <a:gd name="connsiteY1" fmla="*/ 12715 h 13952"/>
                    <a:gd name="connsiteX2" fmla="*/ 18626 w 19861"/>
                    <a:gd name="connsiteY2" fmla="*/ 10178 h 13952"/>
                    <a:gd name="connsiteX3" fmla="*/ 3282 w 19861"/>
                    <a:gd name="connsiteY3" fmla="*/ 520 h 13952"/>
                    <a:gd name="connsiteX4" fmla="*/ 520 w 19861"/>
                    <a:gd name="connsiteY4" fmla="*/ 627 h 13952"/>
                    <a:gd name="connsiteX5" fmla="*/ 627 w 19861"/>
                    <a:gd name="connsiteY5" fmla="*/ 3390 h 13952"/>
                    <a:gd name="connsiteX6" fmla="*/ 17188 w 19861"/>
                    <a:gd name="connsiteY6" fmla="*/ 13814 h 13952"/>
                    <a:gd name="connsiteX7" fmla="*/ 17907 w 19861"/>
                    <a:gd name="connsiteY7" fmla="*/ 13953 h 13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861" h="13952">
                      <a:moveTo>
                        <a:pt x="17907" y="13953"/>
                      </a:moveTo>
                      <a:cubicBezTo>
                        <a:pt x="18687" y="13953"/>
                        <a:pt x="19422" y="13485"/>
                        <a:pt x="19724" y="12715"/>
                      </a:cubicBezTo>
                      <a:cubicBezTo>
                        <a:pt x="20120" y="11709"/>
                        <a:pt x="19632" y="10574"/>
                        <a:pt x="18626" y="10178"/>
                      </a:cubicBezTo>
                      <a:cubicBezTo>
                        <a:pt x="12946" y="7935"/>
                        <a:pt x="7786" y="4684"/>
                        <a:pt x="3282" y="520"/>
                      </a:cubicBezTo>
                      <a:cubicBezTo>
                        <a:pt x="2491" y="-215"/>
                        <a:pt x="1254" y="-163"/>
                        <a:pt x="520" y="627"/>
                      </a:cubicBezTo>
                      <a:cubicBezTo>
                        <a:pt x="-215" y="1418"/>
                        <a:pt x="-163" y="2661"/>
                        <a:pt x="627" y="3390"/>
                      </a:cubicBezTo>
                      <a:cubicBezTo>
                        <a:pt x="5490" y="7883"/>
                        <a:pt x="11062" y="11390"/>
                        <a:pt x="17188" y="13814"/>
                      </a:cubicBezTo>
                      <a:cubicBezTo>
                        <a:pt x="17424" y="13907"/>
                        <a:pt x="17665" y="13953"/>
                        <a:pt x="17907" y="1395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32" name="Freeform: Shape 631">
                  <a:extLst>
                    <a:ext uri="{FF2B5EF4-FFF2-40B4-BE49-F238E27FC236}">
                      <a16:creationId xmlns:a16="http://schemas.microsoft.com/office/drawing/2014/main" id="{F29AED87-5836-4EBE-9C50-1D3180538C41}"/>
                    </a:ext>
                  </a:extLst>
                </p:cNvPr>
                <p:cNvSpPr/>
                <p:nvPr/>
              </p:nvSpPr>
              <p:spPr>
                <a:xfrm>
                  <a:off x="3081577" y="4588643"/>
                  <a:ext cx="24096" cy="18259"/>
                </a:xfrm>
                <a:custGeom>
                  <a:avLst/>
                  <a:gdLst>
                    <a:gd name="connsiteX0" fmla="*/ 20656 w 24096"/>
                    <a:gd name="connsiteY0" fmla="*/ 678 h 18259"/>
                    <a:gd name="connsiteX1" fmla="*/ 1240 w 24096"/>
                    <a:gd name="connsiteY1" fmla="*/ 14481 h 18259"/>
                    <a:gd name="connsiteX2" fmla="*/ 136 w 24096"/>
                    <a:gd name="connsiteY2" fmla="*/ 17017 h 18259"/>
                    <a:gd name="connsiteX3" fmla="*/ 1959 w 24096"/>
                    <a:gd name="connsiteY3" fmla="*/ 18260 h 18259"/>
                    <a:gd name="connsiteX4" fmla="*/ 2673 w 24096"/>
                    <a:gd name="connsiteY4" fmla="*/ 18126 h 18259"/>
                    <a:gd name="connsiteX5" fmla="*/ 23624 w 24096"/>
                    <a:gd name="connsiteY5" fmla="*/ 3230 h 18259"/>
                    <a:gd name="connsiteX6" fmla="*/ 23413 w 24096"/>
                    <a:gd name="connsiteY6" fmla="*/ 472 h 18259"/>
                    <a:gd name="connsiteX7" fmla="*/ 20656 w 24096"/>
                    <a:gd name="connsiteY7" fmla="*/ 683 h 1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096" h="18259">
                      <a:moveTo>
                        <a:pt x="20656" y="678"/>
                      </a:moveTo>
                      <a:cubicBezTo>
                        <a:pt x="15413" y="6778"/>
                        <a:pt x="8696" y="11554"/>
                        <a:pt x="1240" y="14481"/>
                      </a:cubicBezTo>
                      <a:cubicBezTo>
                        <a:pt x="234" y="14876"/>
                        <a:pt x="-259" y="16011"/>
                        <a:pt x="136" y="17017"/>
                      </a:cubicBezTo>
                      <a:cubicBezTo>
                        <a:pt x="439" y="17788"/>
                        <a:pt x="1179" y="18260"/>
                        <a:pt x="1959" y="18260"/>
                      </a:cubicBezTo>
                      <a:cubicBezTo>
                        <a:pt x="2196" y="18260"/>
                        <a:pt x="2437" y="18219"/>
                        <a:pt x="2673" y="18126"/>
                      </a:cubicBezTo>
                      <a:cubicBezTo>
                        <a:pt x="10720" y="14963"/>
                        <a:pt x="17965" y="9813"/>
                        <a:pt x="23624" y="3230"/>
                      </a:cubicBezTo>
                      <a:cubicBezTo>
                        <a:pt x="24327" y="2413"/>
                        <a:pt x="24235" y="1176"/>
                        <a:pt x="23413" y="472"/>
                      </a:cubicBezTo>
                      <a:cubicBezTo>
                        <a:pt x="22597" y="-231"/>
                        <a:pt x="21359" y="-139"/>
                        <a:pt x="20656" y="68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33" name="Freeform: Shape 632">
                  <a:extLst>
                    <a:ext uri="{FF2B5EF4-FFF2-40B4-BE49-F238E27FC236}">
                      <a16:creationId xmlns:a16="http://schemas.microsoft.com/office/drawing/2014/main" id="{35DFFA9C-828E-4328-8C06-058A4636871D}"/>
                    </a:ext>
                  </a:extLst>
                </p:cNvPr>
                <p:cNvSpPr/>
                <p:nvPr/>
              </p:nvSpPr>
              <p:spPr>
                <a:xfrm>
                  <a:off x="3083452" y="4508214"/>
                  <a:ext cx="29630" cy="28842"/>
                </a:xfrm>
                <a:custGeom>
                  <a:avLst/>
                  <a:gdLst>
                    <a:gd name="connsiteX0" fmla="*/ 1168 w 29630"/>
                    <a:gd name="connsiteY0" fmla="*/ 3748 h 28842"/>
                    <a:gd name="connsiteX1" fmla="*/ 25908 w 29630"/>
                    <a:gd name="connsiteY1" fmla="*/ 27728 h 28842"/>
                    <a:gd name="connsiteX2" fmla="*/ 27675 w 29630"/>
                    <a:gd name="connsiteY2" fmla="*/ 28843 h 28842"/>
                    <a:gd name="connsiteX3" fmla="*/ 28517 w 29630"/>
                    <a:gd name="connsiteY3" fmla="*/ 28653 h 28842"/>
                    <a:gd name="connsiteX4" fmla="*/ 29441 w 29630"/>
                    <a:gd name="connsiteY4" fmla="*/ 26044 h 28842"/>
                    <a:gd name="connsiteX5" fmla="*/ 2744 w 29630"/>
                    <a:gd name="connsiteY5" fmla="*/ 169 h 28842"/>
                    <a:gd name="connsiteX6" fmla="*/ 167 w 29630"/>
                    <a:gd name="connsiteY6" fmla="*/ 1170 h 28842"/>
                    <a:gd name="connsiteX7" fmla="*/ 1168 w 29630"/>
                    <a:gd name="connsiteY7" fmla="*/ 3748 h 28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30" h="28842">
                      <a:moveTo>
                        <a:pt x="1168" y="3748"/>
                      </a:moveTo>
                      <a:cubicBezTo>
                        <a:pt x="12013" y="8513"/>
                        <a:pt x="20799" y="17027"/>
                        <a:pt x="25908" y="27728"/>
                      </a:cubicBezTo>
                      <a:cubicBezTo>
                        <a:pt x="26242" y="28432"/>
                        <a:pt x="26946" y="28843"/>
                        <a:pt x="27675" y="28843"/>
                      </a:cubicBezTo>
                      <a:cubicBezTo>
                        <a:pt x="27957" y="28843"/>
                        <a:pt x="28245" y="28781"/>
                        <a:pt x="28517" y="28653"/>
                      </a:cubicBezTo>
                      <a:cubicBezTo>
                        <a:pt x="29492" y="28185"/>
                        <a:pt x="29903" y="27020"/>
                        <a:pt x="29441" y="26044"/>
                      </a:cubicBezTo>
                      <a:cubicBezTo>
                        <a:pt x="23931" y="14501"/>
                        <a:pt x="14452" y="5309"/>
                        <a:pt x="2744" y="169"/>
                      </a:cubicBezTo>
                      <a:cubicBezTo>
                        <a:pt x="1753" y="-273"/>
                        <a:pt x="598" y="184"/>
                        <a:pt x="167" y="1170"/>
                      </a:cubicBezTo>
                      <a:cubicBezTo>
                        <a:pt x="-270" y="2161"/>
                        <a:pt x="182" y="3311"/>
                        <a:pt x="1168" y="3748"/>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500" name="Graphic 6">
                <a:extLst>
                  <a:ext uri="{FF2B5EF4-FFF2-40B4-BE49-F238E27FC236}">
                    <a16:creationId xmlns:a16="http://schemas.microsoft.com/office/drawing/2014/main" id="{591BD4E5-E5E0-44E5-B3E0-43BA638DA538}"/>
                  </a:ext>
                </a:extLst>
              </p:cNvPr>
              <p:cNvGrpSpPr/>
              <p:nvPr/>
            </p:nvGrpSpPr>
            <p:grpSpPr>
              <a:xfrm>
                <a:off x="1436610" y="4506949"/>
                <a:ext cx="170715" cy="392937"/>
                <a:chOff x="1499577" y="4507041"/>
                <a:chExt cx="170715" cy="392937"/>
              </a:xfrm>
              <a:solidFill>
                <a:srgbClr val="069688"/>
              </a:solidFill>
            </p:grpSpPr>
            <p:sp>
              <p:nvSpPr>
                <p:cNvPr id="616" name="Freeform: Shape 615">
                  <a:extLst>
                    <a:ext uri="{FF2B5EF4-FFF2-40B4-BE49-F238E27FC236}">
                      <a16:creationId xmlns:a16="http://schemas.microsoft.com/office/drawing/2014/main" id="{32B0D0EA-628B-446B-9922-02CEE279FD46}"/>
                    </a:ext>
                  </a:extLst>
                </p:cNvPr>
                <p:cNvSpPr/>
                <p:nvPr/>
              </p:nvSpPr>
              <p:spPr>
                <a:xfrm>
                  <a:off x="1499577" y="4507041"/>
                  <a:ext cx="170715" cy="392937"/>
                </a:xfrm>
                <a:custGeom>
                  <a:avLst/>
                  <a:gdLst>
                    <a:gd name="connsiteX0" fmla="*/ 123786 w 170715"/>
                    <a:gd name="connsiteY0" fmla="*/ 100504 h 392937"/>
                    <a:gd name="connsiteX1" fmla="*/ 91122 w 170715"/>
                    <a:gd name="connsiteY1" fmla="*/ 91271 h 392937"/>
                    <a:gd name="connsiteX2" fmla="*/ 91497 w 170715"/>
                    <a:gd name="connsiteY2" fmla="*/ 1963 h 392937"/>
                    <a:gd name="connsiteX3" fmla="*/ 90270 w 170715"/>
                    <a:gd name="connsiteY3" fmla="*/ 140 h 392937"/>
                    <a:gd name="connsiteX4" fmla="*/ 88123 w 170715"/>
                    <a:gd name="connsiteY4" fmla="*/ 613 h 392937"/>
                    <a:gd name="connsiteX5" fmla="*/ 77330 w 170715"/>
                    <a:gd name="connsiteY5" fmla="*/ 58613 h 392937"/>
                    <a:gd name="connsiteX6" fmla="*/ 77150 w 170715"/>
                    <a:gd name="connsiteY6" fmla="*/ 92262 h 392937"/>
                    <a:gd name="connsiteX7" fmla="*/ 998 w 170715"/>
                    <a:gd name="connsiteY7" fmla="*/ 134981 h 392937"/>
                    <a:gd name="connsiteX8" fmla="*/ 2 w 170715"/>
                    <a:gd name="connsiteY8" fmla="*/ 136762 h 392937"/>
                    <a:gd name="connsiteX9" fmla="*/ 1131 w 170715"/>
                    <a:gd name="connsiteY9" fmla="*/ 138462 h 392937"/>
                    <a:gd name="connsiteX10" fmla="*/ 5871 w 170715"/>
                    <a:gd name="connsiteY10" fmla="*/ 139181 h 392937"/>
                    <a:gd name="connsiteX11" fmla="*/ 54274 w 170715"/>
                    <a:gd name="connsiteY11" fmla="*/ 121059 h 392937"/>
                    <a:gd name="connsiteX12" fmla="*/ 79646 w 170715"/>
                    <a:gd name="connsiteY12" fmla="*/ 106871 h 392937"/>
                    <a:gd name="connsiteX13" fmla="*/ 64410 w 170715"/>
                    <a:gd name="connsiteY13" fmla="*/ 390879 h 392937"/>
                    <a:gd name="connsiteX14" fmla="*/ 64944 w 170715"/>
                    <a:gd name="connsiteY14" fmla="*/ 392327 h 392937"/>
                    <a:gd name="connsiteX15" fmla="*/ 66361 w 170715"/>
                    <a:gd name="connsiteY15" fmla="*/ 392938 h 392937"/>
                    <a:gd name="connsiteX16" fmla="*/ 102116 w 170715"/>
                    <a:gd name="connsiteY16" fmla="*/ 392938 h 392937"/>
                    <a:gd name="connsiteX17" fmla="*/ 103534 w 170715"/>
                    <a:gd name="connsiteY17" fmla="*/ 392332 h 392937"/>
                    <a:gd name="connsiteX18" fmla="*/ 104068 w 170715"/>
                    <a:gd name="connsiteY18" fmla="*/ 390889 h 392937"/>
                    <a:gd name="connsiteX19" fmla="*/ 89910 w 170715"/>
                    <a:gd name="connsiteY19" fmla="*/ 105449 h 392937"/>
                    <a:gd name="connsiteX20" fmla="*/ 168230 w 170715"/>
                    <a:gd name="connsiteY20" fmla="*/ 127473 h 392937"/>
                    <a:gd name="connsiteX21" fmla="*/ 168758 w 170715"/>
                    <a:gd name="connsiteY21" fmla="*/ 127545 h 392937"/>
                    <a:gd name="connsiteX22" fmla="*/ 170022 w 170715"/>
                    <a:gd name="connsiteY22" fmla="*/ 127083 h 392937"/>
                    <a:gd name="connsiteX23" fmla="*/ 170705 w 170715"/>
                    <a:gd name="connsiteY23" fmla="*/ 125383 h 392937"/>
                    <a:gd name="connsiteX24" fmla="*/ 123786 w 170715"/>
                    <a:gd name="connsiteY24" fmla="*/ 100509 h 392937"/>
                    <a:gd name="connsiteX25" fmla="*/ 80231 w 170715"/>
                    <a:gd name="connsiteY25" fmla="*/ 96725 h 392937"/>
                    <a:gd name="connsiteX26" fmla="*/ 84211 w 170715"/>
                    <a:gd name="connsiteY26" fmla="*/ 92745 h 392937"/>
                    <a:gd name="connsiteX27" fmla="*/ 88190 w 170715"/>
                    <a:gd name="connsiteY27" fmla="*/ 96725 h 392937"/>
                    <a:gd name="connsiteX28" fmla="*/ 84211 w 170715"/>
                    <a:gd name="connsiteY28" fmla="*/ 100704 h 392937"/>
                    <a:gd name="connsiteX29" fmla="*/ 80231 w 170715"/>
                    <a:gd name="connsiteY29" fmla="*/ 96725 h 392937"/>
                    <a:gd name="connsiteX30" fmla="*/ 87548 w 170715"/>
                    <a:gd name="connsiteY30" fmla="*/ 10113 h 392937"/>
                    <a:gd name="connsiteX31" fmla="*/ 87215 w 170715"/>
                    <a:gd name="connsiteY31" fmla="*/ 89433 h 392937"/>
                    <a:gd name="connsiteX32" fmla="*/ 84205 w 170715"/>
                    <a:gd name="connsiteY32" fmla="*/ 88832 h 392937"/>
                    <a:gd name="connsiteX33" fmla="*/ 81068 w 170715"/>
                    <a:gd name="connsiteY33" fmla="*/ 89484 h 392937"/>
                    <a:gd name="connsiteX34" fmla="*/ 81232 w 170715"/>
                    <a:gd name="connsiteY34" fmla="*/ 58623 h 392937"/>
                    <a:gd name="connsiteX35" fmla="*/ 87543 w 170715"/>
                    <a:gd name="connsiteY35" fmla="*/ 10113 h 392937"/>
                    <a:gd name="connsiteX36" fmla="*/ 52358 w 170715"/>
                    <a:gd name="connsiteY36" fmla="*/ 117634 h 392937"/>
                    <a:gd name="connsiteX37" fmla="*/ 8890 w 170715"/>
                    <a:gd name="connsiteY37" fmla="*/ 135027 h 392937"/>
                    <a:gd name="connsiteX38" fmla="*/ 76339 w 170715"/>
                    <a:gd name="connsiteY38" fmla="*/ 97187 h 392937"/>
                    <a:gd name="connsiteX39" fmla="*/ 79065 w 170715"/>
                    <a:gd name="connsiteY39" fmla="*/ 102702 h 392937"/>
                    <a:gd name="connsiteX40" fmla="*/ 52353 w 170715"/>
                    <a:gd name="connsiteY40" fmla="*/ 117640 h 392937"/>
                    <a:gd name="connsiteX41" fmla="*/ 92586 w 170715"/>
                    <a:gd name="connsiteY41" fmla="*/ 389020 h 392937"/>
                    <a:gd name="connsiteX42" fmla="*/ 68420 w 170715"/>
                    <a:gd name="connsiteY42" fmla="*/ 389020 h 392937"/>
                    <a:gd name="connsiteX43" fmla="*/ 83677 w 170715"/>
                    <a:gd name="connsiteY43" fmla="*/ 104586 h 392937"/>
                    <a:gd name="connsiteX44" fmla="*/ 84205 w 170715"/>
                    <a:gd name="connsiteY44" fmla="*/ 104612 h 392937"/>
                    <a:gd name="connsiteX45" fmla="*/ 85941 w 170715"/>
                    <a:gd name="connsiteY45" fmla="*/ 104412 h 392937"/>
                    <a:gd name="connsiteX46" fmla="*/ 100057 w 170715"/>
                    <a:gd name="connsiteY46" fmla="*/ 389015 h 392937"/>
                    <a:gd name="connsiteX47" fmla="*/ 92591 w 170715"/>
                    <a:gd name="connsiteY47" fmla="*/ 389015 h 392937"/>
                    <a:gd name="connsiteX48" fmla="*/ 90450 w 170715"/>
                    <a:gd name="connsiteY48" fmla="*/ 101531 h 392937"/>
                    <a:gd name="connsiteX49" fmla="*/ 92098 w 170715"/>
                    <a:gd name="connsiteY49" fmla="*/ 96725 h 392937"/>
                    <a:gd name="connsiteX50" fmla="*/ 92006 w 170715"/>
                    <a:gd name="connsiteY50" fmla="*/ 95585 h 392937"/>
                    <a:gd name="connsiteX51" fmla="*/ 122718 w 170715"/>
                    <a:gd name="connsiteY51" fmla="*/ 104268 h 392937"/>
                    <a:gd name="connsiteX52" fmla="*/ 163880 w 170715"/>
                    <a:gd name="connsiteY52" fmla="*/ 122179 h 392937"/>
                    <a:gd name="connsiteX53" fmla="*/ 90450 w 170715"/>
                    <a:gd name="connsiteY53" fmla="*/ 101531 h 392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70715" h="392937">
                      <a:moveTo>
                        <a:pt x="123786" y="100504"/>
                      </a:moveTo>
                      <a:lnTo>
                        <a:pt x="91122" y="91271"/>
                      </a:lnTo>
                      <a:lnTo>
                        <a:pt x="91497" y="1963"/>
                      </a:lnTo>
                      <a:cubicBezTo>
                        <a:pt x="91497" y="1162"/>
                        <a:pt x="91014" y="438"/>
                        <a:pt x="90270" y="140"/>
                      </a:cubicBezTo>
                      <a:cubicBezTo>
                        <a:pt x="89525" y="-157"/>
                        <a:pt x="88673" y="27"/>
                        <a:pt x="88123" y="613"/>
                      </a:cubicBezTo>
                      <a:cubicBezTo>
                        <a:pt x="87692" y="1070"/>
                        <a:pt x="77571" y="12269"/>
                        <a:pt x="77330" y="58613"/>
                      </a:cubicBezTo>
                      <a:lnTo>
                        <a:pt x="77150" y="92262"/>
                      </a:lnTo>
                      <a:cubicBezTo>
                        <a:pt x="77109" y="92283"/>
                        <a:pt x="998" y="134981"/>
                        <a:pt x="998" y="134981"/>
                      </a:cubicBezTo>
                      <a:cubicBezTo>
                        <a:pt x="361" y="135340"/>
                        <a:pt x="-29" y="136028"/>
                        <a:pt x="2" y="136762"/>
                      </a:cubicBezTo>
                      <a:cubicBezTo>
                        <a:pt x="27" y="137497"/>
                        <a:pt x="469" y="138154"/>
                        <a:pt x="1131" y="138462"/>
                      </a:cubicBezTo>
                      <a:cubicBezTo>
                        <a:pt x="1511" y="138637"/>
                        <a:pt x="2924" y="139181"/>
                        <a:pt x="5871" y="139181"/>
                      </a:cubicBezTo>
                      <a:cubicBezTo>
                        <a:pt x="12449" y="139181"/>
                        <a:pt x="26693" y="136485"/>
                        <a:pt x="54274" y="121059"/>
                      </a:cubicBezTo>
                      <a:lnTo>
                        <a:pt x="79646" y="106871"/>
                      </a:lnTo>
                      <a:lnTo>
                        <a:pt x="64410" y="390879"/>
                      </a:lnTo>
                      <a:cubicBezTo>
                        <a:pt x="64384" y="391413"/>
                        <a:pt x="64574" y="391941"/>
                        <a:pt x="64944" y="392327"/>
                      </a:cubicBezTo>
                      <a:cubicBezTo>
                        <a:pt x="65314" y="392717"/>
                        <a:pt x="65827" y="392938"/>
                        <a:pt x="66361" y="392938"/>
                      </a:cubicBezTo>
                      <a:lnTo>
                        <a:pt x="102116" y="392938"/>
                      </a:lnTo>
                      <a:cubicBezTo>
                        <a:pt x="102650" y="392938"/>
                        <a:pt x="103164" y="392717"/>
                        <a:pt x="103534" y="392332"/>
                      </a:cubicBezTo>
                      <a:cubicBezTo>
                        <a:pt x="103903" y="391941"/>
                        <a:pt x="104098" y="391423"/>
                        <a:pt x="104068" y="390889"/>
                      </a:cubicBezTo>
                      <a:lnTo>
                        <a:pt x="89910" y="105449"/>
                      </a:lnTo>
                      <a:lnTo>
                        <a:pt x="168230" y="127473"/>
                      </a:lnTo>
                      <a:cubicBezTo>
                        <a:pt x="168404" y="127519"/>
                        <a:pt x="168584" y="127545"/>
                        <a:pt x="168758" y="127545"/>
                      </a:cubicBezTo>
                      <a:cubicBezTo>
                        <a:pt x="169215" y="127545"/>
                        <a:pt x="169662" y="127386"/>
                        <a:pt x="170022" y="127083"/>
                      </a:cubicBezTo>
                      <a:cubicBezTo>
                        <a:pt x="170520" y="126662"/>
                        <a:pt x="170771" y="126025"/>
                        <a:pt x="170705" y="125383"/>
                      </a:cubicBezTo>
                      <a:cubicBezTo>
                        <a:pt x="170576" y="124156"/>
                        <a:pt x="168147" y="113044"/>
                        <a:pt x="123786" y="100509"/>
                      </a:cubicBezTo>
                      <a:close/>
                      <a:moveTo>
                        <a:pt x="80231" y="96725"/>
                      </a:moveTo>
                      <a:cubicBezTo>
                        <a:pt x="80231" y="94532"/>
                        <a:pt x="82013" y="92745"/>
                        <a:pt x="84211" y="92745"/>
                      </a:cubicBezTo>
                      <a:cubicBezTo>
                        <a:pt x="86408" y="92745"/>
                        <a:pt x="88190" y="94532"/>
                        <a:pt x="88190" y="96725"/>
                      </a:cubicBezTo>
                      <a:cubicBezTo>
                        <a:pt x="88190" y="98917"/>
                        <a:pt x="86403" y="100704"/>
                        <a:pt x="84211" y="100704"/>
                      </a:cubicBezTo>
                      <a:cubicBezTo>
                        <a:pt x="82018" y="100704"/>
                        <a:pt x="80231" y="98922"/>
                        <a:pt x="80231" y="96725"/>
                      </a:cubicBezTo>
                      <a:close/>
                      <a:moveTo>
                        <a:pt x="87548" y="10113"/>
                      </a:moveTo>
                      <a:lnTo>
                        <a:pt x="87215" y="89433"/>
                      </a:lnTo>
                      <a:cubicBezTo>
                        <a:pt x="86285" y="89048"/>
                        <a:pt x="85274" y="88832"/>
                        <a:pt x="84205" y="88832"/>
                      </a:cubicBezTo>
                      <a:cubicBezTo>
                        <a:pt x="83137" y="88832"/>
                        <a:pt x="82028" y="89068"/>
                        <a:pt x="81068" y="89484"/>
                      </a:cubicBezTo>
                      <a:lnTo>
                        <a:pt x="81232" y="58623"/>
                      </a:lnTo>
                      <a:cubicBezTo>
                        <a:pt x="81371" y="32121"/>
                        <a:pt x="84796" y="17553"/>
                        <a:pt x="87543" y="10113"/>
                      </a:cubicBezTo>
                      <a:close/>
                      <a:moveTo>
                        <a:pt x="52358" y="117634"/>
                      </a:moveTo>
                      <a:cubicBezTo>
                        <a:pt x="29050" y="130672"/>
                        <a:pt x="15735" y="134236"/>
                        <a:pt x="8890" y="135027"/>
                      </a:cubicBezTo>
                      <a:lnTo>
                        <a:pt x="76339" y="97187"/>
                      </a:lnTo>
                      <a:cubicBezTo>
                        <a:pt x="76467" y="99385"/>
                        <a:pt x="77494" y="101346"/>
                        <a:pt x="79065" y="102702"/>
                      </a:cubicBezTo>
                      <a:lnTo>
                        <a:pt x="52353" y="117640"/>
                      </a:lnTo>
                      <a:close/>
                      <a:moveTo>
                        <a:pt x="92586" y="389020"/>
                      </a:moveTo>
                      <a:lnTo>
                        <a:pt x="68420" y="389020"/>
                      </a:lnTo>
                      <a:lnTo>
                        <a:pt x="83677" y="104586"/>
                      </a:lnTo>
                      <a:cubicBezTo>
                        <a:pt x="83851" y="104597"/>
                        <a:pt x="84026" y="104612"/>
                        <a:pt x="84205" y="104612"/>
                      </a:cubicBezTo>
                      <a:cubicBezTo>
                        <a:pt x="84801" y="104612"/>
                        <a:pt x="85381" y="104540"/>
                        <a:pt x="85941" y="104412"/>
                      </a:cubicBezTo>
                      <a:lnTo>
                        <a:pt x="100057" y="389015"/>
                      </a:lnTo>
                      <a:lnTo>
                        <a:pt x="92591" y="389015"/>
                      </a:lnTo>
                      <a:close/>
                      <a:moveTo>
                        <a:pt x="90450" y="101531"/>
                      </a:moveTo>
                      <a:cubicBezTo>
                        <a:pt x="91477" y="100201"/>
                        <a:pt x="92098" y="98537"/>
                        <a:pt x="92098" y="96725"/>
                      </a:cubicBezTo>
                      <a:cubicBezTo>
                        <a:pt x="92098" y="96334"/>
                        <a:pt x="92062" y="95954"/>
                        <a:pt x="92006" y="95585"/>
                      </a:cubicBezTo>
                      <a:lnTo>
                        <a:pt x="122718" y="104268"/>
                      </a:lnTo>
                      <a:cubicBezTo>
                        <a:pt x="148799" y="111637"/>
                        <a:pt x="159515" y="118281"/>
                        <a:pt x="163880" y="122179"/>
                      </a:cubicBezTo>
                      <a:lnTo>
                        <a:pt x="90450" y="101531"/>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17" name="Freeform: Shape 616">
                  <a:extLst>
                    <a:ext uri="{FF2B5EF4-FFF2-40B4-BE49-F238E27FC236}">
                      <a16:creationId xmlns:a16="http://schemas.microsoft.com/office/drawing/2014/main" id="{7D986A70-E53F-4839-A934-37AEFC4516D0}"/>
                    </a:ext>
                  </a:extLst>
                </p:cNvPr>
                <p:cNvSpPr/>
                <p:nvPr/>
              </p:nvSpPr>
              <p:spPr>
                <a:xfrm>
                  <a:off x="1556546" y="4580537"/>
                  <a:ext cx="14242" cy="19254"/>
                </a:xfrm>
                <a:custGeom>
                  <a:avLst/>
                  <a:gdLst>
                    <a:gd name="connsiteX0" fmla="*/ 52 w 14242"/>
                    <a:gd name="connsiteY0" fmla="*/ 16851 h 19254"/>
                    <a:gd name="connsiteX1" fmla="*/ 1515 w 14242"/>
                    <a:gd name="connsiteY1" fmla="*/ 19203 h 19254"/>
                    <a:gd name="connsiteX2" fmla="*/ 1962 w 14242"/>
                    <a:gd name="connsiteY2" fmla="*/ 19254 h 19254"/>
                    <a:gd name="connsiteX3" fmla="*/ 3867 w 14242"/>
                    <a:gd name="connsiteY3" fmla="*/ 17739 h 19254"/>
                    <a:gd name="connsiteX4" fmla="*/ 13418 w 14242"/>
                    <a:gd name="connsiteY4" fmla="*/ 3551 h 19254"/>
                    <a:gd name="connsiteX5" fmla="*/ 13880 w 14242"/>
                    <a:gd name="connsiteY5" fmla="*/ 825 h 19254"/>
                    <a:gd name="connsiteX6" fmla="*/ 11154 w 14242"/>
                    <a:gd name="connsiteY6" fmla="*/ 363 h 19254"/>
                    <a:gd name="connsiteX7" fmla="*/ 57 w 14242"/>
                    <a:gd name="connsiteY7" fmla="*/ 16856 h 19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42" h="19254">
                      <a:moveTo>
                        <a:pt x="52" y="16851"/>
                      </a:moveTo>
                      <a:cubicBezTo>
                        <a:pt x="-195" y="17904"/>
                        <a:pt x="463" y="18956"/>
                        <a:pt x="1515" y="19203"/>
                      </a:cubicBezTo>
                      <a:cubicBezTo>
                        <a:pt x="1664" y="19239"/>
                        <a:pt x="1813" y="19254"/>
                        <a:pt x="1962" y="19254"/>
                      </a:cubicBezTo>
                      <a:cubicBezTo>
                        <a:pt x="2850" y="19254"/>
                        <a:pt x="3657" y="18643"/>
                        <a:pt x="3867" y="17739"/>
                      </a:cubicBezTo>
                      <a:cubicBezTo>
                        <a:pt x="5202" y="12009"/>
                        <a:pt x="8591" y="6971"/>
                        <a:pt x="13418" y="3551"/>
                      </a:cubicBezTo>
                      <a:cubicBezTo>
                        <a:pt x="14301" y="2925"/>
                        <a:pt x="14507" y="1703"/>
                        <a:pt x="13880" y="825"/>
                      </a:cubicBezTo>
                      <a:cubicBezTo>
                        <a:pt x="13254" y="-59"/>
                        <a:pt x="12032" y="-264"/>
                        <a:pt x="11154" y="363"/>
                      </a:cubicBezTo>
                      <a:cubicBezTo>
                        <a:pt x="5546" y="4337"/>
                        <a:pt x="1608" y="10196"/>
                        <a:pt x="57" y="16856"/>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18" name="Freeform: Shape 617">
                  <a:extLst>
                    <a:ext uri="{FF2B5EF4-FFF2-40B4-BE49-F238E27FC236}">
                      <a16:creationId xmlns:a16="http://schemas.microsoft.com/office/drawing/2014/main" id="{AB1544CF-D79F-4040-BBA5-257FA36C99A0}"/>
                    </a:ext>
                  </a:extLst>
                </p:cNvPr>
                <p:cNvSpPr/>
                <p:nvPr/>
              </p:nvSpPr>
              <p:spPr>
                <a:xfrm>
                  <a:off x="1565664" y="4622176"/>
                  <a:ext cx="9973" cy="7537"/>
                </a:xfrm>
                <a:custGeom>
                  <a:avLst/>
                  <a:gdLst>
                    <a:gd name="connsiteX0" fmla="*/ 7248 w 9973"/>
                    <a:gd name="connsiteY0" fmla="*/ 7383 h 7537"/>
                    <a:gd name="connsiteX1" fmla="*/ 8013 w 9973"/>
                    <a:gd name="connsiteY1" fmla="*/ 7537 h 7537"/>
                    <a:gd name="connsiteX2" fmla="*/ 9815 w 9973"/>
                    <a:gd name="connsiteY2" fmla="*/ 6351 h 7537"/>
                    <a:gd name="connsiteX3" fmla="*/ 8783 w 9973"/>
                    <a:gd name="connsiteY3" fmla="*/ 3784 h 7537"/>
                    <a:gd name="connsiteX4" fmla="*/ 3176 w 9973"/>
                    <a:gd name="connsiteY4" fmla="*/ 430 h 7537"/>
                    <a:gd name="connsiteX5" fmla="*/ 428 w 9973"/>
                    <a:gd name="connsiteY5" fmla="*/ 733 h 7537"/>
                    <a:gd name="connsiteX6" fmla="*/ 731 w 9973"/>
                    <a:gd name="connsiteY6" fmla="*/ 3481 h 7537"/>
                    <a:gd name="connsiteX7" fmla="*/ 7248 w 9973"/>
                    <a:gd name="connsiteY7" fmla="*/ 7383 h 7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73" h="7537">
                      <a:moveTo>
                        <a:pt x="7248" y="7383"/>
                      </a:moveTo>
                      <a:cubicBezTo>
                        <a:pt x="7499" y="7491"/>
                        <a:pt x="7756" y="7537"/>
                        <a:pt x="8013" y="7537"/>
                      </a:cubicBezTo>
                      <a:cubicBezTo>
                        <a:pt x="8773" y="7537"/>
                        <a:pt x="9497" y="7091"/>
                        <a:pt x="9815" y="6351"/>
                      </a:cubicBezTo>
                      <a:cubicBezTo>
                        <a:pt x="10241" y="5355"/>
                        <a:pt x="9779" y="4210"/>
                        <a:pt x="8783" y="3784"/>
                      </a:cubicBezTo>
                      <a:cubicBezTo>
                        <a:pt x="6770" y="2926"/>
                        <a:pt x="4886" y="1796"/>
                        <a:pt x="3176" y="430"/>
                      </a:cubicBezTo>
                      <a:cubicBezTo>
                        <a:pt x="2333" y="-247"/>
                        <a:pt x="1101" y="-109"/>
                        <a:pt x="428" y="733"/>
                      </a:cubicBezTo>
                      <a:cubicBezTo>
                        <a:pt x="-244" y="1576"/>
                        <a:pt x="-111" y="2808"/>
                        <a:pt x="731" y="3481"/>
                      </a:cubicBezTo>
                      <a:cubicBezTo>
                        <a:pt x="2719" y="5073"/>
                        <a:pt x="4911" y="6382"/>
                        <a:pt x="7248" y="738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19" name="Freeform: Shape 618">
                  <a:extLst>
                    <a:ext uri="{FF2B5EF4-FFF2-40B4-BE49-F238E27FC236}">
                      <a16:creationId xmlns:a16="http://schemas.microsoft.com/office/drawing/2014/main" id="{7EFDFA4A-E505-4B22-81F1-B153D58A4269}"/>
                    </a:ext>
                  </a:extLst>
                </p:cNvPr>
                <p:cNvSpPr/>
                <p:nvPr/>
              </p:nvSpPr>
              <p:spPr>
                <a:xfrm>
                  <a:off x="1594765" y="4619075"/>
                  <a:ext cx="10621" cy="9348"/>
                </a:xfrm>
                <a:custGeom>
                  <a:avLst/>
                  <a:gdLst>
                    <a:gd name="connsiteX0" fmla="*/ 10132 w 10621"/>
                    <a:gd name="connsiteY0" fmla="*/ 3253 h 9348"/>
                    <a:gd name="connsiteX1" fmla="*/ 9963 w 10621"/>
                    <a:gd name="connsiteY1" fmla="*/ 491 h 9348"/>
                    <a:gd name="connsiteX2" fmla="*/ 7200 w 10621"/>
                    <a:gd name="connsiteY2" fmla="*/ 660 h 9348"/>
                    <a:gd name="connsiteX3" fmla="*/ 992 w 10621"/>
                    <a:gd name="connsiteY3" fmla="*/ 5693 h 9348"/>
                    <a:gd name="connsiteX4" fmla="*/ 252 w 10621"/>
                    <a:gd name="connsiteY4" fmla="*/ 8358 h 9348"/>
                    <a:gd name="connsiteX5" fmla="*/ 1957 w 10621"/>
                    <a:gd name="connsiteY5" fmla="*/ 9349 h 9348"/>
                    <a:gd name="connsiteX6" fmla="*/ 2917 w 10621"/>
                    <a:gd name="connsiteY6" fmla="*/ 9097 h 9348"/>
                    <a:gd name="connsiteX7" fmla="*/ 10127 w 10621"/>
                    <a:gd name="connsiteY7" fmla="*/ 3253 h 9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21" h="9348">
                      <a:moveTo>
                        <a:pt x="10132" y="3253"/>
                      </a:moveTo>
                      <a:cubicBezTo>
                        <a:pt x="10846" y="2447"/>
                        <a:pt x="10769" y="1210"/>
                        <a:pt x="9963" y="491"/>
                      </a:cubicBezTo>
                      <a:cubicBezTo>
                        <a:pt x="9151" y="-223"/>
                        <a:pt x="7919" y="-151"/>
                        <a:pt x="7200" y="660"/>
                      </a:cubicBezTo>
                      <a:cubicBezTo>
                        <a:pt x="5418" y="2678"/>
                        <a:pt x="3328" y="4368"/>
                        <a:pt x="992" y="5693"/>
                      </a:cubicBezTo>
                      <a:cubicBezTo>
                        <a:pt x="52" y="6227"/>
                        <a:pt x="-276" y="7418"/>
                        <a:pt x="252" y="8358"/>
                      </a:cubicBezTo>
                      <a:cubicBezTo>
                        <a:pt x="612" y="8994"/>
                        <a:pt x="1274" y="9349"/>
                        <a:pt x="1957" y="9349"/>
                      </a:cubicBezTo>
                      <a:cubicBezTo>
                        <a:pt x="2286" y="9349"/>
                        <a:pt x="2615" y="9266"/>
                        <a:pt x="2917" y="9097"/>
                      </a:cubicBezTo>
                      <a:cubicBezTo>
                        <a:pt x="5634" y="7557"/>
                        <a:pt x="8058" y="5595"/>
                        <a:pt x="10127" y="325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20" name="Freeform: Shape 619">
                  <a:extLst>
                    <a:ext uri="{FF2B5EF4-FFF2-40B4-BE49-F238E27FC236}">
                      <a16:creationId xmlns:a16="http://schemas.microsoft.com/office/drawing/2014/main" id="{DC656580-C4D0-4B98-93EE-FEBB5AA70F5C}"/>
                    </a:ext>
                  </a:extLst>
                </p:cNvPr>
                <p:cNvSpPr/>
                <p:nvPr/>
              </p:nvSpPr>
              <p:spPr>
                <a:xfrm>
                  <a:off x="1599737" y="4582755"/>
                  <a:ext cx="10689" cy="14247"/>
                </a:xfrm>
                <a:custGeom>
                  <a:avLst/>
                  <a:gdLst>
                    <a:gd name="connsiteX0" fmla="*/ 6891 w 10689"/>
                    <a:gd name="connsiteY0" fmla="*/ 12948 h 14247"/>
                    <a:gd name="connsiteX1" fmla="*/ 8734 w 10689"/>
                    <a:gd name="connsiteY1" fmla="*/ 14248 h 14247"/>
                    <a:gd name="connsiteX2" fmla="*/ 9387 w 10689"/>
                    <a:gd name="connsiteY2" fmla="*/ 14135 h 14247"/>
                    <a:gd name="connsiteX3" fmla="*/ 10578 w 10689"/>
                    <a:gd name="connsiteY3" fmla="*/ 11634 h 14247"/>
                    <a:gd name="connsiteX4" fmla="*/ 3291 w 10689"/>
                    <a:gd name="connsiteY4" fmla="*/ 527 h 14247"/>
                    <a:gd name="connsiteX5" fmla="*/ 529 w 10689"/>
                    <a:gd name="connsiteY5" fmla="*/ 619 h 14247"/>
                    <a:gd name="connsiteX6" fmla="*/ 621 w 10689"/>
                    <a:gd name="connsiteY6" fmla="*/ 3382 h 14247"/>
                    <a:gd name="connsiteX7" fmla="*/ 6896 w 10689"/>
                    <a:gd name="connsiteY7" fmla="*/ 12938 h 14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89" h="14247">
                      <a:moveTo>
                        <a:pt x="6891" y="12948"/>
                      </a:moveTo>
                      <a:cubicBezTo>
                        <a:pt x="7179" y="13750"/>
                        <a:pt x="7928" y="14248"/>
                        <a:pt x="8734" y="14248"/>
                      </a:cubicBezTo>
                      <a:cubicBezTo>
                        <a:pt x="8950" y="14248"/>
                        <a:pt x="9171" y="14212"/>
                        <a:pt x="9387" y="14135"/>
                      </a:cubicBezTo>
                      <a:cubicBezTo>
                        <a:pt x="10403" y="13775"/>
                        <a:pt x="10937" y="12656"/>
                        <a:pt x="10578" y="11634"/>
                      </a:cubicBezTo>
                      <a:cubicBezTo>
                        <a:pt x="9084" y="7428"/>
                        <a:pt x="6567" y="3592"/>
                        <a:pt x="3291" y="527"/>
                      </a:cubicBezTo>
                      <a:cubicBezTo>
                        <a:pt x="2506" y="-213"/>
                        <a:pt x="1263" y="-166"/>
                        <a:pt x="529" y="619"/>
                      </a:cubicBezTo>
                      <a:cubicBezTo>
                        <a:pt x="-211" y="1410"/>
                        <a:pt x="-170" y="2648"/>
                        <a:pt x="621" y="3382"/>
                      </a:cubicBezTo>
                      <a:cubicBezTo>
                        <a:pt x="3440" y="6021"/>
                        <a:pt x="5612" y="9323"/>
                        <a:pt x="6896" y="12938"/>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21" name="Freeform: Shape 620">
                  <a:extLst>
                    <a:ext uri="{FF2B5EF4-FFF2-40B4-BE49-F238E27FC236}">
                      <a16:creationId xmlns:a16="http://schemas.microsoft.com/office/drawing/2014/main" id="{EB3AE52F-536E-43FF-9D08-F50AA6FC366E}"/>
                    </a:ext>
                  </a:extLst>
                </p:cNvPr>
                <p:cNvSpPr/>
                <p:nvPr/>
              </p:nvSpPr>
              <p:spPr>
                <a:xfrm>
                  <a:off x="1537649" y="4561707"/>
                  <a:ext cx="29377" cy="44020"/>
                </a:xfrm>
                <a:custGeom>
                  <a:avLst/>
                  <a:gdLst>
                    <a:gd name="connsiteX0" fmla="*/ 1951 w 29377"/>
                    <a:gd name="connsiteY0" fmla="*/ 44020 h 44020"/>
                    <a:gd name="connsiteX1" fmla="*/ 3908 w 29377"/>
                    <a:gd name="connsiteY1" fmla="*/ 42064 h 44020"/>
                    <a:gd name="connsiteX2" fmla="*/ 28253 w 29377"/>
                    <a:gd name="connsiteY2" fmla="*/ 3726 h 44020"/>
                    <a:gd name="connsiteX3" fmla="*/ 29192 w 29377"/>
                    <a:gd name="connsiteY3" fmla="*/ 1122 h 44020"/>
                    <a:gd name="connsiteX4" fmla="*/ 26589 w 29377"/>
                    <a:gd name="connsiteY4" fmla="*/ 188 h 44020"/>
                    <a:gd name="connsiteX5" fmla="*/ 0 w 29377"/>
                    <a:gd name="connsiteY5" fmla="*/ 42064 h 44020"/>
                    <a:gd name="connsiteX6" fmla="*/ 1956 w 29377"/>
                    <a:gd name="connsiteY6" fmla="*/ 44020 h 44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77" h="44020">
                      <a:moveTo>
                        <a:pt x="1951" y="44020"/>
                      </a:moveTo>
                      <a:cubicBezTo>
                        <a:pt x="3030" y="44020"/>
                        <a:pt x="3908" y="43142"/>
                        <a:pt x="3908" y="42064"/>
                      </a:cubicBezTo>
                      <a:cubicBezTo>
                        <a:pt x="3908" y="25729"/>
                        <a:pt x="13464" y="10684"/>
                        <a:pt x="28253" y="3726"/>
                      </a:cubicBezTo>
                      <a:cubicBezTo>
                        <a:pt x="29228" y="3264"/>
                        <a:pt x="29650" y="2103"/>
                        <a:pt x="29192" y="1122"/>
                      </a:cubicBezTo>
                      <a:cubicBezTo>
                        <a:pt x="28730" y="147"/>
                        <a:pt x="27570" y="-274"/>
                        <a:pt x="26589" y="188"/>
                      </a:cubicBezTo>
                      <a:cubicBezTo>
                        <a:pt x="10434" y="7782"/>
                        <a:pt x="0" y="24220"/>
                        <a:pt x="0" y="42064"/>
                      </a:cubicBezTo>
                      <a:cubicBezTo>
                        <a:pt x="0" y="43142"/>
                        <a:pt x="878" y="44020"/>
                        <a:pt x="1956" y="4402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22" name="Freeform: Shape 621">
                  <a:extLst>
                    <a:ext uri="{FF2B5EF4-FFF2-40B4-BE49-F238E27FC236}">
                      <a16:creationId xmlns:a16="http://schemas.microsoft.com/office/drawing/2014/main" id="{22B005F0-32B1-48C6-93D8-FC9E9A3226CF}"/>
                    </a:ext>
                  </a:extLst>
                </p:cNvPr>
                <p:cNvSpPr/>
                <p:nvPr/>
              </p:nvSpPr>
              <p:spPr>
                <a:xfrm>
                  <a:off x="1551883" y="4634351"/>
                  <a:ext cx="17684" cy="12579"/>
                </a:xfrm>
                <a:custGeom>
                  <a:avLst/>
                  <a:gdLst>
                    <a:gd name="connsiteX0" fmla="*/ 15729 w 17684"/>
                    <a:gd name="connsiteY0" fmla="*/ 12580 h 12579"/>
                    <a:gd name="connsiteX1" fmla="*/ 17547 w 17684"/>
                    <a:gd name="connsiteY1" fmla="*/ 11342 h 12579"/>
                    <a:gd name="connsiteX2" fmla="*/ 16448 w 17684"/>
                    <a:gd name="connsiteY2" fmla="*/ 8805 h 12579"/>
                    <a:gd name="connsiteX3" fmla="*/ 3282 w 17684"/>
                    <a:gd name="connsiteY3" fmla="*/ 518 h 12579"/>
                    <a:gd name="connsiteX4" fmla="*/ 520 w 17684"/>
                    <a:gd name="connsiteY4" fmla="*/ 625 h 12579"/>
                    <a:gd name="connsiteX5" fmla="*/ 627 w 17684"/>
                    <a:gd name="connsiteY5" fmla="*/ 3388 h 12579"/>
                    <a:gd name="connsiteX6" fmla="*/ 15011 w 17684"/>
                    <a:gd name="connsiteY6" fmla="*/ 12441 h 12579"/>
                    <a:gd name="connsiteX7" fmla="*/ 15729 w 17684"/>
                    <a:gd name="connsiteY7" fmla="*/ 12580 h 12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84" h="12579">
                      <a:moveTo>
                        <a:pt x="15729" y="12580"/>
                      </a:moveTo>
                      <a:cubicBezTo>
                        <a:pt x="16510" y="12580"/>
                        <a:pt x="17244" y="12112"/>
                        <a:pt x="17547" y="11342"/>
                      </a:cubicBezTo>
                      <a:cubicBezTo>
                        <a:pt x="17943" y="10336"/>
                        <a:pt x="17455" y="9201"/>
                        <a:pt x="16448" y="8805"/>
                      </a:cubicBezTo>
                      <a:cubicBezTo>
                        <a:pt x="11580" y="6880"/>
                        <a:pt x="7149" y="4091"/>
                        <a:pt x="3282" y="518"/>
                      </a:cubicBezTo>
                      <a:cubicBezTo>
                        <a:pt x="2486" y="-212"/>
                        <a:pt x="1254" y="-165"/>
                        <a:pt x="520" y="625"/>
                      </a:cubicBezTo>
                      <a:cubicBezTo>
                        <a:pt x="-215" y="1416"/>
                        <a:pt x="-163" y="2659"/>
                        <a:pt x="627" y="3388"/>
                      </a:cubicBezTo>
                      <a:cubicBezTo>
                        <a:pt x="4848" y="7291"/>
                        <a:pt x="9691" y="10336"/>
                        <a:pt x="15011" y="12441"/>
                      </a:cubicBezTo>
                      <a:cubicBezTo>
                        <a:pt x="15247" y="12533"/>
                        <a:pt x="15488" y="12580"/>
                        <a:pt x="15729" y="1258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23" name="Freeform: Shape 622">
                  <a:extLst>
                    <a:ext uri="{FF2B5EF4-FFF2-40B4-BE49-F238E27FC236}">
                      <a16:creationId xmlns:a16="http://schemas.microsoft.com/office/drawing/2014/main" id="{160EECB7-3672-4C5B-8E81-E01438682930}"/>
                    </a:ext>
                  </a:extLst>
                </p:cNvPr>
                <p:cNvSpPr/>
                <p:nvPr/>
              </p:nvSpPr>
              <p:spPr>
                <a:xfrm>
                  <a:off x="1598121" y="4630673"/>
                  <a:ext cx="21338" cy="16298"/>
                </a:xfrm>
                <a:custGeom>
                  <a:avLst/>
                  <a:gdLst>
                    <a:gd name="connsiteX0" fmla="*/ 17893 w 21338"/>
                    <a:gd name="connsiteY0" fmla="*/ 678 h 16298"/>
                    <a:gd name="connsiteX1" fmla="*/ 1240 w 21338"/>
                    <a:gd name="connsiteY1" fmla="*/ 12519 h 16298"/>
                    <a:gd name="connsiteX2" fmla="*/ 136 w 21338"/>
                    <a:gd name="connsiteY2" fmla="*/ 15056 h 16298"/>
                    <a:gd name="connsiteX3" fmla="*/ 1959 w 21338"/>
                    <a:gd name="connsiteY3" fmla="*/ 16298 h 16298"/>
                    <a:gd name="connsiteX4" fmla="*/ 2673 w 21338"/>
                    <a:gd name="connsiteY4" fmla="*/ 16165 h 16298"/>
                    <a:gd name="connsiteX5" fmla="*/ 20866 w 21338"/>
                    <a:gd name="connsiteY5" fmla="*/ 3230 h 16298"/>
                    <a:gd name="connsiteX6" fmla="*/ 20656 w 21338"/>
                    <a:gd name="connsiteY6" fmla="*/ 472 h 16298"/>
                    <a:gd name="connsiteX7" fmla="*/ 17898 w 21338"/>
                    <a:gd name="connsiteY7" fmla="*/ 683 h 1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38" h="16298">
                      <a:moveTo>
                        <a:pt x="17893" y="678"/>
                      </a:moveTo>
                      <a:cubicBezTo>
                        <a:pt x="13395" y="5915"/>
                        <a:pt x="7634" y="10008"/>
                        <a:pt x="1240" y="12519"/>
                      </a:cubicBezTo>
                      <a:cubicBezTo>
                        <a:pt x="234" y="12914"/>
                        <a:pt x="-259" y="14049"/>
                        <a:pt x="136" y="15056"/>
                      </a:cubicBezTo>
                      <a:cubicBezTo>
                        <a:pt x="439" y="15826"/>
                        <a:pt x="1179" y="16298"/>
                        <a:pt x="1959" y="16298"/>
                      </a:cubicBezTo>
                      <a:cubicBezTo>
                        <a:pt x="2196" y="16298"/>
                        <a:pt x="2442" y="16257"/>
                        <a:pt x="2673" y="16165"/>
                      </a:cubicBezTo>
                      <a:cubicBezTo>
                        <a:pt x="9662" y="13423"/>
                        <a:pt x="15952" y="8950"/>
                        <a:pt x="20866" y="3230"/>
                      </a:cubicBezTo>
                      <a:cubicBezTo>
                        <a:pt x="21570" y="2413"/>
                        <a:pt x="21478" y="1176"/>
                        <a:pt x="20656" y="472"/>
                      </a:cubicBezTo>
                      <a:cubicBezTo>
                        <a:pt x="19839" y="-231"/>
                        <a:pt x="18602" y="-139"/>
                        <a:pt x="17898" y="68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24" name="Freeform: Shape 623">
                  <a:extLst>
                    <a:ext uri="{FF2B5EF4-FFF2-40B4-BE49-F238E27FC236}">
                      <a16:creationId xmlns:a16="http://schemas.microsoft.com/office/drawing/2014/main" id="{4EEAE671-C05C-4DF2-B7C3-FE537F60EFA5}"/>
                    </a:ext>
                  </a:extLst>
                </p:cNvPr>
                <p:cNvSpPr/>
                <p:nvPr/>
              </p:nvSpPr>
              <p:spPr>
                <a:xfrm>
                  <a:off x="1599740" y="4561233"/>
                  <a:ext cx="26115" cy="25438"/>
                </a:xfrm>
                <a:custGeom>
                  <a:avLst/>
                  <a:gdLst>
                    <a:gd name="connsiteX0" fmla="*/ 1168 w 26115"/>
                    <a:gd name="connsiteY0" fmla="*/ 3753 h 25438"/>
                    <a:gd name="connsiteX1" fmla="*/ 22391 w 26115"/>
                    <a:gd name="connsiteY1" fmla="*/ 24324 h 25438"/>
                    <a:gd name="connsiteX2" fmla="*/ 24157 w 26115"/>
                    <a:gd name="connsiteY2" fmla="*/ 25438 h 25438"/>
                    <a:gd name="connsiteX3" fmla="*/ 24999 w 26115"/>
                    <a:gd name="connsiteY3" fmla="*/ 25248 h 25438"/>
                    <a:gd name="connsiteX4" fmla="*/ 25924 w 26115"/>
                    <a:gd name="connsiteY4" fmla="*/ 22639 h 25438"/>
                    <a:gd name="connsiteX5" fmla="*/ 2744 w 26115"/>
                    <a:gd name="connsiteY5" fmla="*/ 169 h 25438"/>
                    <a:gd name="connsiteX6" fmla="*/ 167 w 26115"/>
                    <a:gd name="connsiteY6" fmla="*/ 1170 h 25438"/>
                    <a:gd name="connsiteX7" fmla="*/ 1168 w 26115"/>
                    <a:gd name="connsiteY7" fmla="*/ 3748 h 25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15" h="25438">
                      <a:moveTo>
                        <a:pt x="1168" y="3753"/>
                      </a:moveTo>
                      <a:cubicBezTo>
                        <a:pt x="10472" y="7840"/>
                        <a:pt x="18011" y="15148"/>
                        <a:pt x="22391" y="24324"/>
                      </a:cubicBezTo>
                      <a:cubicBezTo>
                        <a:pt x="22725" y="25027"/>
                        <a:pt x="23428" y="25438"/>
                        <a:pt x="24157" y="25438"/>
                      </a:cubicBezTo>
                      <a:cubicBezTo>
                        <a:pt x="24440" y="25438"/>
                        <a:pt x="24727" y="25376"/>
                        <a:pt x="24999" y="25248"/>
                      </a:cubicBezTo>
                      <a:cubicBezTo>
                        <a:pt x="25975" y="24781"/>
                        <a:pt x="26391" y="23615"/>
                        <a:pt x="25924" y="22639"/>
                      </a:cubicBezTo>
                      <a:cubicBezTo>
                        <a:pt x="21143" y="12616"/>
                        <a:pt x="12912" y="4636"/>
                        <a:pt x="2744" y="169"/>
                      </a:cubicBezTo>
                      <a:cubicBezTo>
                        <a:pt x="1753" y="-273"/>
                        <a:pt x="603" y="184"/>
                        <a:pt x="167" y="1170"/>
                      </a:cubicBezTo>
                      <a:cubicBezTo>
                        <a:pt x="-270" y="2161"/>
                        <a:pt x="182" y="3311"/>
                        <a:pt x="1168" y="3748"/>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sp>
            <p:nvSpPr>
              <p:cNvPr id="501" name="Freeform: Shape 500">
                <a:extLst>
                  <a:ext uri="{FF2B5EF4-FFF2-40B4-BE49-F238E27FC236}">
                    <a16:creationId xmlns:a16="http://schemas.microsoft.com/office/drawing/2014/main" id="{2177472F-A42D-46F9-8580-7BA1F3FA0D88}"/>
                  </a:ext>
                </a:extLst>
              </p:cNvPr>
              <p:cNvSpPr/>
              <p:nvPr/>
            </p:nvSpPr>
            <p:spPr>
              <a:xfrm>
                <a:off x="1997747" y="4312057"/>
                <a:ext cx="100666" cy="183725"/>
              </a:xfrm>
              <a:custGeom>
                <a:avLst/>
                <a:gdLst>
                  <a:gd name="connsiteX0" fmla="*/ 94638 w 100666"/>
                  <a:gd name="connsiteY0" fmla="*/ 74237 h 183725"/>
                  <a:gd name="connsiteX1" fmla="*/ 100667 w 100666"/>
                  <a:gd name="connsiteY1" fmla="*/ 50333 h 183725"/>
                  <a:gd name="connsiteX2" fmla="*/ 50333 w 100666"/>
                  <a:gd name="connsiteY2" fmla="*/ 0 h 183725"/>
                  <a:gd name="connsiteX3" fmla="*/ 0 w 100666"/>
                  <a:gd name="connsiteY3" fmla="*/ 50333 h 183725"/>
                  <a:gd name="connsiteX4" fmla="*/ 6028 w 100666"/>
                  <a:gd name="connsiteY4" fmla="*/ 74232 h 183725"/>
                  <a:gd name="connsiteX5" fmla="*/ 31354 w 100666"/>
                  <a:gd name="connsiteY5" fmla="*/ 127184 h 183725"/>
                  <a:gd name="connsiteX6" fmla="*/ 31354 w 100666"/>
                  <a:gd name="connsiteY6" fmla="*/ 148576 h 183725"/>
                  <a:gd name="connsiteX7" fmla="*/ 30805 w 100666"/>
                  <a:gd name="connsiteY7" fmla="*/ 148576 h 183725"/>
                  <a:gd name="connsiteX8" fmla="*/ 28848 w 100666"/>
                  <a:gd name="connsiteY8" fmla="*/ 150533 h 183725"/>
                  <a:gd name="connsiteX9" fmla="*/ 28848 w 100666"/>
                  <a:gd name="connsiteY9" fmla="*/ 159329 h 183725"/>
                  <a:gd name="connsiteX10" fmla="*/ 30805 w 100666"/>
                  <a:gd name="connsiteY10" fmla="*/ 161285 h 183725"/>
                  <a:gd name="connsiteX11" fmla="*/ 31688 w 100666"/>
                  <a:gd name="connsiteY11" fmla="*/ 161285 h 183725"/>
                  <a:gd name="connsiteX12" fmla="*/ 33778 w 100666"/>
                  <a:gd name="connsiteY12" fmla="*/ 181969 h 183725"/>
                  <a:gd name="connsiteX13" fmla="*/ 35724 w 100666"/>
                  <a:gd name="connsiteY13" fmla="*/ 183725 h 183725"/>
                  <a:gd name="connsiteX14" fmla="*/ 64948 w 100666"/>
                  <a:gd name="connsiteY14" fmla="*/ 183725 h 183725"/>
                  <a:gd name="connsiteX15" fmla="*/ 66894 w 100666"/>
                  <a:gd name="connsiteY15" fmla="*/ 181969 h 183725"/>
                  <a:gd name="connsiteX16" fmla="*/ 68984 w 100666"/>
                  <a:gd name="connsiteY16" fmla="*/ 161285 h 183725"/>
                  <a:gd name="connsiteX17" fmla="*/ 69867 w 100666"/>
                  <a:gd name="connsiteY17" fmla="*/ 161285 h 183725"/>
                  <a:gd name="connsiteX18" fmla="*/ 71823 w 100666"/>
                  <a:gd name="connsiteY18" fmla="*/ 159329 h 183725"/>
                  <a:gd name="connsiteX19" fmla="*/ 71823 w 100666"/>
                  <a:gd name="connsiteY19" fmla="*/ 150533 h 183725"/>
                  <a:gd name="connsiteX20" fmla="*/ 69867 w 100666"/>
                  <a:gd name="connsiteY20" fmla="*/ 148576 h 183725"/>
                  <a:gd name="connsiteX21" fmla="*/ 69174 w 100666"/>
                  <a:gd name="connsiteY21" fmla="*/ 148576 h 183725"/>
                  <a:gd name="connsiteX22" fmla="*/ 69174 w 100666"/>
                  <a:gd name="connsiteY22" fmla="*/ 127487 h 183725"/>
                  <a:gd name="connsiteX23" fmla="*/ 94643 w 100666"/>
                  <a:gd name="connsiteY23" fmla="*/ 74242 h 183725"/>
                  <a:gd name="connsiteX24" fmla="*/ 96759 w 100666"/>
                  <a:gd name="connsiteY24" fmla="*/ 50333 h 183725"/>
                  <a:gd name="connsiteX25" fmla="*/ 91157 w 100666"/>
                  <a:gd name="connsiteY25" fmla="*/ 72460 h 183725"/>
                  <a:gd name="connsiteX26" fmla="*/ 66129 w 100666"/>
                  <a:gd name="connsiteY26" fmla="*/ 124781 h 183725"/>
                  <a:gd name="connsiteX27" fmla="*/ 63161 w 100666"/>
                  <a:gd name="connsiteY27" fmla="*/ 124781 h 183725"/>
                  <a:gd name="connsiteX28" fmla="*/ 78216 w 100666"/>
                  <a:gd name="connsiteY28" fmla="*/ 22866 h 183725"/>
                  <a:gd name="connsiteX29" fmla="*/ 67525 w 100666"/>
                  <a:gd name="connsiteY29" fmla="*/ 7225 h 183725"/>
                  <a:gd name="connsiteX30" fmla="*/ 96759 w 100666"/>
                  <a:gd name="connsiteY30" fmla="*/ 50333 h 183725"/>
                  <a:gd name="connsiteX31" fmla="*/ 56398 w 100666"/>
                  <a:gd name="connsiteY31" fmla="*/ 124781 h 183725"/>
                  <a:gd name="connsiteX32" fmla="*/ 55468 w 100666"/>
                  <a:gd name="connsiteY32" fmla="*/ 4267 h 183725"/>
                  <a:gd name="connsiteX33" fmla="*/ 74565 w 100666"/>
                  <a:gd name="connsiteY33" fmla="*/ 24273 h 183725"/>
                  <a:gd name="connsiteX34" fmla="*/ 58873 w 100666"/>
                  <a:gd name="connsiteY34" fmla="*/ 124776 h 183725"/>
                  <a:gd name="connsiteX35" fmla="*/ 56398 w 100666"/>
                  <a:gd name="connsiteY35" fmla="*/ 124776 h 183725"/>
                  <a:gd name="connsiteX36" fmla="*/ 50333 w 100666"/>
                  <a:gd name="connsiteY36" fmla="*/ 124781 h 183725"/>
                  <a:gd name="connsiteX37" fmla="*/ 48233 w 100666"/>
                  <a:gd name="connsiteY37" fmla="*/ 124781 h 183725"/>
                  <a:gd name="connsiteX38" fmla="*/ 49727 w 100666"/>
                  <a:gd name="connsiteY38" fmla="*/ 3928 h 183725"/>
                  <a:gd name="connsiteX39" fmla="*/ 50333 w 100666"/>
                  <a:gd name="connsiteY39" fmla="*/ 3913 h 183725"/>
                  <a:gd name="connsiteX40" fmla="*/ 50939 w 100666"/>
                  <a:gd name="connsiteY40" fmla="*/ 3928 h 183725"/>
                  <a:gd name="connsiteX41" fmla="*/ 52434 w 100666"/>
                  <a:gd name="connsiteY41" fmla="*/ 124781 h 183725"/>
                  <a:gd name="connsiteX42" fmla="*/ 50333 w 100666"/>
                  <a:gd name="connsiteY42" fmla="*/ 124781 h 183725"/>
                  <a:gd name="connsiteX43" fmla="*/ 41794 w 100666"/>
                  <a:gd name="connsiteY43" fmla="*/ 124781 h 183725"/>
                  <a:gd name="connsiteX44" fmla="*/ 26101 w 100666"/>
                  <a:gd name="connsiteY44" fmla="*/ 24278 h 183725"/>
                  <a:gd name="connsiteX45" fmla="*/ 45203 w 100666"/>
                  <a:gd name="connsiteY45" fmla="*/ 4267 h 183725"/>
                  <a:gd name="connsiteX46" fmla="*/ 44274 w 100666"/>
                  <a:gd name="connsiteY46" fmla="*/ 124781 h 183725"/>
                  <a:gd name="connsiteX47" fmla="*/ 41799 w 100666"/>
                  <a:gd name="connsiteY47" fmla="*/ 124781 h 183725"/>
                  <a:gd name="connsiteX48" fmla="*/ 33141 w 100666"/>
                  <a:gd name="connsiteY48" fmla="*/ 7225 h 183725"/>
                  <a:gd name="connsiteX49" fmla="*/ 22450 w 100666"/>
                  <a:gd name="connsiteY49" fmla="*/ 22866 h 183725"/>
                  <a:gd name="connsiteX50" fmla="*/ 37506 w 100666"/>
                  <a:gd name="connsiteY50" fmla="*/ 124781 h 183725"/>
                  <a:gd name="connsiteX51" fmla="*/ 34538 w 100666"/>
                  <a:gd name="connsiteY51" fmla="*/ 124781 h 183725"/>
                  <a:gd name="connsiteX52" fmla="*/ 9556 w 100666"/>
                  <a:gd name="connsiteY52" fmla="*/ 72547 h 183725"/>
                  <a:gd name="connsiteX53" fmla="*/ 3908 w 100666"/>
                  <a:gd name="connsiteY53" fmla="*/ 50333 h 183725"/>
                  <a:gd name="connsiteX54" fmla="*/ 33141 w 100666"/>
                  <a:gd name="connsiteY54" fmla="*/ 7225 h 183725"/>
                  <a:gd name="connsiteX55" fmla="*/ 67910 w 100666"/>
                  <a:gd name="connsiteY55" fmla="*/ 152484 h 183725"/>
                  <a:gd name="connsiteX56" fmla="*/ 67910 w 100666"/>
                  <a:gd name="connsiteY56" fmla="*/ 157367 h 183725"/>
                  <a:gd name="connsiteX57" fmla="*/ 32761 w 100666"/>
                  <a:gd name="connsiteY57" fmla="*/ 157367 h 183725"/>
                  <a:gd name="connsiteX58" fmla="*/ 32761 w 100666"/>
                  <a:gd name="connsiteY58" fmla="*/ 152484 h 183725"/>
                  <a:gd name="connsiteX59" fmla="*/ 67910 w 100666"/>
                  <a:gd name="connsiteY59" fmla="*/ 152484 h 183725"/>
                  <a:gd name="connsiteX60" fmla="*/ 63176 w 100666"/>
                  <a:gd name="connsiteY60" fmla="*/ 179807 h 183725"/>
                  <a:gd name="connsiteX61" fmla="*/ 37491 w 100666"/>
                  <a:gd name="connsiteY61" fmla="*/ 179807 h 183725"/>
                  <a:gd name="connsiteX62" fmla="*/ 35616 w 100666"/>
                  <a:gd name="connsiteY62" fmla="*/ 161275 h 183725"/>
                  <a:gd name="connsiteX63" fmla="*/ 65050 w 100666"/>
                  <a:gd name="connsiteY63" fmla="*/ 161275 h 183725"/>
                  <a:gd name="connsiteX64" fmla="*/ 63176 w 100666"/>
                  <a:gd name="connsiteY64" fmla="*/ 179807 h 183725"/>
                  <a:gd name="connsiteX65" fmla="*/ 35262 w 100666"/>
                  <a:gd name="connsiteY65" fmla="*/ 148571 h 183725"/>
                  <a:gd name="connsiteX66" fmla="*/ 35262 w 100666"/>
                  <a:gd name="connsiteY66" fmla="*/ 128688 h 183725"/>
                  <a:gd name="connsiteX67" fmla="*/ 65256 w 100666"/>
                  <a:gd name="connsiteY67" fmla="*/ 128688 h 183725"/>
                  <a:gd name="connsiteX68" fmla="*/ 65256 w 100666"/>
                  <a:gd name="connsiteY68" fmla="*/ 148571 h 183725"/>
                  <a:gd name="connsiteX69" fmla="*/ 35262 w 100666"/>
                  <a:gd name="connsiteY69" fmla="*/ 148571 h 18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00666" h="183725">
                    <a:moveTo>
                      <a:pt x="94638" y="74237"/>
                    </a:moveTo>
                    <a:cubicBezTo>
                      <a:pt x="98582" y="66940"/>
                      <a:pt x="100667" y="58678"/>
                      <a:pt x="100667" y="50333"/>
                    </a:cubicBezTo>
                    <a:cubicBezTo>
                      <a:pt x="100667" y="22579"/>
                      <a:pt x="78088" y="0"/>
                      <a:pt x="50333" y="0"/>
                    </a:cubicBezTo>
                    <a:cubicBezTo>
                      <a:pt x="22579" y="0"/>
                      <a:pt x="0" y="22579"/>
                      <a:pt x="0" y="50333"/>
                    </a:cubicBezTo>
                    <a:cubicBezTo>
                      <a:pt x="0" y="58678"/>
                      <a:pt x="2085" y="66940"/>
                      <a:pt x="6028" y="74232"/>
                    </a:cubicBezTo>
                    <a:cubicBezTo>
                      <a:pt x="6028" y="74237"/>
                      <a:pt x="31354" y="127184"/>
                      <a:pt x="31354" y="127184"/>
                    </a:cubicBezTo>
                    <a:lnTo>
                      <a:pt x="31354" y="148576"/>
                    </a:lnTo>
                    <a:lnTo>
                      <a:pt x="30805" y="148576"/>
                    </a:lnTo>
                    <a:cubicBezTo>
                      <a:pt x="29727" y="148576"/>
                      <a:pt x="28848" y="149454"/>
                      <a:pt x="28848" y="150533"/>
                    </a:cubicBezTo>
                    <a:lnTo>
                      <a:pt x="28848" y="159329"/>
                    </a:lnTo>
                    <a:cubicBezTo>
                      <a:pt x="28848" y="160407"/>
                      <a:pt x="29727" y="161285"/>
                      <a:pt x="30805" y="161285"/>
                    </a:cubicBezTo>
                    <a:lnTo>
                      <a:pt x="31688" y="161285"/>
                    </a:lnTo>
                    <a:lnTo>
                      <a:pt x="33778" y="181969"/>
                    </a:lnTo>
                    <a:cubicBezTo>
                      <a:pt x="33881" y="182965"/>
                      <a:pt x="34718" y="183725"/>
                      <a:pt x="35724" y="183725"/>
                    </a:cubicBezTo>
                    <a:lnTo>
                      <a:pt x="64948" y="183725"/>
                    </a:lnTo>
                    <a:cubicBezTo>
                      <a:pt x="65949" y="183725"/>
                      <a:pt x="66791" y="182965"/>
                      <a:pt x="66894" y="181969"/>
                    </a:cubicBezTo>
                    <a:lnTo>
                      <a:pt x="68984" y="161285"/>
                    </a:lnTo>
                    <a:lnTo>
                      <a:pt x="69867" y="161285"/>
                    </a:lnTo>
                    <a:cubicBezTo>
                      <a:pt x="70945" y="161285"/>
                      <a:pt x="71823" y="160407"/>
                      <a:pt x="71823" y="159329"/>
                    </a:cubicBezTo>
                    <a:lnTo>
                      <a:pt x="71823" y="150533"/>
                    </a:lnTo>
                    <a:cubicBezTo>
                      <a:pt x="71823" y="149454"/>
                      <a:pt x="70945" y="148576"/>
                      <a:pt x="69867" y="148576"/>
                    </a:cubicBezTo>
                    <a:lnTo>
                      <a:pt x="69174" y="148576"/>
                    </a:lnTo>
                    <a:lnTo>
                      <a:pt x="69174" y="127487"/>
                    </a:lnTo>
                    <a:lnTo>
                      <a:pt x="94643" y="74242"/>
                    </a:lnTo>
                    <a:close/>
                    <a:moveTo>
                      <a:pt x="96759" y="50333"/>
                    </a:moveTo>
                    <a:cubicBezTo>
                      <a:pt x="96759" y="58062"/>
                      <a:pt x="94823" y="65713"/>
                      <a:pt x="91157" y="72460"/>
                    </a:cubicBezTo>
                    <a:cubicBezTo>
                      <a:pt x="91110" y="72547"/>
                      <a:pt x="66129" y="124781"/>
                      <a:pt x="66129" y="124781"/>
                    </a:cubicBezTo>
                    <a:lnTo>
                      <a:pt x="63161" y="124781"/>
                    </a:lnTo>
                    <a:cubicBezTo>
                      <a:pt x="68902" y="111681"/>
                      <a:pt x="91285" y="56660"/>
                      <a:pt x="78216" y="22866"/>
                    </a:cubicBezTo>
                    <a:cubicBezTo>
                      <a:pt x="75772" y="16540"/>
                      <a:pt x="72188" y="11312"/>
                      <a:pt x="67525" y="7225"/>
                    </a:cubicBezTo>
                    <a:cubicBezTo>
                      <a:pt x="84635" y="14075"/>
                      <a:pt x="96759" y="30810"/>
                      <a:pt x="96759" y="50333"/>
                    </a:cubicBezTo>
                    <a:close/>
                    <a:moveTo>
                      <a:pt x="56398" y="124781"/>
                    </a:moveTo>
                    <a:cubicBezTo>
                      <a:pt x="58601" y="110387"/>
                      <a:pt x="69256" y="34774"/>
                      <a:pt x="55468" y="4267"/>
                    </a:cubicBezTo>
                    <a:cubicBezTo>
                      <a:pt x="64480" y="8103"/>
                      <a:pt x="70914" y="14830"/>
                      <a:pt x="74565" y="24273"/>
                    </a:cubicBezTo>
                    <a:cubicBezTo>
                      <a:pt x="87547" y="57836"/>
                      <a:pt x="62781" y="115995"/>
                      <a:pt x="58873" y="124776"/>
                    </a:cubicBezTo>
                    <a:lnTo>
                      <a:pt x="56398" y="124776"/>
                    </a:lnTo>
                    <a:close/>
                    <a:moveTo>
                      <a:pt x="50333" y="124781"/>
                    </a:moveTo>
                    <a:lnTo>
                      <a:pt x="48233" y="124781"/>
                    </a:lnTo>
                    <a:cubicBezTo>
                      <a:pt x="46338" y="112287"/>
                      <a:pt x="34872" y="31734"/>
                      <a:pt x="49727" y="3928"/>
                    </a:cubicBezTo>
                    <a:cubicBezTo>
                      <a:pt x="49928" y="3928"/>
                      <a:pt x="50128" y="3913"/>
                      <a:pt x="50333" y="3913"/>
                    </a:cubicBezTo>
                    <a:cubicBezTo>
                      <a:pt x="50539" y="3913"/>
                      <a:pt x="50734" y="3923"/>
                      <a:pt x="50939" y="3928"/>
                    </a:cubicBezTo>
                    <a:cubicBezTo>
                      <a:pt x="65795" y="31739"/>
                      <a:pt x="54328" y="112292"/>
                      <a:pt x="52434" y="124781"/>
                    </a:cubicBezTo>
                    <a:lnTo>
                      <a:pt x="50333" y="124781"/>
                    </a:lnTo>
                    <a:close/>
                    <a:moveTo>
                      <a:pt x="41794" y="124781"/>
                    </a:moveTo>
                    <a:cubicBezTo>
                      <a:pt x="37886" y="116000"/>
                      <a:pt x="13115" y="57856"/>
                      <a:pt x="26101" y="24278"/>
                    </a:cubicBezTo>
                    <a:cubicBezTo>
                      <a:pt x="29752" y="14830"/>
                      <a:pt x="36186" y="8108"/>
                      <a:pt x="45203" y="4267"/>
                    </a:cubicBezTo>
                    <a:cubicBezTo>
                      <a:pt x="31411" y="34774"/>
                      <a:pt x="42071" y="110382"/>
                      <a:pt x="44274" y="124781"/>
                    </a:cubicBezTo>
                    <a:lnTo>
                      <a:pt x="41799" y="124781"/>
                    </a:lnTo>
                    <a:close/>
                    <a:moveTo>
                      <a:pt x="33141" y="7225"/>
                    </a:moveTo>
                    <a:cubicBezTo>
                      <a:pt x="28484" y="11318"/>
                      <a:pt x="24900" y="16540"/>
                      <a:pt x="22450" y="22866"/>
                    </a:cubicBezTo>
                    <a:cubicBezTo>
                      <a:pt x="9382" y="56660"/>
                      <a:pt x="31765" y="111676"/>
                      <a:pt x="37506" y="124781"/>
                    </a:cubicBezTo>
                    <a:lnTo>
                      <a:pt x="34538" y="124781"/>
                    </a:lnTo>
                    <a:lnTo>
                      <a:pt x="9556" y="72547"/>
                    </a:lnTo>
                    <a:cubicBezTo>
                      <a:pt x="5844" y="65713"/>
                      <a:pt x="3908" y="58062"/>
                      <a:pt x="3908" y="50333"/>
                    </a:cubicBezTo>
                    <a:cubicBezTo>
                      <a:pt x="3908" y="30810"/>
                      <a:pt x="16032" y="14070"/>
                      <a:pt x="33141" y="7225"/>
                    </a:cubicBezTo>
                    <a:close/>
                    <a:moveTo>
                      <a:pt x="67910" y="152484"/>
                    </a:moveTo>
                    <a:lnTo>
                      <a:pt x="67910" y="157367"/>
                    </a:lnTo>
                    <a:lnTo>
                      <a:pt x="32761" y="157367"/>
                    </a:lnTo>
                    <a:lnTo>
                      <a:pt x="32761" y="152484"/>
                    </a:lnTo>
                    <a:lnTo>
                      <a:pt x="67910" y="152484"/>
                    </a:lnTo>
                    <a:close/>
                    <a:moveTo>
                      <a:pt x="63176" y="179807"/>
                    </a:moveTo>
                    <a:lnTo>
                      <a:pt x="37491" y="179807"/>
                    </a:lnTo>
                    <a:lnTo>
                      <a:pt x="35616" y="161275"/>
                    </a:lnTo>
                    <a:lnTo>
                      <a:pt x="65050" y="161275"/>
                    </a:lnTo>
                    <a:lnTo>
                      <a:pt x="63176" y="179807"/>
                    </a:lnTo>
                    <a:close/>
                    <a:moveTo>
                      <a:pt x="35262" y="148571"/>
                    </a:moveTo>
                    <a:lnTo>
                      <a:pt x="35262" y="128688"/>
                    </a:lnTo>
                    <a:lnTo>
                      <a:pt x="65256" y="128688"/>
                    </a:lnTo>
                    <a:lnTo>
                      <a:pt x="65256" y="148571"/>
                    </a:lnTo>
                    <a:lnTo>
                      <a:pt x="35262" y="148571"/>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nvGrpSpPr>
              <p:cNvPr id="502" name="Graphic 6">
                <a:extLst>
                  <a:ext uri="{FF2B5EF4-FFF2-40B4-BE49-F238E27FC236}">
                    <a16:creationId xmlns:a16="http://schemas.microsoft.com/office/drawing/2014/main" id="{9C3624A5-F3AC-4F60-944E-89B3A4075084}"/>
                  </a:ext>
                </a:extLst>
              </p:cNvPr>
              <p:cNvGrpSpPr/>
              <p:nvPr/>
            </p:nvGrpSpPr>
            <p:grpSpPr>
              <a:xfrm>
                <a:off x="1866552" y="4580443"/>
                <a:ext cx="154948" cy="319433"/>
                <a:chOff x="1866592" y="4580535"/>
                <a:chExt cx="154948" cy="319433"/>
              </a:xfrm>
              <a:solidFill>
                <a:srgbClr val="069688"/>
              </a:solidFill>
            </p:grpSpPr>
            <p:sp>
              <p:nvSpPr>
                <p:cNvPr id="601" name="Freeform: Shape 600">
                  <a:extLst>
                    <a:ext uri="{FF2B5EF4-FFF2-40B4-BE49-F238E27FC236}">
                      <a16:creationId xmlns:a16="http://schemas.microsoft.com/office/drawing/2014/main" id="{B7C74183-4421-46CF-ACF3-D85992B69163}"/>
                    </a:ext>
                  </a:extLst>
                </p:cNvPr>
                <p:cNvSpPr/>
                <p:nvPr/>
              </p:nvSpPr>
              <p:spPr>
                <a:xfrm>
                  <a:off x="1866592" y="4580535"/>
                  <a:ext cx="154948" cy="319433"/>
                </a:xfrm>
                <a:custGeom>
                  <a:avLst/>
                  <a:gdLst>
                    <a:gd name="connsiteX0" fmla="*/ 154851 w 154948"/>
                    <a:gd name="connsiteY0" fmla="*/ 55150 h 319433"/>
                    <a:gd name="connsiteX1" fmla="*/ 154825 w 154948"/>
                    <a:gd name="connsiteY1" fmla="*/ 55073 h 319433"/>
                    <a:gd name="connsiteX2" fmla="*/ 154523 w 154948"/>
                    <a:gd name="connsiteY2" fmla="*/ 54554 h 319433"/>
                    <a:gd name="connsiteX3" fmla="*/ 108883 w 154948"/>
                    <a:gd name="connsiteY3" fmla="*/ 693 h 319433"/>
                    <a:gd name="connsiteX4" fmla="*/ 107388 w 154948"/>
                    <a:gd name="connsiteY4" fmla="*/ 0 h 319433"/>
                    <a:gd name="connsiteX5" fmla="*/ 47591 w 154948"/>
                    <a:gd name="connsiteY5" fmla="*/ 0 h 319433"/>
                    <a:gd name="connsiteX6" fmla="*/ 47468 w 154948"/>
                    <a:gd name="connsiteY6" fmla="*/ 0 h 319433"/>
                    <a:gd name="connsiteX7" fmla="*/ 47201 w 154948"/>
                    <a:gd name="connsiteY7" fmla="*/ 31 h 319433"/>
                    <a:gd name="connsiteX8" fmla="*/ 46159 w 154948"/>
                    <a:gd name="connsiteY8" fmla="*/ 596 h 319433"/>
                    <a:gd name="connsiteX9" fmla="*/ 46066 w 154948"/>
                    <a:gd name="connsiteY9" fmla="*/ 698 h 319433"/>
                    <a:gd name="connsiteX10" fmla="*/ 462 w 154948"/>
                    <a:gd name="connsiteY10" fmla="*/ 54498 h 319433"/>
                    <a:gd name="connsiteX11" fmla="*/ 0 w 154948"/>
                    <a:gd name="connsiteY11" fmla="*/ 55761 h 319433"/>
                    <a:gd name="connsiteX12" fmla="*/ 0 w 154948"/>
                    <a:gd name="connsiteY12" fmla="*/ 317477 h 319433"/>
                    <a:gd name="connsiteX13" fmla="*/ 1956 w 154948"/>
                    <a:gd name="connsiteY13" fmla="*/ 319433 h 319433"/>
                    <a:gd name="connsiteX14" fmla="*/ 152992 w 154948"/>
                    <a:gd name="connsiteY14" fmla="*/ 319433 h 319433"/>
                    <a:gd name="connsiteX15" fmla="*/ 154949 w 154948"/>
                    <a:gd name="connsiteY15" fmla="*/ 317477 h 319433"/>
                    <a:gd name="connsiteX16" fmla="*/ 154949 w 154948"/>
                    <a:gd name="connsiteY16" fmla="*/ 55761 h 319433"/>
                    <a:gd name="connsiteX17" fmla="*/ 154841 w 154948"/>
                    <a:gd name="connsiteY17" fmla="*/ 55140 h 319433"/>
                    <a:gd name="connsiteX18" fmla="*/ 106485 w 154948"/>
                    <a:gd name="connsiteY18" fmla="*/ 3913 h 319433"/>
                    <a:gd name="connsiteX19" fmla="*/ 148782 w 154948"/>
                    <a:gd name="connsiteY19" fmla="*/ 53815 h 319433"/>
                    <a:gd name="connsiteX20" fmla="*/ 94094 w 154948"/>
                    <a:gd name="connsiteY20" fmla="*/ 53815 h 319433"/>
                    <a:gd name="connsiteX21" fmla="*/ 51797 w 154948"/>
                    <a:gd name="connsiteY21" fmla="*/ 3913 h 319433"/>
                    <a:gd name="connsiteX22" fmla="*/ 106485 w 154948"/>
                    <a:gd name="connsiteY22" fmla="*/ 3913 h 319433"/>
                    <a:gd name="connsiteX23" fmla="*/ 91234 w 154948"/>
                    <a:gd name="connsiteY23" fmla="*/ 315531 h 319433"/>
                    <a:gd name="connsiteX24" fmla="*/ 3923 w 154948"/>
                    <a:gd name="connsiteY24" fmla="*/ 315531 h 319433"/>
                    <a:gd name="connsiteX25" fmla="*/ 3923 w 154948"/>
                    <a:gd name="connsiteY25" fmla="*/ 56485 h 319433"/>
                    <a:gd name="connsiteX26" fmla="*/ 47581 w 154948"/>
                    <a:gd name="connsiteY26" fmla="*/ 4981 h 319433"/>
                    <a:gd name="connsiteX27" fmla="*/ 91234 w 154948"/>
                    <a:gd name="connsiteY27" fmla="*/ 56485 h 319433"/>
                    <a:gd name="connsiteX28" fmla="*/ 91234 w 154948"/>
                    <a:gd name="connsiteY28" fmla="*/ 315531 h 319433"/>
                    <a:gd name="connsiteX29" fmla="*/ 95146 w 154948"/>
                    <a:gd name="connsiteY29" fmla="*/ 315531 h 319433"/>
                    <a:gd name="connsiteX30" fmla="*/ 95146 w 154948"/>
                    <a:gd name="connsiteY30" fmla="*/ 57728 h 319433"/>
                    <a:gd name="connsiteX31" fmla="*/ 151051 w 154948"/>
                    <a:gd name="connsiteY31" fmla="*/ 57728 h 319433"/>
                    <a:gd name="connsiteX32" fmla="*/ 151051 w 154948"/>
                    <a:gd name="connsiteY32" fmla="*/ 315531 h 319433"/>
                    <a:gd name="connsiteX33" fmla="*/ 95146 w 154948"/>
                    <a:gd name="connsiteY33" fmla="*/ 315531 h 319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54948" h="319433">
                      <a:moveTo>
                        <a:pt x="154851" y="55150"/>
                      </a:moveTo>
                      <a:cubicBezTo>
                        <a:pt x="154841" y="55124"/>
                        <a:pt x="154836" y="55099"/>
                        <a:pt x="154825" y="55073"/>
                      </a:cubicBezTo>
                      <a:cubicBezTo>
                        <a:pt x="154754" y="54883"/>
                        <a:pt x="154651" y="54714"/>
                        <a:pt x="154523" y="54554"/>
                      </a:cubicBezTo>
                      <a:cubicBezTo>
                        <a:pt x="154497" y="54508"/>
                        <a:pt x="108883" y="693"/>
                        <a:pt x="108883" y="693"/>
                      </a:cubicBezTo>
                      <a:cubicBezTo>
                        <a:pt x="108513" y="257"/>
                        <a:pt x="107963" y="0"/>
                        <a:pt x="107388" y="0"/>
                      </a:cubicBezTo>
                      <a:lnTo>
                        <a:pt x="47591" y="0"/>
                      </a:lnTo>
                      <a:cubicBezTo>
                        <a:pt x="47535" y="0"/>
                        <a:pt x="47509" y="0"/>
                        <a:pt x="47468" y="0"/>
                      </a:cubicBezTo>
                      <a:cubicBezTo>
                        <a:pt x="47376" y="0"/>
                        <a:pt x="47288" y="15"/>
                        <a:pt x="47201" y="31"/>
                      </a:cubicBezTo>
                      <a:cubicBezTo>
                        <a:pt x="46811" y="108"/>
                        <a:pt x="46446" y="298"/>
                        <a:pt x="46159" y="596"/>
                      </a:cubicBezTo>
                      <a:cubicBezTo>
                        <a:pt x="46128" y="632"/>
                        <a:pt x="46097" y="662"/>
                        <a:pt x="46066" y="698"/>
                      </a:cubicBezTo>
                      <a:lnTo>
                        <a:pt x="462" y="54498"/>
                      </a:lnTo>
                      <a:cubicBezTo>
                        <a:pt x="164" y="54852"/>
                        <a:pt x="0" y="55299"/>
                        <a:pt x="0" y="55761"/>
                      </a:cubicBezTo>
                      <a:lnTo>
                        <a:pt x="0" y="317477"/>
                      </a:lnTo>
                      <a:cubicBezTo>
                        <a:pt x="0" y="318555"/>
                        <a:pt x="878" y="319433"/>
                        <a:pt x="1956" y="319433"/>
                      </a:cubicBezTo>
                      <a:lnTo>
                        <a:pt x="152992" y="319433"/>
                      </a:lnTo>
                      <a:cubicBezTo>
                        <a:pt x="154071" y="319433"/>
                        <a:pt x="154949" y="318555"/>
                        <a:pt x="154949" y="317477"/>
                      </a:cubicBezTo>
                      <a:lnTo>
                        <a:pt x="154949" y="55761"/>
                      </a:lnTo>
                      <a:cubicBezTo>
                        <a:pt x="154949" y="55540"/>
                        <a:pt x="154902" y="55335"/>
                        <a:pt x="154841" y="55140"/>
                      </a:cubicBezTo>
                      <a:close/>
                      <a:moveTo>
                        <a:pt x="106485" y="3913"/>
                      </a:moveTo>
                      <a:lnTo>
                        <a:pt x="148782" y="53815"/>
                      </a:lnTo>
                      <a:lnTo>
                        <a:pt x="94094" y="53815"/>
                      </a:lnTo>
                      <a:lnTo>
                        <a:pt x="51797" y="3913"/>
                      </a:lnTo>
                      <a:lnTo>
                        <a:pt x="106485" y="3913"/>
                      </a:lnTo>
                      <a:close/>
                      <a:moveTo>
                        <a:pt x="91234" y="315531"/>
                      </a:moveTo>
                      <a:lnTo>
                        <a:pt x="3923" y="315531"/>
                      </a:lnTo>
                      <a:lnTo>
                        <a:pt x="3923" y="56485"/>
                      </a:lnTo>
                      <a:lnTo>
                        <a:pt x="47581" y="4981"/>
                      </a:lnTo>
                      <a:lnTo>
                        <a:pt x="91234" y="56485"/>
                      </a:lnTo>
                      <a:lnTo>
                        <a:pt x="91234" y="315531"/>
                      </a:lnTo>
                      <a:close/>
                      <a:moveTo>
                        <a:pt x="95146" y="315531"/>
                      </a:moveTo>
                      <a:lnTo>
                        <a:pt x="95146" y="57728"/>
                      </a:lnTo>
                      <a:lnTo>
                        <a:pt x="151051" y="57728"/>
                      </a:lnTo>
                      <a:lnTo>
                        <a:pt x="151051" y="315531"/>
                      </a:lnTo>
                      <a:lnTo>
                        <a:pt x="95146" y="315531"/>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02" name="Freeform: Shape 601">
                  <a:extLst>
                    <a:ext uri="{FF2B5EF4-FFF2-40B4-BE49-F238E27FC236}">
                      <a16:creationId xmlns:a16="http://schemas.microsoft.com/office/drawing/2014/main" id="{B58218D0-5775-4C3A-B718-3D4B2FCAA7EA}"/>
                    </a:ext>
                  </a:extLst>
                </p:cNvPr>
                <p:cNvSpPr/>
                <p:nvPr/>
              </p:nvSpPr>
              <p:spPr>
                <a:xfrm>
                  <a:off x="1977842" y="4656019"/>
                  <a:ext cx="26080" cy="26080"/>
                </a:xfrm>
                <a:custGeom>
                  <a:avLst/>
                  <a:gdLst>
                    <a:gd name="connsiteX0" fmla="*/ 24124 w 26080"/>
                    <a:gd name="connsiteY0" fmla="*/ 0 h 26080"/>
                    <a:gd name="connsiteX1" fmla="*/ 1956 w 26080"/>
                    <a:gd name="connsiteY1" fmla="*/ 0 h 26080"/>
                    <a:gd name="connsiteX2" fmla="*/ 0 w 26080"/>
                    <a:gd name="connsiteY2" fmla="*/ 1956 h 26080"/>
                    <a:gd name="connsiteX3" fmla="*/ 0 w 26080"/>
                    <a:gd name="connsiteY3" fmla="*/ 24124 h 26080"/>
                    <a:gd name="connsiteX4" fmla="*/ 1956 w 26080"/>
                    <a:gd name="connsiteY4" fmla="*/ 26081 h 26080"/>
                    <a:gd name="connsiteX5" fmla="*/ 24124 w 26080"/>
                    <a:gd name="connsiteY5" fmla="*/ 26081 h 26080"/>
                    <a:gd name="connsiteX6" fmla="*/ 26081 w 26080"/>
                    <a:gd name="connsiteY6" fmla="*/ 24124 h 26080"/>
                    <a:gd name="connsiteX7" fmla="*/ 26081 w 26080"/>
                    <a:gd name="connsiteY7" fmla="*/ 1956 h 26080"/>
                    <a:gd name="connsiteX8" fmla="*/ 24124 w 26080"/>
                    <a:gd name="connsiteY8" fmla="*/ 0 h 26080"/>
                    <a:gd name="connsiteX9" fmla="*/ 22168 w 26080"/>
                    <a:gd name="connsiteY9" fmla="*/ 22168 h 26080"/>
                    <a:gd name="connsiteX10" fmla="*/ 3913 w 26080"/>
                    <a:gd name="connsiteY10" fmla="*/ 22168 h 26080"/>
                    <a:gd name="connsiteX11" fmla="*/ 3913 w 26080"/>
                    <a:gd name="connsiteY11" fmla="*/ 3913 h 26080"/>
                    <a:gd name="connsiteX12" fmla="*/ 22168 w 26080"/>
                    <a:gd name="connsiteY12" fmla="*/ 3913 h 26080"/>
                    <a:gd name="connsiteX13" fmla="*/ 22168 w 26080"/>
                    <a:gd name="connsiteY13" fmla="*/ 22168 h 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80" h="26080">
                      <a:moveTo>
                        <a:pt x="24124" y="0"/>
                      </a:moveTo>
                      <a:lnTo>
                        <a:pt x="1956" y="0"/>
                      </a:lnTo>
                      <a:cubicBezTo>
                        <a:pt x="878" y="0"/>
                        <a:pt x="0" y="878"/>
                        <a:pt x="0" y="1956"/>
                      </a:cubicBezTo>
                      <a:lnTo>
                        <a:pt x="0" y="24124"/>
                      </a:lnTo>
                      <a:cubicBezTo>
                        <a:pt x="0" y="25203"/>
                        <a:pt x="878" y="26081"/>
                        <a:pt x="1956" y="26081"/>
                      </a:cubicBezTo>
                      <a:lnTo>
                        <a:pt x="24124" y="26081"/>
                      </a:lnTo>
                      <a:cubicBezTo>
                        <a:pt x="25203" y="26081"/>
                        <a:pt x="26081" y="25203"/>
                        <a:pt x="26081" y="24124"/>
                      </a:cubicBezTo>
                      <a:lnTo>
                        <a:pt x="26081" y="1956"/>
                      </a:lnTo>
                      <a:cubicBezTo>
                        <a:pt x="26081" y="878"/>
                        <a:pt x="25203" y="0"/>
                        <a:pt x="24124" y="0"/>
                      </a:cubicBezTo>
                      <a:close/>
                      <a:moveTo>
                        <a:pt x="22168" y="22168"/>
                      </a:moveTo>
                      <a:lnTo>
                        <a:pt x="3913" y="22168"/>
                      </a:lnTo>
                      <a:lnTo>
                        <a:pt x="3913" y="3913"/>
                      </a:lnTo>
                      <a:lnTo>
                        <a:pt x="22168" y="3913"/>
                      </a:lnTo>
                      <a:lnTo>
                        <a:pt x="22168" y="22168"/>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03" name="Freeform: Shape 602">
                  <a:extLst>
                    <a:ext uri="{FF2B5EF4-FFF2-40B4-BE49-F238E27FC236}">
                      <a16:creationId xmlns:a16="http://schemas.microsoft.com/office/drawing/2014/main" id="{84A7A0FA-8F8E-4E29-AF27-C10D469BE005}"/>
                    </a:ext>
                  </a:extLst>
                </p:cNvPr>
                <p:cNvSpPr/>
                <p:nvPr/>
              </p:nvSpPr>
              <p:spPr>
                <a:xfrm>
                  <a:off x="1977842" y="4694265"/>
                  <a:ext cx="26080" cy="26080"/>
                </a:xfrm>
                <a:custGeom>
                  <a:avLst/>
                  <a:gdLst>
                    <a:gd name="connsiteX0" fmla="*/ 24124 w 26080"/>
                    <a:gd name="connsiteY0" fmla="*/ 0 h 26080"/>
                    <a:gd name="connsiteX1" fmla="*/ 1956 w 26080"/>
                    <a:gd name="connsiteY1" fmla="*/ 0 h 26080"/>
                    <a:gd name="connsiteX2" fmla="*/ 0 w 26080"/>
                    <a:gd name="connsiteY2" fmla="*/ 1956 h 26080"/>
                    <a:gd name="connsiteX3" fmla="*/ 0 w 26080"/>
                    <a:gd name="connsiteY3" fmla="*/ 24124 h 26080"/>
                    <a:gd name="connsiteX4" fmla="*/ 1956 w 26080"/>
                    <a:gd name="connsiteY4" fmla="*/ 26081 h 26080"/>
                    <a:gd name="connsiteX5" fmla="*/ 24124 w 26080"/>
                    <a:gd name="connsiteY5" fmla="*/ 26081 h 26080"/>
                    <a:gd name="connsiteX6" fmla="*/ 26081 w 26080"/>
                    <a:gd name="connsiteY6" fmla="*/ 24124 h 26080"/>
                    <a:gd name="connsiteX7" fmla="*/ 26081 w 26080"/>
                    <a:gd name="connsiteY7" fmla="*/ 1956 h 26080"/>
                    <a:gd name="connsiteX8" fmla="*/ 24124 w 26080"/>
                    <a:gd name="connsiteY8" fmla="*/ 0 h 26080"/>
                    <a:gd name="connsiteX9" fmla="*/ 22168 w 26080"/>
                    <a:gd name="connsiteY9" fmla="*/ 22168 h 26080"/>
                    <a:gd name="connsiteX10" fmla="*/ 3913 w 26080"/>
                    <a:gd name="connsiteY10" fmla="*/ 22168 h 26080"/>
                    <a:gd name="connsiteX11" fmla="*/ 3913 w 26080"/>
                    <a:gd name="connsiteY11" fmla="*/ 3913 h 26080"/>
                    <a:gd name="connsiteX12" fmla="*/ 22168 w 26080"/>
                    <a:gd name="connsiteY12" fmla="*/ 3913 h 26080"/>
                    <a:gd name="connsiteX13" fmla="*/ 22168 w 26080"/>
                    <a:gd name="connsiteY13" fmla="*/ 22168 h 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80" h="26080">
                      <a:moveTo>
                        <a:pt x="24124" y="0"/>
                      </a:moveTo>
                      <a:lnTo>
                        <a:pt x="1956" y="0"/>
                      </a:lnTo>
                      <a:cubicBezTo>
                        <a:pt x="878" y="0"/>
                        <a:pt x="0" y="878"/>
                        <a:pt x="0" y="1956"/>
                      </a:cubicBezTo>
                      <a:lnTo>
                        <a:pt x="0" y="24124"/>
                      </a:lnTo>
                      <a:cubicBezTo>
                        <a:pt x="0" y="25203"/>
                        <a:pt x="878" y="26081"/>
                        <a:pt x="1956" y="26081"/>
                      </a:cubicBezTo>
                      <a:lnTo>
                        <a:pt x="24124" y="26081"/>
                      </a:lnTo>
                      <a:cubicBezTo>
                        <a:pt x="25203" y="26081"/>
                        <a:pt x="26081" y="25203"/>
                        <a:pt x="26081" y="24124"/>
                      </a:cubicBezTo>
                      <a:lnTo>
                        <a:pt x="26081" y="1956"/>
                      </a:lnTo>
                      <a:cubicBezTo>
                        <a:pt x="26081" y="878"/>
                        <a:pt x="25203" y="0"/>
                        <a:pt x="24124" y="0"/>
                      </a:cubicBezTo>
                      <a:close/>
                      <a:moveTo>
                        <a:pt x="22168" y="22168"/>
                      </a:moveTo>
                      <a:lnTo>
                        <a:pt x="3913" y="22168"/>
                      </a:lnTo>
                      <a:lnTo>
                        <a:pt x="3913" y="3913"/>
                      </a:lnTo>
                      <a:lnTo>
                        <a:pt x="22168" y="3913"/>
                      </a:lnTo>
                      <a:lnTo>
                        <a:pt x="22168" y="22168"/>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04" name="Freeform: Shape 603">
                  <a:extLst>
                    <a:ext uri="{FF2B5EF4-FFF2-40B4-BE49-F238E27FC236}">
                      <a16:creationId xmlns:a16="http://schemas.microsoft.com/office/drawing/2014/main" id="{DA0C30A5-2130-47F9-BF21-4A3597D03383}"/>
                    </a:ext>
                  </a:extLst>
                </p:cNvPr>
                <p:cNvSpPr/>
                <p:nvPr/>
              </p:nvSpPr>
              <p:spPr>
                <a:xfrm>
                  <a:off x="1977842" y="4732516"/>
                  <a:ext cx="26080" cy="26080"/>
                </a:xfrm>
                <a:custGeom>
                  <a:avLst/>
                  <a:gdLst>
                    <a:gd name="connsiteX0" fmla="*/ 24124 w 26080"/>
                    <a:gd name="connsiteY0" fmla="*/ 0 h 26080"/>
                    <a:gd name="connsiteX1" fmla="*/ 1956 w 26080"/>
                    <a:gd name="connsiteY1" fmla="*/ 0 h 26080"/>
                    <a:gd name="connsiteX2" fmla="*/ 0 w 26080"/>
                    <a:gd name="connsiteY2" fmla="*/ 1956 h 26080"/>
                    <a:gd name="connsiteX3" fmla="*/ 0 w 26080"/>
                    <a:gd name="connsiteY3" fmla="*/ 24124 h 26080"/>
                    <a:gd name="connsiteX4" fmla="*/ 1956 w 26080"/>
                    <a:gd name="connsiteY4" fmla="*/ 26081 h 26080"/>
                    <a:gd name="connsiteX5" fmla="*/ 24124 w 26080"/>
                    <a:gd name="connsiteY5" fmla="*/ 26081 h 26080"/>
                    <a:gd name="connsiteX6" fmla="*/ 26081 w 26080"/>
                    <a:gd name="connsiteY6" fmla="*/ 24124 h 26080"/>
                    <a:gd name="connsiteX7" fmla="*/ 26081 w 26080"/>
                    <a:gd name="connsiteY7" fmla="*/ 1956 h 26080"/>
                    <a:gd name="connsiteX8" fmla="*/ 24124 w 26080"/>
                    <a:gd name="connsiteY8" fmla="*/ 0 h 26080"/>
                    <a:gd name="connsiteX9" fmla="*/ 22168 w 26080"/>
                    <a:gd name="connsiteY9" fmla="*/ 22168 h 26080"/>
                    <a:gd name="connsiteX10" fmla="*/ 3913 w 26080"/>
                    <a:gd name="connsiteY10" fmla="*/ 22168 h 26080"/>
                    <a:gd name="connsiteX11" fmla="*/ 3913 w 26080"/>
                    <a:gd name="connsiteY11" fmla="*/ 3913 h 26080"/>
                    <a:gd name="connsiteX12" fmla="*/ 22168 w 26080"/>
                    <a:gd name="connsiteY12" fmla="*/ 3913 h 26080"/>
                    <a:gd name="connsiteX13" fmla="*/ 22168 w 26080"/>
                    <a:gd name="connsiteY13" fmla="*/ 22168 h 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80" h="26080">
                      <a:moveTo>
                        <a:pt x="24124" y="0"/>
                      </a:moveTo>
                      <a:lnTo>
                        <a:pt x="1956" y="0"/>
                      </a:lnTo>
                      <a:cubicBezTo>
                        <a:pt x="878" y="0"/>
                        <a:pt x="0" y="878"/>
                        <a:pt x="0" y="1956"/>
                      </a:cubicBezTo>
                      <a:lnTo>
                        <a:pt x="0" y="24124"/>
                      </a:lnTo>
                      <a:cubicBezTo>
                        <a:pt x="0" y="25203"/>
                        <a:pt x="878" y="26081"/>
                        <a:pt x="1956" y="26081"/>
                      </a:cubicBezTo>
                      <a:lnTo>
                        <a:pt x="24124" y="26081"/>
                      </a:lnTo>
                      <a:cubicBezTo>
                        <a:pt x="25203" y="26081"/>
                        <a:pt x="26081" y="25203"/>
                        <a:pt x="26081" y="24124"/>
                      </a:cubicBezTo>
                      <a:lnTo>
                        <a:pt x="26081" y="1956"/>
                      </a:lnTo>
                      <a:cubicBezTo>
                        <a:pt x="26081" y="878"/>
                        <a:pt x="25203" y="0"/>
                        <a:pt x="24124" y="0"/>
                      </a:cubicBezTo>
                      <a:close/>
                      <a:moveTo>
                        <a:pt x="22168" y="22168"/>
                      </a:moveTo>
                      <a:lnTo>
                        <a:pt x="3913" y="22168"/>
                      </a:lnTo>
                      <a:lnTo>
                        <a:pt x="3913" y="3913"/>
                      </a:lnTo>
                      <a:lnTo>
                        <a:pt x="22168" y="3913"/>
                      </a:lnTo>
                      <a:lnTo>
                        <a:pt x="22168" y="22168"/>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05" name="Freeform: Shape 604">
                  <a:extLst>
                    <a:ext uri="{FF2B5EF4-FFF2-40B4-BE49-F238E27FC236}">
                      <a16:creationId xmlns:a16="http://schemas.microsoft.com/office/drawing/2014/main" id="{713EB8DE-1F69-40AC-82BD-0013592DC04D}"/>
                    </a:ext>
                  </a:extLst>
                </p:cNvPr>
                <p:cNvSpPr/>
                <p:nvPr/>
              </p:nvSpPr>
              <p:spPr>
                <a:xfrm>
                  <a:off x="1977842" y="4770766"/>
                  <a:ext cx="26080" cy="26080"/>
                </a:xfrm>
                <a:custGeom>
                  <a:avLst/>
                  <a:gdLst>
                    <a:gd name="connsiteX0" fmla="*/ 24124 w 26080"/>
                    <a:gd name="connsiteY0" fmla="*/ 0 h 26080"/>
                    <a:gd name="connsiteX1" fmla="*/ 1956 w 26080"/>
                    <a:gd name="connsiteY1" fmla="*/ 0 h 26080"/>
                    <a:gd name="connsiteX2" fmla="*/ 0 w 26080"/>
                    <a:gd name="connsiteY2" fmla="*/ 1956 h 26080"/>
                    <a:gd name="connsiteX3" fmla="*/ 0 w 26080"/>
                    <a:gd name="connsiteY3" fmla="*/ 24124 h 26080"/>
                    <a:gd name="connsiteX4" fmla="*/ 1956 w 26080"/>
                    <a:gd name="connsiteY4" fmla="*/ 26081 h 26080"/>
                    <a:gd name="connsiteX5" fmla="*/ 24124 w 26080"/>
                    <a:gd name="connsiteY5" fmla="*/ 26081 h 26080"/>
                    <a:gd name="connsiteX6" fmla="*/ 26081 w 26080"/>
                    <a:gd name="connsiteY6" fmla="*/ 24124 h 26080"/>
                    <a:gd name="connsiteX7" fmla="*/ 26081 w 26080"/>
                    <a:gd name="connsiteY7" fmla="*/ 1956 h 26080"/>
                    <a:gd name="connsiteX8" fmla="*/ 24124 w 26080"/>
                    <a:gd name="connsiteY8" fmla="*/ 0 h 26080"/>
                    <a:gd name="connsiteX9" fmla="*/ 22168 w 26080"/>
                    <a:gd name="connsiteY9" fmla="*/ 22168 h 26080"/>
                    <a:gd name="connsiteX10" fmla="*/ 3913 w 26080"/>
                    <a:gd name="connsiteY10" fmla="*/ 22168 h 26080"/>
                    <a:gd name="connsiteX11" fmla="*/ 3913 w 26080"/>
                    <a:gd name="connsiteY11" fmla="*/ 3913 h 26080"/>
                    <a:gd name="connsiteX12" fmla="*/ 22168 w 26080"/>
                    <a:gd name="connsiteY12" fmla="*/ 3913 h 26080"/>
                    <a:gd name="connsiteX13" fmla="*/ 22168 w 26080"/>
                    <a:gd name="connsiteY13" fmla="*/ 22168 h 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80" h="26080">
                      <a:moveTo>
                        <a:pt x="24124" y="0"/>
                      </a:moveTo>
                      <a:lnTo>
                        <a:pt x="1956" y="0"/>
                      </a:lnTo>
                      <a:cubicBezTo>
                        <a:pt x="878" y="0"/>
                        <a:pt x="0" y="878"/>
                        <a:pt x="0" y="1956"/>
                      </a:cubicBezTo>
                      <a:lnTo>
                        <a:pt x="0" y="24124"/>
                      </a:lnTo>
                      <a:cubicBezTo>
                        <a:pt x="0" y="25203"/>
                        <a:pt x="878" y="26081"/>
                        <a:pt x="1956" y="26081"/>
                      </a:cubicBezTo>
                      <a:lnTo>
                        <a:pt x="24124" y="26081"/>
                      </a:lnTo>
                      <a:cubicBezTo>
                        <a:pt x="25203" y="26081"/>
                        <a:pt x="26081" y="25203"/>
                        <a:pt x="26081" y="24124"/>
                      </a:cubicBezTo>
                      <a:lnTo>
                        <a:pt x="26081" y="1956"/>
                      </a:lnTo>
                      <a:cubicBezTo>
                        <a:pt x="26081" y="878"/>
                        <a:pt x="25203" y="0"/>
                        <a:pt x="24124" y="0"/>
                      </a:cubicBezTo>
                      <a:close/>
                      <a:moveTo>
                        <a:pt x="22168" y="22168"/>
                      </a:moveTo>
                      <a:lnTo>
                        <a:pt x="3913" y="22168"/>
                      </a:lnTo>
                      <a:lnTo>
                        <a:pt x="3913" y="3913"/>
                      </a:lnTo>
                      <a:lnTo>
                        <a:pt x="22168" y="3913"/>
                      </a:lnTo>
                      <a:lnTo>
                        <a:pt x="22168" y="22168"/>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06" name="Freeform: Shape 605">
                  <a:extLst>
                    <a:ext uri="{FF2B5EF4-FFF2-40B4-BE49-F238E27FC236}">
                      <a16:creationId xmlns:a16="http://schemas.microsoft.com/office/drawing/2014/main" id="{6E68BD75-F2BF-4CD0-B235-A32CAF06A251}"/>
                    </a:ext>
                  </a:extLst>
                </p:cNvPr>
                <p:cNvSpPr/>
                <p:nvPr/>
              </p:nvSpPr>
              <p:spPr>
                <a:xfrm>
                  <a:off x="1977842" y="4809012"/>
                  <a:ext cx="26080" cy="26080"/>
                </a:xfrm>
                <a:custGeom>
                  <a:avLst/>
                  <a:gdLst>
                    <a:gd name="connsiteX0" fmla="*/ 24124 w 26080"/>
                    <a:gd name="connsiteY0" fmla="*/ 0 h 26080"/>
                    <a:gd name="connsiteX1" fmla="*/ 1956 w 26080"/>
                    <a:gd name="connsiteY1" fmla="*/ 0 h 26080"/>
                    <a:gd name="connsiteX2" fmla="*/ 0 w 26080"/>
                    <a:gd name="connsiteY2" fmla="*/ 1956 h 26080"/>
                    <a:gd name="connsiteX3" fmla="*/ 0 w 26080"/>
                    <a:gd name="connsiteY3" fmla="*/ 24124 h 26080"/>
                    <a:gd name="connsiteX4" fmla="*/ 1956 w 26080"/>
                    <a:gd name="connsiteY4" fmla="*/ 26081 h 26080"/>
                    <a:gd name="connsiteX5" fmla="*/ 24124 w 26080"/>
                    <a:gd name="connsiteY5" fmla="*/ 26081 h 26080"/>
                    <a:gd name="connsiteX6" fmla="*/ 26081 w 26080"/>
                    <a:gd name="connsiteY6" fmla="*/ 24124 h 26080"/>
                    <a:gd name="connsiteX7" fmla="*/ 26081 w 26080"/>
                    <a:gd name="connsiteY7" fmla="*/ 1956 h 26080"/>
                    <a:gd name="connsiteX8" fmla="*/ 24124 w 26080"/>
                    <a:gd name="connsiteY8" fmla="*/ 0 h 26080"/>
                    <a:gd name="connsiteX9" fmla="*/ 22168 w 26080"/>
                    <a:gd name="connsiteY9" fmla="*/ 22168 h 26080"/>
                    <a:gd name="connsiteX10" fmla="*/ 3913 w 26080"/>
                    <a:gd name="connsiteY10" fmla="*/ 22168 h 26080"/>
                    <a:gd name="connsiteX11" fmla="*/ 3913 w 26080"/>
                    <a:gd name="connsiteY11" fmla="*/ 3913 h 26080"/>
                    <a:gd name="connsiteX12" fmla="*/ 22168 w 26080"/>
                    <a:gd name="connsiteY12" fmla="*/ 3913 h 26080"/>
                    <a:gd name="connsiteX13" fmla="*/ 22168 w 26080"/>
                    <a:gd name="connsiteY13" fmla="*/ 22168 h 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080" h="26080">
                      <a:moveTo>
                        <a:pt x="24124" y="0"/>
                      </a:moveTo>
                      <a:lnTo>
                        <a:pt x="1956" y="0"/>
                      </a:lnTo>
                      <a:cubicBezTo>
                        <a:pt x="878" y="0"/>
                        <a:pt x="0" y="878"/>
                        <a:pt x="0" y="1956"/>
                      </a:cubicBezTo>
                      <a:lnTo>
                        <a:pt x="0" y="24124"/>
                      </a:lnTo>
                      <a:cubicBezTo>
                        <a:pt x="0" y="25203"/>
                        <a:pt x="878" y="26081"/>
                        <a:pt x="1956" y="26081"/>
                      </a:cubicBezTo>
                      <a:lnTo>
                        <a:pt x="24124" y="26081"/>
                      </a:lnTo>
                      <a:cubicBezTo>
                        <a:pt x="25203" y="26081"/>
                        <a:pt x="26081" y="25203"/>
                        <a:pt x="26081" y="24124"/>
                      </a:cubicBezTo>
                      <a:lnTo>
                        <a:pt x="26081" y="1956"/>
                      </a:lnTo>
                      <a:cubicBezTo>
                        <a:pt x="26081" y="878"/>
                        <a:pt x="25203" y="0"/>
                        <a:pt x="24124" y="0"/>
                      </a:cubicBezTo>
                      <a:close/>
                      <a:moveTo>
                        <a:pt x="22168" y="22168"/>
                      </a:moveTo>
                      <a:lnTo>
                        <a:pt x="3913" y="22168"/>
                      </a:lnTo>
                      <a:lnTo>
                        <a:pt x="3913" y="3913"/>
                      </a:lnTo>
                      <a:lnTo>
                        <a:pt x="22168" y="3913"/>
                      </a:lnTo>
                      <a:lnTo>
                        <a:pt x="22168" y="22168"/>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07" name="Freeform: Shape 606">
                  <a:extLst>
                    <a:ext uri="{FF2B5EF4-FFF2-40B4-BE49-F238E27FC236}">
                      <a16:creationId xmlns:a16="http://schemas.microsoft.com/office/drawing/2014/main" id="{3E87CC51-4408-44A5-A9FF-3494EDBCD568}"/>
                    </a:ext>
                  </a:extLst>
                </p:cNvPr>
                <p:cNvSpPr/>
                <p:nvPr/>
              </p:nvSpPr>
              <p:spPr>
                <a:xfrm>
                  <a:off x="1888082" y="4733060"/>
                  <a:ext cx="54333" cy="3912"/>
                </a:xfrm>
                <a:custGeom>
                  <a:avLst/>
                  <a:gdLst>
                    <a:gd name="connsiteX0" fmla="*/ 52377 w 54333"/>
                    <a:gd name="connsiteY0" fmla="*/ 0 h 3912"/>
                    <a:gd name="connsiteX1" fmla="*/ 1956 w 54333"/>
                    <a:gd name="connsiteY1" fmla="*/ 0 h 3912"/>
                    <a:gd name="connsiteX2" fmla="*/ 0 w 54333"/>
                    <a:gd name="connsiteY2" fmla="*/ 1956 h 3912"/>
                    <a:gd name="connsiteX3" fmla="*/ 1956 w 54333"/>
                    <a:gd name="connsiteY3" fmla="*/ 3913 h 3912"/>
                    <a:gd name="connsiteX4" fmla="*/ 52377 w 54333"/>
                    <a:gd name="connsiteY4" fmla="*/ 3913 h 3912"/>
                    <a:gd name="connsiteX5" fmla="*/ 54333 w 54333"/>
                    <a:gd name="connsiteY5" fmla="*/ 1956 h 3912"/>
                    <a:gd name="connsiteX6" fmla="*/ 52377 w 54333"/>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33" h="3912">
                      <a:moveTo>
                        <a:pt x="52377" y="0"/>
                      </a:moveTo>
                      <a:lnTo>
                        <a:pt x="1956" y="0"/>
                      </a:lnTo>
                      <a:cubicBezTo>
                        <a:pt x="878" y="0"/>
                        <a:pt x="0" y="878"/>
                        <a:pt x="0" y="1956"/>
                      </a:cubicBezTo>
                      <a:cubicBezTo>
                        <a:pt x="0" y="3035"/>
                        <a:pt x="878" y="3913"/>
                        <a:pt x="1956" y="3913"/>
                      </a:cubicBezTo>
                      <a:lnTo>
                        <a:pt x="52377" y="3913"/>
                      </a:lnTo>
                      <a:cubicBezTo>
                        <a:pt x="53455" y="3913"/>
                        <a:pt x="54333" y="3035"/>
                        <a:pt x="54333" y="1956"/>
                      </a:cubicBezTo>
                      <a:cubicBezTo>
                        <a:pt x="54333" y="878"/>
                        <a:pt x="53455" y="0"/>
                        <a:pt x="52377"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08" name="Freeform: Shape 607">
                  <a:extLst>
                    <a:ext uri="{FF2B5EF4-FFF2-40B4-BE49-F238E27FC236}">
                      <a16:creationId xmlns:a16="http://schemas.microsoft.com/office/drawing/2014/main" id="{9CD53C1F-42D2-4375-849A-759DDA857E55}"/>
                    </a:ext>
                  </a:extLst>
                </p:cNvPr>
                <p:cNvSpPr/>
                <p:nvPr/>
              </p:nvSpPr>
              <p:spPr>
                <a:xfrm>
                  <a:off x="1888082" y="4713937"/>
                  <a:ext cx="54333" cy="3912"/>
                </a:xfrm>
                <a:custGeom>
                  <a:avLst/>
                  <a:gdLst>
                    <a:gd name="connsiteX0" fmla="*/ 52377 w 54333"/>
                    <a:gd name="connsiteY0" fmla="*/ 0 h 3912"/>
                    <a:gd name="connsiteX1" fmla="*/ 1956 w 54333"/>
                    <a:gd name="connsiteY1" fmla="*/ 0 h 3912"/>
                    <a:gd name="connsiteX2" fmla="*/ 0 w 54333"/>
                    <a:gd name="connsiteY2" fmla="*/ 1956 h 3912"/>
                    <a:gd name="connsiteX3" fmla="*/ 1956 w 54333"/>
                    <a:gd name="connsiteY3" fmla="*/ 3913 h 3912"/>
                    <a:gd name="connsiteX4" fmla="*/ 52377 w 54333"/>
                    <a:gd name="connsiteY4" fmla="*/ 3913 h 3912"/>
                    <a:gd name="connsiteX5" fmla="*/ 54333 w 54333"/>
                    <a:gd name="connsiteY5" fmla="*/ 1956 h 3912"/>
                    <a:gd name="connsiteX6" fmla="*/ 52377 w 54333"/>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33" h="3912">
                      <a:moveTo>
                        <a:pt x="52377" y="0"/>
                      </a:moveTo>
                      <a:lnTo>
                        <a:pt x="1956" y="0"/>
                      </a:lnTo>
                      <a:cubicBezTo>
                        <a:pt x="878" y="0"/>
                        <a:pt x="0" y="878"/>
                        <a:pt x="0" y="1956"/>
                      </a:cubicBezTo>
                      <a:cubicBezTo>
                        <a:pt x="0" y="3035"/>
                        <a:pt x="878" y="3913"/>
                        <a:pt x="1956" y="3913"/>
                      </a:cubicBezTo>
                      <a:lnTo>
                        <a:pt x="52377" y="3913"/>
                      </a:lnTo>
                      <a:cubicBezTo>
                        <a:pt x="53455" y="3913"/>
                        <a:pt x="54333" y="3035"/>
                        <a:pt x="54333" y="1956"/>
                      </a:cubicBezTo>
                      <a:cubicBezTo>
                        <a:pt x="54333" y="878"/>
                        <a:pt x="53455" y="0"/>
                        <a:pt x="52377"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09" name="Freeform: Shape 608">
                  <a:extLst>
                    <a:ext uri="{FF2B5EF4-FFF2-40B4-BE49-F238E27FC236}">
                      <a16:creationId xmlns:a16="http://schemas.microsoft.com/office/drawing/2014/main" id="{EBA1C409-9F29-4E42-B2B8-6BC66BB4C4E8}"/>
                    </a:ext>
                  </a:extLst>
                </p:cNvPr>
                <p:cNvSpPr/>
                <p:nvPr/>
              </p:nvSpPr>
              <p:spPr>
                <a:xfrm>
                  <a:off x="1888082" y="4675687"/>
                  <a:ext cx="54333" cy="3912"/>
                </a:xfrm>
                <a:custGeom>
                  <a:avLst/>
                  <a:gdLst>
                    <a:gd name="connsiteX0" fmla="*/ 52377 w 54333"/>
                    <a:gd name="connsiteY0" fmla="*/ 0 h 3912"/>
                    <a:gd name="connsiteX1" fmla="*/ 1956 w 54333"/>
                    <a:gd name="connsiteY1" fmla="*/ 0 h 3912"/>
                    <a:gd name="connsiteX2" fmla="*/ 0 w 54333"/>
                    <a:gd name="connsiteY2" fmla="*/ 1956 h 3912"/>
                    <a:gd name="connsiteX3" fmla="*/ 1956 w 54333"/>
                    <a:gd name="connsiteY3" fmla="*/ 3913 h 3912"/>
                    <a:gd name="connsiteX4" fmla="*/ 52377 w 54333"/>
                    <a:gd name="connsiteY4" fmla="*/ 3913 h 3912"/>
                    <a:gd name="connsiteX5" fmla="*/ 54333 w 54333"/>
                    <a:gd name="connsiteY5" fmla="*/ 1956 h 3912"/>
                    <a:gd name="connsiteX6" fmla="*/ 52377 w 54333"/>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33" h="3912">
                      <a:moveTo>
                        <a:pt x="52377" y="0"/>
                      </a:moveTo>
                      <a:lnTo>
                        <a:pt x="1956" y="0"/>
                      </a:lnTo>
                      <a:cubicBezTo>
                        <a:pt x="878" y="0"/>
                        <a:pt x="0" y="878"/>
                        <a:pt x="0" y="1956"/>
                      </a:cubicBezTo>
                      <a:cubicBezTo>
                        <a:pt x="0" y="3035"/>
                        <a:pt x="878" y="3913"/>
                        <a:pt x="1956" y="3913"/>
                      </a:cubicBezTo>
                      <a:lnTo>
                        <a:pt x="52377" y="3913"/>
                      </a:lnTo>
                      <a:cubicBezTo>
                        <a:pt x="53455" y="3913"/>
                        <a:pt x="54333" y="3035"/>
                        <a:pt x="54333" y="1956"/>
                      </a:cubicBezTo>
                      <a:cubicBezTo>
                        <a:pt x="54333" y="878"/>
                        <a:pt x="53455" y="0"/>
                        <a:pt x="52377"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10" name="Freeform: Shape 609">
                  <a:extLst>
                    <a:ext uri="{FF2B5EF4-FFF2-40B4-BE49-F238E27FC236}">
                      <a16:creationId xmlns:a16="http://schemas.microsoft.com/office/drawing/2014/main" id="{EF242CD2-CB52-4550-82A4-1424873A7917}"/>
                    </a:ext>
                  </a:extLst>
                </p:cNvPr>
                <p:cNvSpPr/>
                <p:nvPr/>
              </p:nvSpPr>
              <p:spPr>
                <a:xfrm>
                  <a:off x="1888082" y="4694809"/>
                  <a:ext cx="54333" cy="3912"/>
                </a:xfrm>
                <a:custGeom>
                  <a:avLst/>
                  <a:gdLst>
                    <a:gd name="connsiteX0" fmla="*/ 52377 w 54333"/>
                    <a:gd name="connsiteY0" fmla="*/ 0 h 3912"/>
                    <a:gd name="connsiteX1" fmla="*/ 1956 w 54333"/>
                    <a:gd name="connsiteY1" fmla="*/ 0 h 3912"/>
                    <a:gd name="connsiteX2" fmla="*/ 0 w 54333"/>
                    <a:gd name="connsiteY2" fmla="*/ 1956 h 3912"/>
                    <a:gd name="connsiteX3" fmla="*/ 1956 w 54333"/>
                    <a:gd name="connsiteY3" fmla="*/ 3913 h 3912"/>
                    <a:gd name="connsiteX4" fmla="*/ 52377 w 54333"/>
                    <a:gd name="connsiteY4" fmla="*/ 3913 h 3912"/>
                    <a:gd name="connsiteX5" fmla="*/ 54333 w 54333"/>
                    <a:gd name="connsiteY5" fmla="*/ 1956 h 3912"/>
                    <a:gd name="connsiteX6" fmla="*/ 52377 w 54333"/>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33" h="3912">
                      <a:moveTo>
                        <a:pt x="52377" y="0"/>
                      </a:moveTo>
                      <a:lnTo>
                        <a:pt x="1956" y="0"/>
                      </a:lnTo>
                      <a:cubicBezTo>
                        <a:pt x="878" y="0"/>
                        <a:pt x="0" y="878"/>
                        <a:pt x="0" y="1956"/>
                      </a:cubicBezTo>
                      <a:cubicBezTo>
                        <a:pt x="0" y="3035"/>
                        <a:pt x="878" y="3913"/>
                        <a:pt x="1956" y="3913"/>
                      </a:cubicBezTo>
                      <a:lnTo>
                        <a:pt x="52377" y="3913"/>
                      </a:lnTo>
                      <a:cubicBezTo>
                        <a:pt x="53455" y="3913"/>
                        <a:pt x="54333" y="3035"/>
                        <a:pt x="54333" y="1956"/>
                      </a:cubicBezTo>
                      <a:cubicBezTo>
                        <a:pt x="54333" y="878"/>
                        <a:pt x="53455" y="0"/>
                        <a:pt x="52377"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11" name="Freeform: Shape 610">
                  <a:extLst>
                    <a:ext uri="{FF2B5EF4-FFF2-40B4-BE49-F238E27FC236}">
                      <a16:creationId xmlns:a16="http://schemas.microsoft.com/office/drawing/2014/main" id="{40C5F157-75AD-48A6-8258-A8C2193438F6}"/>
                    </a:ext>
                  </a:extLst>
                </p:cNvPr>
                <p:cNvSpPr/>
                <p:nvPr/>
              </p:nvSpPr>
              <p:spPr>
                <a:xfrm>
                  <a:off x="1888082" y="4811076"/>
                  <a:ext cx="54333" cy="3912"/>
                </a:xfrm>
                <a:custGeom>
                  <a:avLst/>
                  <a:gdLst>
                    <a:gd name="connsiteX0" fmla="*/ 52377 w 54333"/>
                    <a:gd name="connsiteY0" fmla="*/ 0 h 3912"/>
                    <a:gd name="connsiteX1" fmla="*/ 1956 w 54333"/>
                    <a:gd name="connsiteY1" fmla="*/ 0 h 3912"/>
                    <a:gd name="connsiteX2" fmla="*/ 0 w 54333"/>
                    <a:gd name="connsiteY2" fmla="*/ 1956 h 3912"/>
                    <a:gd name="connsiteX3" fmla="*/ 1956 w 54333"/>
                    <a:gd name="connsiteY3" fmla="*/ 3913 h 3912"/>
                    <a:gd name="connsiteX4" fmla="*/ 52377 w 54333"/>
                    <a:gd name="connsiteY4" fmla="*/ 3913 h 3912"/>
                    <a:gd name="connsiteX5" fmla="*/ 54333 w 54333"/>
                    <a:gd name="connsiteY5" fmla="*/ 1956 h 3912"/>
                    <a:gd name="connsiteX6" fmla="*/ 52377 w 54333"/>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33" h="3912">
                      <a:moveTo>
                        <a:pt x="52377" y="0"/>
                      </a:moveTo>
                      <a:lnTo>
                        <a:pt x="1956" y="0"/>
                      </a:lnTo>
                      <a:cubicBezTo>
                        <a:pt x="878" y="0"/>
                        <a:pt x="0" y="878"/>
                        <a:pt x="0" y="1956"/>
                      </a:cubicBezTo>
                      <a:cubicBezTo>
                        <a:pt x="0" y="3035"/>
                        <a:pt x="878" y="3913"/>
                        <a:pt x="1956" y="3913"/>
                      </a:cubicBezTo>
                      <a:lnTo>
                        <a:pt x="52377" y="3913"/>
                      </a:lnTo>
                      <a:cubicBezTo>
                        <a:pt x="53455" y="3913"/>
                        <a:pt x="54333" y="3035"/>
                        <a:pt x="54333" y="1956"/>
                      </a:cubicBezTo>
                      <a:cubicBezTo>
                        <a:pt x="54333" y="878"/>
                        <a:pt x="53455" y="0"/>
                        <a:pt x="52377"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12" name="Freeform: Shape 611">
                  <a:extLst>
                    <a:ext uri="{FF2B5EF4-FFF2-40B4-BE49-F238E27FC236}">
                      <a16:creationId xmlns:a16="http://schemas.microsoft.com/office/drawing/2014/main" id="{12223E77-0F0C-4ED4-98FD-D0FD78FD586A}"/>
                    </a:ext>
                  </a:extLst>
                </p:cNvPr>
                <p:cNvSpPr/>
                <p:nvPr/>
              </p:nvSpPr>
              <p:spPr>
                <a:xfrm>
                  <a:off x="1888082" y="4791953"/>
                  <a:ext cx="54333" cy="3912"/>
                </a:xfrm>
                <a:custGeom>
                  <a:avLst/>
                  <a:gdLst>
                    <a:gd name="connsiteX0" fmla="*/ 52377 w 54333"/>
                    <a:gd name="connsiteY0" fmla="*/ 0 h 3912"/>
                    <a:gd name="connsiteX1" fmla="*/ 1956 w 54333"/>
                    <a:gd name="connsiteY1" fmla="*/ 0 h 3912"/>
                    <a:gd name="connsiteX2" fmla="*/ 0 w 54333"/>
                    <a:gd name="connsiteY2" fmla="*/ 1956 h 3912"/>
                    <a:gd name="connsiteX3" fmla="*/ 1956 w 54333"/>
                    <a:gd name="connsiteY3" fmla="*/ 3913 h 3912"/>
                    <a:gd name="connsiteX4" fmla="*/ 52377 w 54333"/>
                    <a:gd name="connsiteY4" fmla="*/ 3913 h 3912"/>
                    <a:gd name="connsiteX5" fmla="*/ 54333 w 54333"/>
                    <a:gd name="connsiteY5" fmla="*/ 1956 h 3912"/>
                    <a:gd name="connsiteX6" fmla="*/ 52377 w 54333"/>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33" h="3912">
                      <a:moveTo>
                        <a:pt x="52377" y="0"/>
                      </a:moveTo>
                      <a:lnTo>
                        <a:pt x="1956" y="0"/>
                      </a:lnTo>
                      <a:cubicBezTo>
                        <a:pt x="878" y="0"/>
                        <a:pt x="0" y="878"/>
                        <a:pt x="0" y="1956"/>
                      </a:cubicBezTo>
                      <a:cubicBezTo>
                        <a:pt x="0" y="3035"/>
                        <a:pt x="878" y="3913"/>
                        <a:pt x="1956" y="3913"/>
                      </a:cubicBezTo>
                      <a:lnTo>
                        <a:pt x="52377" y="3913"/>
                      </a:lnTo>
                      <a:cubicBezTo>
                        <a:pt x="53455" y="3913"/>
                        <a:pt x="54333" y="3035"/>
                        <a:pt x="54333" y="1956"/>
                      </a:cubicBezTo>
                      <a:cubicBezTo>
                        <a:pt x="54333" y="878"/>
                        <a:pt x="53455" y="0"/>
                        <a:pt x="52377"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13" name="Freeform: Shape 612">
                  <a:extLst>
                    <a:ext uri="{FF2B5EF4-FFF2-40B4-BE49-F238E27FC236}">
                      <a16:creationId xmlns:a16="http://schemas.microsoft.com/office/drawing/2014/main" id="{1E0C09F6-BE7E-414E-B91B-DF601E409DB2}"/>
                    </a:ext>
                  </a:extLst>
                </p:cNvPr>
                <p:cNvSpPr/>
                <p:nvPr/>
              </p:nvSpPr>
              <p:spPr>
                <a:xfrm>
                  <a:off x="1888082" y="4753703"/>
                  <a:ext cx="54333" cy="3912"/>
                </a:xfrm>
                <a:custGeom>
                  <a:avLst/>
                  <a:gdLst>
                    <a:gd name="connsiteX0" fmla="*/ 52377 w 54333"/>
                    <a:gd name="connsiteY0" fmla="*/ 0 h 3912"/>
                    <a:gd name="connsiteX1" fmla="*/ 1956 w 54333"/>
                    <a:gd name="connsiteY1" fmla="*/ 0 h 3912"/>
                    <a:gd name="connsiteX2" fmla="*/ 0 w 54333"/>
                    <a:gd name="connsiteY2" fmla="*/ 1956 h 3912"/>
                    <a:gd name="connsiteX3" fmla="*/ 1956 w 54333"/>
                    <a:gd name="connsiteY3" fmla="*/ 3913 h 3912"/>
                    <a:gd name="connsiteX4" fmla="*/ 52377 w 54333"/>
                    <a:gd name="connsiteY4" fmla="*/ 3913 h 3912"/>
                    <a:gd name="connsiteX5" fmla="*/ 54333 w 54333"/>
                    <a:gd name="connsiteY5" fmla="*/ 1956 h 3912"/>
                    <a:gd name="connsiteX6" fmla="*/ 52377 w 54333"/>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33" h="3912">
                      <a:moveTo>
                        <a:pt x="52377" y="0"/>
                      </a:moveTo>
                      <a:lnTo>
                        <a:pt x="1956" y="0"/>
                      </a:lnTo>
                      <a:cubicBezTo>
                        <a:pt x="878" y="0"/>
                        <a:pt x="0" y="878"/>
                        <a:pt x="0" y="1956"/>
                      </a:cubicBezTo>
                      <a:cubicBezTo>
                        <a:pt x="0" y="3035"/>
                        <a:pt x="878" y="3913"/>
                        <a:pt x="1956" y="3913"/>
                      </a:cubicBezTo>
                      <a:lnTo>
                        <a:pt x="52377" y="3913"/>
                      </a:lnTo>
                      <a:cubicBezTo>
                        <a:pt x="53455" y="3913"/>
                        <a:pt x="54333" y="3035"/>
                        <a:pt x="54333" y="1956"/>
                      </a:cubicBezTo>
                      <a:cubicBezTo>
                        <a:pt x="54333" y="878"/>
                        <a:pt x="53455" y="0"/>
                        <a:pt x="52377"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14" name="Freeform: Shape 613">
                  <a:extLst>
                    <a:ext uri="{FF2B5EF4-FFF2-40B4-BE49-F238E27FC236}">
                      <a16:creationId xmlns:a16="http://schemas.microsoft.com/office/drawing/2014/main" id="{4AE2EEBA-3C05-478F-AAB2-DF3BAFC4B4AD}"/>
                    </a:ext>
                  </a:extLst>
                </p:cNvPr>
                <p:cNvSpPr/>
                <p:nvPr/>
              </p:nvSpPr>
              <p:spPr>
                <a:xfrm>
                  <a:off x="1888082" y="4772831"/>
                  <a:ext cx="54333" cy="3912"/>
                </a:xfrm>
                <a:custGeom>
                  <a:avLst/>
                  <a:gdLst>
                    <a:gd name="connsiteX0" fmla="*/ 52377 w 54333"/>
                    <a:gd name="connsiteY0" fmla="*/ 0 h 3912"/>
                    <a:gd name="connsiteX1" fmla="*/ 1956 w 54333"/>
                    <a:gd name="connsiteY1" fmla="*/ 0 h 3912"/>
                    <a:gd name="connsiteX2" fmla="*/ 0 w 54333"/>
                    <a:gd name="connsiteY2" fmla="*/ 1956 h 3912"/>
                    <a:gd name="connsiteX3" fmla="*/ 1956 w 54333"/>
                    <a:gd name="connsiteY3" fmla="*/ 3913 h 3912"/>
                    <a:gd name="connsiteX4" fmla="*/ 52377 w 54333"/>
                    <a:gd name="connsiteY4" fmla="*/ 3913 h 3912"/>
                    <a:gd name="connsiteX5" fmla="*/ 54333 w 54333"/>
                    <a:gd name="connsiteY5" fmla="*/ 1956 h 3912"/>
                    <a:gd name="connsiteX6" fmla="*/ 52377 w 54333"/>
                    <a:gd name="connsiteY6" fmla="*/ 0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33" h="3912">
                      <a:moveTo>
                        <a:pt x="52377" y="0"/>
                      </a:moveTo>
                      <a:lnTo>
                        <a:pt x="1956" y="0"/>
                      </a:lnTo>
                      <a:cubicBezTo>
                        <a:pt x="878" y="0"/>
                        <a:pt x="0" y="878"/>
                        <a:pt x="0" y="1956"/>
                      </a:cubicBezTo>
                      <a:cubicBezTo>
                        <a:pt x="0" y="3035"/>
                        <a:pt x="878" y="3913"/>
                        <a:pt x="1956" y="3913"/>
                      </a:cubicBezTo>
                      <a:lnTo>
                        <a:pt x="52377" y="3913"/>
                      </a:lnTo>
                      <a:cubicBezTo>
                        <a:pt x="53455" y="3913"/>
                        <a:pt x="54333" y="3035"/>
                        <a:pt x="54333" y="1956"/>
                      </a:cubicBezTo>
                      <a:cubicBezTo>
                        <a:pt x="54333" y="878"/>
                        <a:pt x="53455" y="0"/>
                        <a:pt x="52377"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15" name="Freeform: Shape 614">
                  <a:extLst>
                    <a:ext uri="{FF2B5EF4-FFF2-40B4-BE49-F238E27FC236}">
                      <a16:creationId xmlns:a16="http://schemas.microsoft.com/office/drawing/2014/main" id="{59C37AB5-B8DF-455F-8E60-DDA22E3ABB08}"/>
                    </a:ext>
                  </a:extLst>
                </p:cNvPr>
                <p:cNvSpPr/>
                <p:nvPr/>
              </p:nvSpPr>
              <p:spPr>
                <a:xfrm>
                  <a:off x="1888082" y="4656564"/>
                  <a:ext cx="54333" cy="3912"/>
                </a:xfrm>
                <a:custGeom>
                  <a:avLst/>
                  <a:gdLst>
                    <a:gd name="connsiteX0" fmla="*/ 0 w 54333"/>
                    <a:gd name="connsiteY0" fmla="*/ 1956 h 3912"/>
                    <a:gd name="connsiteX1" fmla="*/ 1956 w 54333"/>
                    <a:gd name="connsiteY1" fmla="*/ 3913 h 3912"/>
                    <a:gd name="connsiteX2" fmla="*/ 52377 w 54333"/>
                    <a:gd name="connsiteY2" fmla="*/ 3913 h 3912"/>
                    <a:gd name="connsiteX3" fmla="*/ 54333 w 54333"/>
                    <a:gd name="connsiteY3" fmla="*/ 1956 h 3912"/>
                    <a:gd name="connsiteX4" fmla="*/ 52377 w 54333"/>
                    <a:gd name="connsiteY4" fmla="*/ 0 h 3912"/>
                    <a:gd name="connsiteX5" fmla="*/ 1956 w 54333"/>
                    <a:gd name="connsiteY5" fmla="*/ 0 h 3912"/>
                    <a:gd name="connsiteX6" fmla="*/ 0 w 54333"/>
                    <a:gd name="connsiteY6" fmla="*/ 1956 h 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333" h="3912">
                      <a:moveTo>
                        <a:pt x="0" y="1956"/>
                      </a:moveTo>
                      <a:cubicBezTo>
                        <a:pt x="0" y="3035"/>
                        <a:pt x="878" y="3913"/>
                        <a:pt x="1956" y="3913"/>
                      </a:cubicBezTo>
                      <a:lnTo>
                        <a:pt x="52377" y="3913"/>
                      </a:lnTo>
                      <a:cubicBezTo>
                        <a:pt x="53455" y="3913"/>
                        <a:pt x="54333" y="3035"/>
                        <a:pt x="54333" y="1956"/>
                      </a:cubicBezTo>
                      <a:cubicBezTo>
                        <a:pt x="54333" y="878"/>
                        <a:pt x="53455" y="0"/>
                        <a:pt x="52377" y="0"/>
                      </a:cubicBezTo>
                      <a:lnTo>
                        <a:pt x="1956" y="0"/>
                      </a:lnTo>
                      <a:cubicBezTo>
                        <a:pt x="878" y="0"/>
                        <a:pt x="0" y="878"/>
                        <a:pt x="0" y="1956"/>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503" name="Graphic 6">
                <a:extLst>
                  <a:ext uri="{FF2B5EF4-FFF2-40B4-BE49-F238E27FC236}">
                    <a16:creationId xmlns:a16="http://schemas.microsoft.com/office/drawing/2014/main" id="{C97848C7-497D-4780-8741-ED1DDA253B5E}"/>
                  </a:ext>
                </a:extLst>
              </p:cNvPr>
              <p:cNvGrpSpPr/>
              <p:nvPr/>
            </p:nvGrpSpPr>
            <p:grpSpPr>
              <a:xfrm>
                <a:off x="2122645" y="4442128"/>
                <a:ext cx="166466" cy="457753"/>
                <a:chOff x="2122685" y="4442220"/>
                <a:chExt cx="166466" cy="457753"/>
              </a:xfrm>
              <a:solidFill>
                <a:srgbClr val="069688"/>
              </a:solidFill>
            </p:grpSpPr>
            <p:sp>
              <p:nvSpPr>
                <p:cNvPr id="591" name="Freeform: Shape 590">
                  <a:extLst>
                    <a:ext uri="{FF2B5EF4-FFF2-40B4-BE49-F238E27FC236}">
                      <a16:creationId xmlns:a16="http://schemas.microsoft.com/office/drawing/2014/main" id="{FC1A3A58-37D9-4C0B-86BD-ED300344D469}"/>
                    </a:ext>
                  </a:extLst>
                </p:cNvPr>
                <p:cNvSpPr/>
                <p:nvPr/>
              </p:nvSpPr>
              <p:spPr>
                <a:xfrm>
                  <a:off x="2122685" y="4442220"/>
                  <a:ext cx="166466" cy="457753"/>
                </a:xfrm>
                <a:custGeom>
                  <a:avLst/>
                  <a:gdLst>
                    <a:gd name="connsiteX0" fmla="*/ 166456 w 166466"/>
                    <a:gd name="connsiteY0" fmla="*/ 66984 h 457753"/>
                    <a:gd name="connsiteX1" fmla="*/ 166436 w 166466"/>
                    <a:gd name="connsiteY1" fmla="*/ 66779 h 457753"/>
                    <a:gd name="connsiteX2" fmla="*/ 166400 w 166466"/>
                    <a:gd name="connsiteY2" fmla="*/ 66599 h 457753"/>
                    <a:gd name="connsiteX3" fmla="*/ 166343 w 166466"/>
                    <a:gd name="connsiteY3" fmla="*/ 66414 h 457753"/>
                    <a:gd name="connsiteX4" fmla="*/ 166271 w 166466"/>
                    <a:gd name="connsiteY4" fmla="*/ 66240 h 457753"/>
                    <a:gd name="connsiteX5" fmla="*/ 166179 w 166466"/>
                    <a:gd name="connsiteY5" fmla="*/ 66070 h 457753"/>
                    <a:gd name="connsiteX6" fmla="*/ 166076 w 166466"/>
                    <a:gd name="connsiteY6" fmla="*/ 65911 h 457753"/>
                    <a:gd name="connsiteX7" fmla="*/ 165958 w 166466"/>
                    <a:gd name="connsiteY7" fmla="*/ 65767 h 457753"/>
                    <a:gd name="connsiteX8" fmla="*/ 165814 w 166466"/>
                    <a:gd name="connsiteY8" fmla="*/ 65624 h 457753"/>
                    <a:gd name="connsiteX9" fmla="*/ 165748 w 166466"/>
                    <a:gd name="connsiteY9" fmla="*/ 65557 h 457753"/>
                    <a:gd name="connsiteX10" fmla="*/ 86643 w 166466"/>
                    <a:gd name="connsiteY10" fmla="*/ 445 h 457753"/>
                    <a:gd name="connsiteX11" fmla="*/ 84199 w 166466"/>
                    <a:gd name="connsiteY11" fmla="*/ 414 h 457753"/>
                    <a:gd name="connsiteX12" fmla="*/ 745 w 166466"/>
                    <a:gd name="connsiteY12" fmla="*/ 65526 h 457753"/>
                    <a:gd name="connsiteX13" fmla="*/ 662 w 166466"/>
                    <a:gd name="connsiteY13" fmla="*/ 65608 h 457753"/>
                    <a:gd name="connsiteX14" fmla="*/ 519 w 166466"/>
                    <a:gd name="connsiteY14" fmla="*/ 65747 h 457753"/>
                    <a:gd name="connsiteX15" fmla="*/ 395 w 166466"/>
                    <a:gd name="connsiteY15" fmla="*/ 65896 h 457753"/>
                    <a:gd name="connsiteX16" fmla="*/ 293 w 166466"/>
                    <a:gd name="connsiteY16" fmla="*/ 66045 h 457753"/>
                    <a:gd name="connsiteX17" fmla="*/ 200 w 166466"/>
                    <a:gd name="connsiteY17" fmla="*/ 66219 h 457753"/>
                    <a:gd name="connsiteX18" fmla="*/ 128 w 166466"/>
                    <a:gd name="connsiteY18" fmla="*/ 66389 h 457753"/>
                    <a:gd name="connsiteX19" fmla="*/ 72 w 166466"/>
                    <a:gd name="connsiteY19" fmla="*/ 66579 h 457753"/>
                    <a:gd name="connsiteX20" fmla="*/ 31 w 166466"/>
                    <a:gd name="connsiteY20" fmla="*/ 66753 h 457753"/>
                    <a:gd name="connsiteX21" fmla="*/ 10 w 166466"/>
                    <a:gd name="connsiteY21" fmla="*/ 66964 h 457753"/>
                    <a:gd name="connsiteX22" fmla="*/ 0 w 166466"/>
                    <a:gd name="connsiteY22" fmla="*/ 67072 h 457753"/>
                    <a:gd name="connsiteX23" fmla="*/ 0 w 166466"/>
                    <a:gd name="connsiteY23" fmla="*/ 455797 h 457753"/>
                    <a:gd name="connsiteX24" fmla="*/ 1956 w 166466"/>
                    <a:gd name="connsiteY24" fmla="*/ 457753 h 457753"/>
                    <a:gd name="connsiteX25" fmla="*/ 164510 w 166466"/>
                    <a:gd name="connsiteY25" fmla="*/ 457753 h 457753"/>
                    <a:gd name="connsiteX26" fmla="*/ 166466 w 166466"/>
                    <a:gd name="connsiteY26" fmla="*/ 455797 h 457753"/>
                    <a:gd name="connsiteX27" fmla="*/ 166466 w 166466"/>
                    <a:gd name="connsiteY27" fmla="*/ 67077 h 457753"/>
                    <a:gd name="connsiteX28" fmla="*/ 166456 w 166466"/>
                    <a:gd name="connsiteY28" fmla="*/ 66984 h 457753"/>
                    <a:gd name="connsiteX29" fmla="*/ 3908 w 166466"/>
                    <a:gd name="connsiteY29" fmla="*/ 453846 h 457753"/>
                    <a:gd name="connsiteX30" fmla="*/ 3908 w 166466"/>
                    <a:gd name="connsiteY30" fmla="*/ 68032 h 457753"/>
                    <a:gd name="connsiteX31" fmla="*/ 85369 w 166466"/>
                    <a:gd name="connsiteY31" fmla="*/ 4471 h 457753"/>
                    <a:gd name="connsiteX32" fmla="*/ 162548 w 166466"/>
                    <a:gd name="connsiteY32" fmla="*/ 68001 h 457753"/>
                    <a:gd name="connsiteX33" fmla="*/ 162548 w 166466"/>
                    <a:gd name="connsiteY33" fmla="*/ 453846 h 457753"/>
                    <a:gd name="connsiteX34" fmla="*/ 3903 w 166466"/>
                    <a:gd name="connsiteY34" fmla="*/ 453846 h 457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6466" h="457753">
                      <a:moveTo>
                        <a:pt x="166456" y="66984"/>
                      </a:moveTo>
                      <a:cubicBezTo>
                        <a:pt x="166456" y="66918"/>
                        <a:pt x="166446" y="66851"/>
                        <a:pt x="166436" y="66779"/>
                      </a:cubicBezTo>
                      <a:cubicBezTo>
                        <a:pt x="166425" y="66717"/>
                        <a:pt x="166415" y="66656"/>
                        <a:pt x="166400" y="66599"/>
                      </a:cubicBezTo>
                      <a:cubicBezTo>
                        <a:pt x="166384" y="66538"/>
                        <a:pt x="166364" y="66476"/>
                        <a:pt x="166343" y="66414"/>
                      </a:cubicBezTo>
                      <a:cubicBezTo>
                        <a:pt x="166323" y="66353"/>
                        <a:pt x="166297" y="66296"/>
                        <a:pt x="166271" y="66240"/>
                      </a:cubicBezTo>
                      <a:cubicBezTo>
                        <a:pt x="166246" y="66183"/>
                        <a:pt x="166215" y="66127"/>
                        <a:pt x="166179" y="66070"/>
                      </a:cubicBezTo>
                      <a:cubicBezTo>
                        <a:pt x="166148" y="66014"/>
                        <a:pt x="166112" y="65963"/>
                        <a:pt x="166076" y="65911"/>
                      </a:cubicBezTo>
                      <a:cubicBezTo>
                        <a:pt x="166040" y="65860"/>
                        <a:pt x="165999" y="65814"/>
                        <a:pt x="165958" y="65767"/>
                      </a:cubicBezTo>
                      <a:cubicBezTo>
                        <a:pt x="165912" y="65716"/>
                        <a:pt x="165866" y="65670"/>
                        <a:pt x="165814" y="65624"/>
                      </a:cubicBezTo>
                      <a:cubicBezTo>
                        <a:pt x="165794" y="65603"/>
                        <a:pt x="165773" y="65577"/>
                        <a:pt x="165748" y="65557"/>
                      </a:cubicBezTo>
                      <a:lnTo>
                        <a:pt x="86643" y="445"/>
                      </a:lnTo>
                      <a:cubicBezTo>
                        <a:pt x="85934" y="-135"/>
                        <a:pt x="84918" y="-151"/>
                        <a:pt x="84199" y="414"/>
                      </a:cubicBezTo>
                      <a:lnTo>
                        <a:pt x="745" y="65526"/>
                      </a:lnTo>
                      <a:cubicBezTo>
                        <a:pt x="714" y="65552"/>
                        <a:pt x="688" y="65583"/>
                        <a:pt x="662" y="65608"/>
                      </a:cubicBezTo>
                      <a:cubicBezTo>
                        <a:pt x="611" y="65654"/>
                        <a:pt x="565" y="65696"/>
                        <a:pt x="519" y="65747"/>
                      </a:cubicBezTo>
                      <a:cubicBezTo>
                        <a:pt x="472" y="65793"/>
                        <a:pt x="436" y="65844"/>
                        <a:pt x="395" y="65896"/>
                      </a:cubicBezTo>
                      <a:cubicBezTo>
                        <a:pt x="359" y="65942"/>
                        <a:pt x="324" y="65993"/>
                        <a:pt x="293" y="66045"/>
                      </a:cubicBezTo>
                      <a:cubicBezTo>
                        <a:pt x="257" y="66101"/>
                        <a:pt x="226" y="66158"/>
                        <a:pt x="200" y="66219"/>
                      </a:cubicBezTo>
                      <a:cubicBezTo>
                        <a:pt x="175" y="66276"/>
                        <a:pt x="149" y="66327"/>
                        <a:pt x="128" y="66389"/>
                      </a:cubicBezTo>
                      <a:cubicBezTo>
                        <a:pt x="103" y="66450"/>
                        <a:pt x="87" y="66512"/>
                        <a:pt x="72" y="66579"/>
                      </a:cubicBezTo>
                      <a:cubicBezTo>
                        <a:pt x="56" y="66635"/>
                        <a:pt x="41" y="66697"/>
                        <a:pt x="31" y="66753"/>
                      </a:cubicBezTo>
                      <a:cubicBezTo>
                        <a:pt x="20" y="66825"/>
                        <a:pt x="15" y="66892"/>
                        <a:pt x="10" y="66964"/>
                      </a:cubicBezTo>
                      <a:cubicBezTo>
                        <a:pt x="10" y="67000"/>
                        <a:pt x="0" y="67036"/>
                        <a:pt x="0" y="67072"/>
                      </a:cubicBezTo>
                      <a:lnTo>
                        <a:pt x="0" y="455797"/>
                      </a:lnTo>
                      <a:cubicBezTo>
                        <a:pt x="0" y="456875"/>
                        <a:pt x="878" y="457753"/>
                        <a:pt x="1956" y="457753"/>
                      </a:cubicBezTo>
                      <a:lnTo>
                        <a:pt x="164510" y="457753"/>
                      </a:lnTo>
                      <a:cubicBezTo>
                        <a:pt x="165588" y="457753"/>
                        <a:pt x="166466" y="456875"/>
                        <a:pt x="166466" y="455797"/>
                      </a:cubicBezTo>
                      <a:lnTo>
                        <a:pt x="166466" y="67077"/>
                      </a:lnTo>
                      <a:cubicBezTo>
                        <a:pt x="166466" y="67046"/>
                        <a:pt x="166456" y="67015"/>
                        <a:pt x="166456" y="66984"/>
                      </a:cubicBezTo>
                      <a:close/>
                      <a:moveTo>
                        <a:pt x="3908" y="453846"/>
                      </a:moveTo>
                      <a:lnTo>
                        <a:pt x="3908" y="68032"/>
                      </a:lnTo>
                      <a:lnTo>
                        <a:pt x="85369" y="4471"/>
                      </a:lnTo>
                      <a:lnTo>
                        <a:pt x="162548" y="68001"/>
                      </a:lnTo>
                      <a:lnTo>
                        <a:pt x="162548" y="453846"/>
                      </a:lnTo>
                      <a:lnTo>
                        <a:pt x="3903" y="453846"/>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92" name="Freeform: Shape 591">
                  <a:extLst>
                    <a:ext uri="{FF2B5EF4-FFF2-40B4-BE49-F238E27FC236}">
                      <a16:creationId xmlns:a16="http://schemas.microsoft.com/office/drawing/2014/main" id="{C76695AA-64F2-4535-96AB-E58FC56E3B65}"/>
                    </a:ext>
                  </a:extLst>
                </p:cNvPr>
                <p:cNvSpPr/>
                <p:nvPr/>
              </p:nvSpPr>
              <p:spPr>
                <a:xfrm>
                  <a:off x="2191577" y="4479832"/>
                  <a:ext cx="30563" cy="30563"/>
                </a:xfrm>
                <a:custGeom>
                  <a:avLst/>
                  <a:gdLst>
                    <a:gd name="connsiteX0" fmla="*/ 30564 w 30563"/>
                    <a:gd name="connsiteY0" fmla="*/ 15282 h 30563"/>
                    <a:gd name="connsiteX1" fmla="*/ 15282 w 30563"/>
                    <a:gd name="connsiteY1" fmla="*/ 0 h 30563"/>
                    <a:gd name="connsiteX2" fmla="*/ 0 w 30563"/>
                    <a:gd name="connsiteY2" fmla="*/ 15282 h 30563"/>
                    <a:gd name="connsiteX3" fmla="*/ 15282 w 30563"/>
                    <a:gd name="connsiteY3" fmla="*/ 30564 h 30563"/>
                    <a:gd name="connsiteX4" fmla="*/ 30564 w 30563"/>
                    <a:gd name="connsiteY4" fmla="*/ 15282 h 30563"/>
                    <a:gd name="connsiteX5" fmla="*/ 15282 w 30563"/>
                    <a:gd name="connsiteY5" fmla="*/ 26651 h 30563"/>
                    <a:gd name="connsiteX6" fmla="*/ 3913 w 30563"/>
                    <a:gd name="connsiteY6" fmla="*/ 15282 h 30563"/>
                    <a:gd name="connsiteX7" fmla="*/ 15282 w 30563"/>
                    <a:gd name="connsiteY7" fmla="*/ 3913 h 30563"/>
                    <a:gd name="connsiteX8" fmla="*/ 26651 w 30563"/>
                    <a:gd name="connsiteY8" fmla="*/ 15282 h 30563"/>
                    <a:gd name="connsiteX9" fmla="*/ 15282 w 30563"/>
                    <a:gd name="connsiteY9" fmla="*/ 26651 h 30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63" h="30563">
                      <a:moveTo>
                        <a:pt x="30564" y="15282"/>
                      </a:moveTo>
                      <a:cubicBezTo>
                        <a:pt x="30564" y="6855"/>
                        <a:pt x="23708" y="0"/>
                        <a:pt x="15282" y="0"/>
                      </a:cubicBezTo>
                      <a:cubicBezTo>
                        <a:pt x="6855" y="0"/>
                        <a:pt x="0" y="6855"/>
                        <a:pt x="0" y="15282"/>
                      </a:cubicBezTo>
                      <a:cubicBezTo>
                        <a:pt x="0" y="23708"/>
                        <a:pt x="6855" y="30564"/>
                        <a:pt x="15282" y="30564"/>
                      </a:cubicBezTo>
                      <a:cubicBezTo>
                        <a:pt x="23708" y="30564"/>
                        <a:pt x="30564" y="23708"/>
                        <a:pt x="30564" y="15282"/>
                      </a:cubicBezTo>
                      <a:close/>
                      <a:moveTo>
                        <a:pt x="15282" y="26651"/>
                      </a:moveTo>
                      <a:cubicBezTo>
                        <a:pt x="9012" y="26651"/>
                        <a:pt x="3913" y="21552"/>
                        <a:pt x="3913" y="15282"/>
                      </a:cubicBezTo>
                      <a:cubicBezTo>
                        <a:pt x="3913" y="9012"/>
                        <a:pt x="9012" y="3913"/>
                        <a:pt x="15282" y="3913"/>
                      </a:cubicBezTo>
                      <a:cubicBezTo>
                        <a:pt x="21552" y="3913"/>
                        <a:pt x="26651" y="9012"/>
                        <a:pt x="26651" y="15282"/>
                      </a:cubicBezTo>
                      <a:cubicBezTo>
                        <a:pt x="26651" y="21552"/>
                        <a:pt x="21552" y="26651"/>
                        <a:pt x="15282" y="26651"/>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93" name="Freeform: Shape 592">
                  <a:extLst>
                    <a:ext uri="{FF2B5EF4-FFF2-40B4-BE49-F238E27FC236}">
                      <a16:creationId xmlns:a16="http://schemas.microsoft.com/office/drawing/2014/main" id="{07409708-B6B6-440D-94E7-12F2F8BA5BFC}"/>
                    </a:ext>
                  </a:extLst>
                </p:cNvPr>
                <p:cNvSpPr/>
                <p:nvPr/>
              </p:nvSpPr>
              <p:spPr>
                <a:xfrm>
                  <a:off x="2157516" y="4536384"/>
                  <a:ext cx="41958" cy="55735"/>
                </a:xfrm>
                <a:custGeom>
                  <a:avLst/>
                  <a:gdLst>
                    <a:gd name="connsiteX0" fmla="*/ 40002 w 41958"/>
                    <a:gd name="connsiteY0" fmla="*/ 0 h 55735"/>
                    <a:gd name="connsiteX1" fmla="*/ 1956 w 41958"/>
                    <a:gd name="connsiteY1" fmla="*/ 0 h 55735"/>
                    <a:gd name="connsiteX2" fmla="*/ 0 w 41958"/>
                    <a:gd name="connsiteY2" fmla="*/ 1956 h 55735"/>
                    <a:gd name="connsiteX3" fmla="*/ 0 w 41958"/>
                    <a:gd name="connsiteY3" fmla="*/ 53779 h 55735"/>
                    <a:gd name="connsiteX4" fmla="*/ 1956 w 41958"/>
                    <a:gd name="connsiteY4" fmla="*/ 55735 h 55735"/>
                    <a:gd name="connsiteX5" fmla="*/ 40002 w 41958"/>
                    <a:gd name="connsiteY5" fmla="*/ 55735 h 55735"/>
                    <a:gd name="connsiteX6" fmla="*/ 41958 w 41958"/>
                    <a:gd name="connsiteY6" fmla="*/ 53779 h 55735"/>
                    <a:gd name="connsiteX7" fmla="*/ 41958 w 41958"/>
                    <a:gd name="connsiteY7" fmla="*/ 1956 h 55735"/>
                    <a:gd name="connsiteX8" fmla="*/ 40002 w 41958"/>
                    <a:gd name="connsiteY8" fmla="*/ 0 h 55735"/>
                    <a:gd name="connsiteX9" fmla="*/ 38045 w 41958"/>
                    <a:gd name="connsiteY9" fmla="*/ 51822 h 55735"/>
                    <a:gd name="connsiteX10" fmla="*/ 3913 w 41958"/>
                    <a:gd name="connsiteY10" fmla="*/ 51822 h 55735"/>
                    <a:gd name="connsiteX11" fmla="*/ 3913 w 41958"/>
                    <a:gd name="connsiteY11" fmla="*/ 3913 h 55735"/>
                    <a:gd name="connsiteX12" fmla="*/ 38045 w 41958"/>
                    <a:gd name="connsiteY12" fmla="*/ 3913 h 55735"/>
                    <a:gd name="connsiteX13" fmla="*/ 38045 w 41958"/>
                    <a:gd name="connsiteY13" fmla="*/ 51822 h 5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58" h="55735">
                      <a:moveTo>
                        <a:pt x="40002" y="0"/>
                      </a:moveTo>
                      <a:lnTo>
                        <a:pt x="1956" y="0"/>
                      </a:lnTo>
                      <a:cubicBezTo>
                        <a:pt x="878" y="0"/>
                        <a:pt x="0" y="878"/>
                        <a:pt x="0" y="1956"/>
                      </a:cubicBezTo>
                      <a:lnTo>
                        <a:pt x="0" y="53779"/>
                      </a:lnTo>
                      <a:cubicBezTo>
                        <a:pt x="0" y="54857"/>
                        <a:pt x="878" y="55735"/>
                        <a:pt x="1956" y="55735"/>
                      </a:cubicBezTo>
                      <a:lnTo>
                        <a:pt x="40002" y="55735"/>
                      </a:lnTo>
                      <a:cubicBezTo>
                        <a:pt x="41080" y="55735"/>
                        <a:pt x="41958" y="54857"/>
                        <a:pt x="41958" y="53779"/>
                      </a:cubicBezTo>
                      <a:lnTo>
                        <a:pt x="41958" y="1956"/>
                      </a:lnTo>
                      <a:cubicBezTo>
                        <a:pt x="41958" y="878"/>
                        <a:pt x="41080" y="0"/>
                        <a:pt x="40002" y="0"/>
                      </a:cubicBezTo>
                      <a:close/>
                      <a:moveTo>
                        <a:pt x="38045" y="51822"/>
                      </a:moveTo>
                      <a:lnTo>
                        <a:pt x="3913" y="51822"/>
                      </a:lnTo>
                      <a:lnTo>
                        <a:pt x="3913" y="3913"/>
                      </a:lnTo>
                      <a:lnTo>
                        <a:pt x="38045" y="3913"/>
                      </a:lnTo>
                      <a:lnTo>
                        <a:pt x="38045" y="51822"/>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94" name="Freeform: Shape 593">
                  <a:extLst>
                    <a:ext uri="{FF2B5EF4-FFF2-40B4-BE49-F238E27FC236}">
                      <a16:creationId xmlns:a16="http://schemas.microsoft.com/office/drawing/2014/main" id="{70ABA0A6-CEBA-4AAE-9BF4-664B9A30564C}"/>
                    </a:ext>
                  </a:extLst>
                </p:cNvPr>
                <p:cNvSpPr/>
                <p:nvPr/>
              </p:nvSpPr>
              <p:spPr>
                <a:xfrm>
                  <a:off x="2212358" y="4536384"/>
                  <a:ext cx="41958" cy="55735"/>
                </a:xfrm>
                <a:custGeom>
                  <a:avLst/>
                  <a:gdLst>
                    <a:gd name="connsiteX0" fmla="*/ 40002 w 41958"/>
                    <a:gd name="connsiteY0" fmla="*/ 0 h 55735"/>
                    <a:gd name="connsiteX1" fmla="*/ 1956 w 41958"/>
                    <a:gd name="connsiteY1" fmla="*/ 0 h 55735"/>
                    <a:gd name="connsiteX2" fmla="*/ 0 w 41958"/>
                    <a:gd name="connsiteY2" fmla="*/ 1956 h 55735"/>
                    <a:gd name="connsiteX3" fmla="*/ 0 w 41958"/>
                    <a:gd name="connsiteY3" fmla="*/ 53779 h 55735"/>
                    <a:gd name="connsiteX4" fmla="*/ 1956 w 41958"/>
                    <a:gd name="connsiteY4" fmla="*/ 55735 h 55735"/>
                    <a:gd name="connsiteX5" fmla="*/ 40002 w 41958"/>
                    <a:gd name="connsiteY5" fmla="*/ 55735 h 55735"/>
                    <a:gd name="connsiteX6" fmla="*/ 41958 w 41958"/>
                    <a:gd name="connsiteY6" fmla="*/ 53779 h 55735"/>
                    <a:gd name="connsiteX7" fmla="*/ 41958 w 41958"/>
                    <a:gd name="connsiteY7" fmla="*/ 1956 h 55735"/>
                    <a:gd name="connsiteX8" fmla="*/ 40002 w 41958"/>
                    <a:gd name="connsiteY8" fmla="*/ 0 h 55735"/>
                    <a:gd name="connsiteX9" fmla="*/ 38045 w 41958"/>
                    <a:gd name="connsiteY9" fmla="*/ 51822 h 55735"/>
                    <a:gd name="connsiteX10" fmla="*/ 3913 w 41958"/>
                    <a:gd name="connsiteY10" fmla="*/ 51822 h 55735"/>
                    <a:gd name="connsiteX11" fmla="*/ 3913 w 41958"/>
                    <a:gd name="connsiteY11" fmla="*/ 3913 h 55735"/>
                    <a:gd name="connsiteX12" fmla="*/ 38045 w 41958"/>
                    <a:gd name="connsiteY12" fmla="*/ 3913 h 55735"/>
                    <a:gd name="connsiteX13" fmla="*/ 38045 w 41958"/>
                    <a:gd name="connsiteY13" fmla="*/ 51822 h 5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58" h="55735">
                      <a:moveTo>
                        <a:pt x="40002" y="0"/>
                      </a:moveTo>
                      <a:lnTo>
                        <a:pt x="1956" y="0"/>
                      </a:lnTo>
                      <a:cubicBezTo>
                        <a:pt x="878" y="0"/>
                        <a:pt x="0" y="878"/>
                        <a:pt x="0" y="1956"/>
                      </a:cubicBezTo>
                      <a:lnTo>
                        <a:pt x="0" y="53779"/>
                      </a:lnTo>
                      <a:cubicBezTo>
                        <a:pt x="0" y="54857"/>
                        <a:pt x="878" y="55735"/>
                        <a:pt x="1956" y="55735"/>
                      </a:cubicBezTo>
                      <a:lnTo>
                        <a:pt x="40002" y="55735"/>
                      </a:lnTo>
                      <a:cubicBezTo>
                        <a:pt x="41080" y="55735"/>
                        <a:pt x="41958" y="54857"/>
                        <a:pt x="41958" y="53779"/>
                      </a:cubicBezTo>
                      <a:lnTo>
                        <a:pt x="41958" y="1956"/>
                      </a:lnTo>
                      <a:cubicBezTo>
                        <a:pt x="41958" y="878"/>
                        <a:pt x="41080" y="0"/>
                        <a:pt x="40002" y="0"/>
                      </a:cubicBezTo>
                      <a:close/>
                      <a:moveTo>
                        <a:pt x="38045" y="51822"/>
                      </a:moveTo>
                      <a:lnTo>
                        <a:pt x="3913" y="51822"/>
                      </a:lnTo>
                      <a:lnTo>
                        <a:pt x="3913" y="3913"/>
                      </a:lnTo>
                      <a:lnTo>
                        <a:pt x="38045" y="3913"/>
                      </a:lnTo>
                      <a:lnTo>
                        <a:pt x="38045" y="51822"/>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95" name="Freeform: Shape 594">
                  <a:extLst>
                    <a:ext uri="{FF2B5EF4-FFF2-40B4-BE49-F238E27FC236}">
                      <a16:creationId xmlns:a16="http://schemas.microsoft.com/office/drawing/2014/main" id="{777A532A-3C71-40FF-92C0-411B886CC9D7}"/>
                    </a:ext>
                  </a:extLst>
                </p:cNvPr>
                <p:cNvSpPr/>
                <p:nvPr/>
              </p:nvSpPr>
              <p:spPr>
                <a:xfrm>
                  <a:off x="2157516" y="4602020"/>
                  <a:ext cx="41958" cy="55735"/>
                </a:xfrm>
                <a:custGeom>
                  <a:avLst/>
                  <a:gdLst>
                    <a:gd name="connsiteX0" fmla="*/ 40002 w 41958"/>
                    <a:gd name="connsiteY0" fmla="*/ 0 h 55735"/>
                    <a:gd name="connsiteX1" fmla="*/ 1956 w 41958"/>
                    <a:gd name="connsiteY1" fmla="*/ 0 h 55735"/>
                    <a:gd name="connsiteX2" fmla="*/ 0 w 41958"/>
                    <a:gd name="connsiteY2" fmla="*/ 1956 h 55735"/>
                    <a:gd name="connsiteX3" fmla="*/ 0 w 41958"/>
                    <a:gd name="connsiteY3" fmla="*/ 53779 h 55735"/>
                    <a:gd name="connsiteX4" fmla="*/ 1956 w 41958"/>
                    <a:gd name="connsiteY4" fmla="*/ 55735 h 55735"/>
                    <a:gd name="connsiteX5" fmla="*/ 40002 w 41958"/>
                    <a:gd name="connsiteY5" fmla="*/ 55735 h 55735"/>
                    <a:gd name="connsiteX6" fmla="*/ 41958 w 41958"/>
                    <a:gd name="connsiteY6" fmla="*/ 53779 h 55735"/>
                    <a:gd name="connsiteX7" fmla="*/ 41958 w 41958"/>
                    <a:gd name="connsiteY7" fmla="*/ 1956 h 55735"/>
                    <a:gd name="connsiteX8" fmla="*/ 40002 w 41958"/>
                    <a:gd name="connsiteY8" fmla="*/ 0 h 55735"/>
                    <a:gd name="connsiteX9" fmla="*/ 38045 w 41958"/>
                    <a:gd name="connsiteY9" fmla="*/ 51822 h 55735"/>
                    <a:gd name="connsiteX10" fmla="*/ 3913 w 41958"/>
                    <a:gd name="connsiteY10" fmla="*/ 51822 h 55735"/>
                    <a:gd name="connsiteX11" fmla="*/ 3913 w 41958"/>
                    <a:gd name="connsiteY11" fmla="*/ 3913 h 55735"/>
                    <a:gd name="connsiteX12" fmla="*/ 38045 w 41958"/>
                    <a:gd name="connsiteY12" fmla="*/ 3913 h 55735"/>
                    <a:gd name="connsiteX13" fmla="*/ 38045 w 41958"/>
                    <a:gd name="connsiteY13" fmla="*/ 51822 h 5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58" h="55735">
                      <a:moveTo>
                        <a:pt x="40002" y="0"/>
                      </a:moveTo>
                      <a:lnTo>
                        <a:pt x="1956" y="0"/>
                      </a:lnTo>
                      <a:cubicBezTo>
                        <a:pt x="878" y="0"/>
                        <a:pt x="0" y="878"/>
                        <a:pt x="0" y="1956"/>
                      </a:cubicBezTo>
                      <a:lnTo>
                        <a:pt x="0" y="53779"/>
                      </a:lnTo>
                      <a:cubicBezTo>
                        <a:pt x="0" y="54857"/>
                        <a:pt x="878" y="55735"/>
                        <a:pt x="1956" y="55735"/>
                      </a:cubicBezTo>
                      <a:lnTo>
                        <a:pt x="40002" y="55735"/>
                      </a:lnTo>
                      <a:cubicBezTo>
                        <a:pt x="41080" y="55735"/>
                        <a:pt x="41958" y="54857"/>
                        <a:pt x="41958" y="53779"/>
                      </a:cubicBezTo>
                      <a:lnTo>
                        <a:pt x="41958" y="1956"/>
                      </a:lnTo>
                      <a:cubicBezTo>
                        <a:pt x="41958" y="878"/>
                        <a:pt x="41080" y="0"/>
                        <a:pt x="40002" y="0"/>
                      </a:cubicBezTo>
                      <a:close/>
                      <a:moveTo>
                        <a:pt x="38045" y="51822"/>
                      </a:moveTo>
                      <a:lnTo>
                        <a:pt x="3913" y="51822"/>
                      </a:lnTo>
                      <a:lnTo>
                        <a:pt x="3913" y="3913"/>
                      </a:lnTo>
                      <a:lnTo>
                        <a:pt x="38045" y="3913"/>
                      </a:lnTo>
                      <a:lnTo>
                        <a:pt x="38045" y="51822"/>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96" name="Freeform: Shape 595">
                  <a:extLst>
                    <a:ext uri="{FF2B5EF4-FFF2-40B4-BE49-F238E27FC236}">
                      <a16:creationId xmlns:a16="http://schemas.microsoft.com/office/drawing/2014/main" id="{ADEE1C71-AABE-422D-ACCC-946BA82C94AE}"/>
                    </a:ext>
                  </a:extLst>
                </p:cNvPr>
                <p:cNvSpPr/>
                <p:nvPr/>
              </p:nvSpPr>
              <p:spPr>
                <a:xfrm>
                  <a:off x="2212358" y="4602020"/>
                  <a:ext cx="41958" cy="55735"/>
                </a:xfrm>
                <a:custGeom>
                  <a:avLst/>
                  <a:gdLst>
                    <a:gd name="connsiteX0" fmla="*/ 40002 w 41958"/>
                    <a:gd name="connsiteY0" fmla="*/ 0 h 55735"/>
                    <a:gd name="connsiteX1" fmla="*/ 1956 w 41958"/>
                    <a:gd name="connsiteY1" fmla="*/ 0 h 55735"/>
                    <a:gd name="connsiteX2" fmla="*/ 0 w 41958"/>
                    <a:gd name="connsiteY2" fmla="*/ 1956 h 55735"/>
                    <a:gd name="connsiteX3" fmla="*/ 0 w 41958"/>
                    <a:gd name="connsiteY3" fmla="*/ 53779 h 55735"/>
                    <a:gd name="connsiteX4" fmla="*/ 1956 w 41958"/>
                    <a:gd name="connsiteY4" fmla="*/ 55735 h 55735"/>
                    <a:gd name="connsiteX5" fmla="*/ 40002 w 41958"/>
                    <a:gd name="connsiteY5" fmla="*/ 55735 h 55735"/>
                    <a:gd name="connsiteX6" fmla="*/ 41958 w 41958"/>
                    <a:gd name="connsiteY6" fmla="*/ 53779 h 55735"/>
                    <a:gd name="connsiteX7" fmla="*/ 41958 w 41958"/>
                    <a:gd name="connsiteY7" fmla="*/ 1956 h 55735"/>
                    <a:gd name="connsiteX8" fmla="*/ 40002 w 41958"/>
                    <a:gd name="connsiteY8" fmla="*/ 0 h 55735"/>
                    <a:gd name="connsiteX9" fmla="*/ 38045 w 41958"/>
                    <a:gd name="connsiteY9" fmla="*/ 51822 h 55735"/>
                    <a:gd name="connsiteX10" fmla="*/ 3913 w 41958"/>
                    <a:gd name="connsiteY10" fmla="*/ 51822 h 55735"/>
                    <a:gd name="connsiteX11" fmla="*/ 3913 w 41958"/>
                    <a:gd name="connsiteY11" fmla="*/ 3913 h 55735"/>
                    <a:gd name="connsiteX12" fmla="*/ 38045 w 41958"/>
                    <a:gd name="connsiteY12" fmla="*/ 3913 h 55735"/>
                    <a:gd name="connsiteX13" fmla="*/ 38045 w 41958"/>
                    <a:gd name="connsiteY13" fmla="*/ 51822 h 5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58" h="55735">
                      <a:moveTo>
                        <a:pt x="40002" y="0"/>
                      </a:moveTo>
                      <a:lnTo>
                        <a:pt x="1956" y="0"/>
                      </a:lnTo>
                      <a:cubicBezTo>
                        <a:pt x="878" y="0"/>
                        <a:pt x="0" y="878"/>
                        <a:pt x="0" y="1956"/>
                      </a:cubicBezTo>
                      <a:lnTo>
                        <a:pt x="0" y="53779"/>
                      </a:lnTo>
                      <a:cubicBezTo>
                        <a:pt x="0" y="54857"/>
                        <a:pt x="878" y="55735"/>
                        <a:pt x="1956" y="55735"/>
                      </a:cubicBezTo>
                      <a:lnTo>
                        <a:pt x="40002" y="55735"/>
                      </a:lnTo>
                      <a:cubicBezTo>
                        <a:pt x="41080" y="55735"/>
                        <a:pt x="41958" y="54857"/>
                        <a:pt x="41958" y="53779"/>
                      </a:cubicBezTo>
                      <a:lnTo>
                        <a:pt x="41958" y="1956"/>
                      </a:lnTo>
                      <a:cubicBezTo>
                        <a:pt x="41958" y="878"/>
                        <a:pt x="41080" y="0"/>
                        <a:pt x="40002" y="0"/>
                      </a:cubicBezTo>
                      <a:close/>
                      <a:moveTo>
                        <a:pt x="38045" y="51822"/>
                      </a:moveTo>
                      <a:lnTo>
                        <a:pt x="3913" y="51822"/>
                      </a:lnTo>
                      <a:lnTo>
                        <a:pt x="3913" y="3913"/>
                      </a:lnTo>
                      <a:lnTo>
                        <a:pt x="38045" y="3913"/>
                      </a:lnTo>
                      <a:lnTo>
                        <a:pt x="38045" y="51822"/>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97" name="Freeform: Shape 596">
                  <a:extLst>
                    <a:ext uri="{FF2B5EF4-FFF2-40B4-BE49-F238E27FC236}">
                      <a16:creationId xmlns:a16="http://schemas.microsoft.com/office/drawing/2014/main" id="{848057AC-108B-4837-8809-3E1A82442A29}"/>
                    </a:ext>
                  </a:extLst>
                </p:cNvPr>
                <p:cNvSpPr/>
                <p:nvPr/>
              </p:nvSpPr>
              <p:spPr>
                <a:xfrm>
                  <a:off x="2157516" y="4669653"/>
                  <a:ext cx="41958" cy="55735"/>
                </a:xfrm>
                <a:custGeom>
                  <a:avLst/>
                  <a:gdLst>
                    <a:gd name="connsiteX0" fmla="*/ 40002 w 41958"/>
                    <a:gd name="connsiteY0" fmla="*/ 0 h 55735"/>
                    <a:gd name="connsiteX1" fmla="*/ 1956 w 41958"/>
                    <a:gd name="connsiteY1" fmla="*/ 0 h 55735"/>
                    <a:gd name="connsiteX2" fmla="*/ 0 w 41958"/>
                    <a:gd name="connsiteY2" fmla="*/ 1956 h 55735"/>
                    <a:gd name="connsiteX3" fmla="*/ 0 w 41958"/>
                    <a:gd name="connsiteY3" fmla="*/ 53779 h 55735"/>
                    <a:gd name="connsiteX4" fmla="*/ 1956 w 41958"/>
                    <a:gd name="connsiteY4" fmla="*/ 55735 h 55735"/>
                    <a:gd name="connsiteX5" fmla="*/ 40002 w 41958"/>
                    <a:gd name="connsiteY5" fmla="*/ 55735 h 55735"/>
                    <a:gd name="connsiteX6" fmla="*/ 41958 w 41958"/>
                    <a:gd name="connsiteY6" fmla="*/ 53779 h 55735"/>
                    <a:gd name="connsiteX7" fmla="*/ 41958 w 41958"/>
                    <a:gd name="connsiteY7" fmla="*/ 1956 h 55735"/>
                    <a:gd name="connsiteX8" fmla="*/ 40002 w 41958"/>
                    <a:gd name="connsiteY8" fmla="*/ 0 h 55735"/>
                    <a:gd name="connsiteX9" fmla="*/ 38045 w 41958"/>
                    <a:gd name="connsiteY9" fmla="*/ 51822 h 55735"/>
                    <a:gd name="connsiteX10" fmla="*/ 3913 w 41958"/>
                    <a:gd name="connsiteY10" fmla="*/ 51822 h 55735"/>
                    <a:gd name="connsiteX11" fmla="*/ 3913 w 41958"/>
                    <a:gd name="connsiteY11" fmla="*/ 3913 h 55735"/>
                    <a:gd name="connsiteX12" fmla="*/ 38045 w 41958"/>
                    <a:gd name="connsiteY12" fmla="*/ 3913 h 55735"/>
                    <a:gd name="connsiteX13" fmla="*/ 38045 w 41958"/>
                    <a:gd name="connsiteY13" fmla="*/ 51822 h 5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58" h="55735">
                      <a:moveTo>
                        <a:pt x="40002" y="0"/>
                      </a:moveTo>
                      <a:lnTo>
                        <a:pt x="1956" y="0"/>
                      </a:lnTo>
                      <a:cubicBezTo>
                        <a:pt x="878" y="0"/>
                        <a:pt x="0" y="878"/>
                        <a:pt x="0" y="1956"/>
                      </a:cubicBezTo>
                      <a:lnTo>
                        <a:pt x="0" y="53779"/>
                      </a:lnTo>
                      <a:cubicBezTo>
                        <a:pt x="0" y="54857"/>
                        <a:pt x="878" y="55735"/>
                        <a:pt x="1956" y="55735"/>
                      </a:cubicBezTo>
                      <a:lnTo>
                        <a:pt x="40002" y="55735"/>
                      </a:lnTo>
                      <a:cubicBezTo>
                        <a:pt x="41080" y="55735"/>
                        <a:pt x="41958" y="54857"/>
                        <a:pt x="41958" y="53779"/>
                      </a:cubicBezTo>
                      <a:lnTo>
                        <a:pt x="41958" y="1956"/>
                      </a:lnTo>
                      <a:cubicBezTo>
                        <a:pt x="41958" y="878"/>
                        <a:pt x="41080" y="0"/>
                        <a:pt x="40002" y="0"/>
                      </a:cubicBezTo>
                      <a:close/>
                      <a:moveTo>
                        <a:pt x="38045" y="51822"/>
                      </a:moveTo>
                      <a:lnTo>
                        <a:pt x="3913" y="51822"/>
                      </a:lnTo>
                      <a:lnTo>
                        <a:pt x="3913" y="3913"/>
                      </a:lnTo>
                      <a:lnTo>
                        <a:pt x="38045" y="3913"/>
                      </a:lnTo>
                      <a:lnTo>
                        <a:pt x="38045" y="51822"/>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98" name="Freeform: Shape 597">
                  <a:extLst>
                    <a:ext uri="{FF2B5EF4-FFF2-40B4-BE49-F238E27FC236}">
                      <a16:creationId xmlns:a16="http://schemas.microsoft.com/office/drawing/2014/main" id="{B28E212C-3930-49FC-AEA9-67720BF8412C}"/>
                    </a:ext>
                  </a:extLst>
                </p:cNvPr>
                <p:cNvSpPr/>
                <p:nvPr/>
              </p:nvSpPr>
              <p:spPr>
                <a:xfrm>
                  <a:off x="2212358" y="4669653"/>
                  <a:ext cx="41958" cy="55735"/>
                </a:xfrm>
                <a:custGeom>
                  <a:avLst/>
                  <a:gdLst>
                    <a:gd name="connsiteX0" fmla="*/ 40002 w 41958"/>
                    <a:gd name="connsiteY0" fmla="*/ 0 h 55735"/>
                    <a:gd name="connsiteX1" fmla="*/ 1956 w 41958"/>
                    <a:gd name="connsiteY1" fmla="*/ 0 h 55735"/>
                    <a:gd name="connsiteX2" fmla="*/ 0 w 41958"/>
                    <a:gd name="connsiteY2" fmla="*/ 1956 h 55735"/>
                    <a:gd name="connsiteX3" fmla="*/ 0 w 41958"/>
                    <a:gd name="connsiteY3" fmla="*/ 53779 h 55735"/>
                    <a:gd name="connsiteX4" fmla="*/ 1956 w 41958"/>
                    <a:gd name="connsiteY4" fmla="*/ 55735 h 55735"/>
                    <a:gd name="connsiteX5" fmla="*/ 40002 w 41958"/>
                    <a:gd name="connsiteY5" fmla="*/ 55735 h 55735"/>
                    <a:gd name="connsiteX6" fmla="*/ 41958 w 41958"/>
                    <a:gd name="connsiteY6" fmla="*/ 53779 h 55735"/>
                    <a:gd name="connsiteX7" fmla="*/ 41958 w 41958"/>
                    <a:gd name="connsiteY7" fmla="*/ 1956 h 55735"/>
                    <a:gd name="connsiteX8" fmla="*/ 40002 w 41958"/>
                    <a:gd name="connsiteY8" fmla="*/ 0 h 55735"/>
                    <a:gd name="connsiteX9" fmla="*/ 38045 w 41958"/>
                    <a:gd name="connsiteY9" fmla="*/ 51822 h 55735"/>
                    <a:gd name="connsiteX10" fmla="*/ 3913 w 41958"/>
                    <a:gd name="connsiteY10" fmla="*/ 51822 h 55735"/>
                    <a:gd name="connsiteX11" fmla="*/ 3913 w 41958"/>
                    <a:gd name="connsiteY11" fmla="*/ 3913 h 55735"/>
                    <a:gd name="connsiteX12" fmla="*/ 38045 w 41958"/>
                    <a:gd name="connsiteY12" fmla="*/ 3913 h 55735"/>
                    <a:gd name="connsiteX13" fmla="*/ 38045 w 41958"/>
                    <a:gd name="connsiteY13" fmla="*/ 51822 h 5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58" h="55735">
                      <a:moveTo>
                        <a:pt x="40002" y="0"/>
                      </a:moveTo>
                      <a:lnTo>
                        <a:pt x="1956" y="0"/>
                      </a:lnTo>
                      <a:cubicBezTo>
                        <a:pt x="878" y="0"/>
                        <a:pt x="0" y="878"/>
                        <a:pt x="0" y="1956"/>
                      </a:cubicBezTo>
                      <a:lnTo>
                        <a:pt x="0" y="53779"/>
                      </a:lnTo>
                      <a:cubicBezTo>
                        <a:pt x="0" y="54857"/>
                        <a:pt x="878" y="55735"/>
                        <a:pt x="1956" y="55735"/>
                      </a:cubicBezTo>
                      <a:lnTo>
                        <a:pt x="40002" y="55735"/>
                      </a:lnTo>
                      <a:cubicBezTo>
                        <a:pt x="41080" y="55735"/>
                        <a:pt x="41958" y="54857"/>
                        <a:pt x="41958" y="53779"/>
                      </a:cubicBezTo>
                      <a:lnTo>
                        <a:pt x="41958" y="1956"/>
                      </a:lnTo>
                      <a:cubicBezTo>
                        <a:pt x="41958" y="878"/>
                        <a:pt x="41080" y="0"/>
                        <a:pt x="40002" y="0"/>
                      </a:cubicBezTo>
                      <a:close/>
                      <a:moveTo>
                        <a:pt x="38045" y="51822"/>
                      </a:moveTo>
                      <a:lnTo>
                        <a:pt x="3913" y="51822"/>
                      </a:lnTo>
                      <a:lnTo>
                        <a:pt x="3913" y="3913"/>
                      </a:lnTo>
                      <a:lnTo>
                        <a:pt x="38045" y="3913"/>
                      </a:lnTo>
                      <a:lnTo>
                        <a:pt x="38045" y="51822"/>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99" name="Freeform: Shape 598">
                  <a:extLst>
                    <a:ext uri="{FF2B5EF4-FFF2-40B4-BE49-F238E27FC236}">
                      <a16:creationId xmlns:a16="http://schemas.microsoft.com/office/drawing/2014/main" id="{CBFBF2A1-DD58-43D6-95BC-F3DA461644E4}"/>
                    </a:ext>
                  </a:extLst>
                </p:cNvPr>
                <p:cNvSpPr/>
                <p:nvPr/>
              </p:nvSpPr>
              <p:spPr>
                <a:xfrm>
                  <a:off x="2212358" y="4737291"/>
                  <a:ext cx="41958" cy="55735"/>
                </a:xfrm>
                <a:custGeom>
                  <a:avLst/>
                  <a:gdLst>
                    <a:gd name="connsiteX0" fmla="*/ 40002 w 41958"/>
                    <a:gd name="connsiteY0" fmla="*/ 0 h 55735"/>
                    <a:gd name="connsiteX1" fmla="*/ 1956 w 41958"/>
                    <a:gd name="connsiteY1" fmla="*/ 0 h 55735"/>
                    <a:gd name="connsiteX2" fmla="*/ 0 w 41958"/>
                    <a:gd name="connsiteY2" fmla="*/ 1956 h 55735"/>
                    <a:gd name="connsiteX3" fmla="*/ 0 w 41958"/>
                    <a:gd name="connsiteY3" fmla="*/ 53779 h 55735"/>
                    <a:gd name="connsiteX4" fmla="*/ 1956 w 41958"/>
                    <a:gd name="connsiteY4" fmla="*/ 55735 h 55735"/>
                    <a:gd name="connsiteX5" fmla="*/ 40002 w 41958"/>
                    <a:gd name="connsiteY5" fmla="*/ 55735 h 55735"/>
                    <a:gd name="connsiteX6" fmla="*/ 41958 w 41958"/>
                    <a:gd name="connsiteY6" fmla="*/ 53779 h 55735"/>
                    <a:gd name="connsiteX7" fmla="*/ 41958 w 41958"/>
                    <a:gd name="connsiteY7" fmla="*/ 1956 h 55735"/>
                    <a:gd name="connsiteX8" fmla="*/ 40002 w 41958"/>
                    <a:gd name="connsiteY8" fmla="*/ 0 h 55735"/>
                    <a:gd name="connsiteX9" fmla="*/ 38045 w 41958"/>
                    <a:gd name="connsiteY9" fmla="*/ 51823 h 55735"/>
                    <a:gd name="connsiteX10" fmla="*/ 3913 w 41958"/>
                    <a:gd name="connsiteY10" fmla="*/ 51823 h 55735"/>
                    <a:gd name="connsiteX11" fmla="*/ 3913 w 41958"/>
                    <a:gd name="connsiteY11" fmla="*/ 3913 h 55735"/>
                    <a:gd name="connsiteX12" fmla="*/ 38045 w 41958"/>
                    <a:gd name="connsiteY12" fmla="*/ 3913 h 55735"/>
                    <a:gd name="connsiteX13" fmla="*/ 38045 w 41958"/>
                    <a:gd name="connsiteY13" fmla="*/ 51823 h 5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58" h="55735">
                      <a:moveTo>
                        <a:pt x="40002" y="0"/>
                      </a:moveTo>
                      <a:lnTo>
                        <a:pt x="1956" y="0"/>
                      </a:lnTo>
                      <a:cubicBezTo>
                        <a:pt x="878" y="0"/>
                        <a:pt x="0" y="878"/>
                        <a:pt x="0" y="1956"/>
                      </a:cubicBezTo>
                      <a:lnTo>
                        <a:pt x="0" y="53779"/>
                      </a:lnTo>
                      <a:cubicBezTo>
                        <a:pt x="0" y="54857"/>
                        <a:pt x="878" y="55735"/>
                        <a:pt x="1956" y="55735"/>
                      </a:cubicBezTo>
                      <a:lnTo>
                        <a:pt x="40002" y="55735"/>
                      </a:lnTo>
                      <a:cubicBezTo>
                        <a:pt x="41080" y="55735"/>
                        <a:pt x="41958" y="54857"/>
                        <a:pt x="41958" y="53779"/>
                      </a:cubicBezTo>
                      <a:lnTo>
                        <a:pt x="41958" y="1956"/>
                      </a:lnTo>
                      <a:cubicBezTo>
                        <a:pt x="41958" y="878"/>
                        <a:pt x="41080" y="0"/>
                        <a:pt x="40002" y="0"/>
                      </a:cubicBezTo>
                      <a:close/>
                      <a:moveTo>
                        <a:pt x="38045" y="51823"/>
                      </a:moveTo>
                      <a:lnTo>
                        <a:pt x="3913" y="51823"/>
                      </a:lnTo>
                      <a:lnTo>
                        <a:pt x="3913" y="3913"/>
                      </a:lnTo>
                      <a:lnTo>
                        <a:pt x="38045" y="3913"/>
                      </a:lnTo>
                      <a:lnTo>
                        <a:pt x="38045" y="51823"/>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600" name="Freeform: Shape 599">
                  <a:extLst>
                    <a:ext uri="{FF2B5EF4-FFF2-40B4-BE49-F238E27FC236}">
                      <a16:creationId xmlns:a16="http://schemas.microsoft.com/office/drawing/2014/main" id="{AA906824-14D4-4B97-B6E7-17110E614003}"/>
                    </a:ext>
                  </a:extLst>
                </p:cNvPr>
                <p:cNvSpPr/>
                <p:nvPr/>
              </p:nvSpPr>
              <p:spPr>
                <a:xfrm>
                  <a:off x="2212358" y="4804924"/>
                  <a:ext cx="41958" cy="55735"/>
                </a:xfrm>
                <a:custGeom>
                  <a:avLst/>
                  <a:gdLst>
                    <a:gd name="connsiteX0" fmla="*/ 40002 w 41958"/>
                    <a:gd name="connsiteY0" fmla="*/ 0 h 55735"/>
                    <a:gd name="connsiteX1" fmla="*/ 1956 w 41958"/>
                    <a:gd name="connsiteY1" fmla="*/ 0 h 55735"/>
                    <a:gd name="connsiteX2" fmla="*/ 0 w 41958"/>
                    <a:gd name="connsiteY2" fmla="*/ 1956 h 55735"/>
                    <a:gd name="connsiteX3" fmla="*/ 0 w 41958"/>
                    <a:gd name="connsiteY3" fmla="*/ 53779 h 55735"/>
                    <a:gd name="connsiteX4" fmla="*/ 1956 w 41958"/>
                    <a:gd name="connsiteY4" fmla="*/ 55735 h 55735"/>
                    <a:gd name="connsiteX5" fmla="*/ 40002 w 41958"/>
                    <a:gd name="connsiteY5" fmla="*/ 55735 h 55735"/>
                    <a:gd name="connsiteX6" fmla="*/ 41958 w 41958"/>
                    <a:gd name="connsiteY6" fmla="*/ 53779 h 55735"/>
                    <a:gd name="connsiteX7" fmla="*/ 41958 w 41958"/>
                    <a:gd name="connsiteY7" fmla="*/ 1956 h 55735"/>
                    <a:gd name="connsiteX8" fmla="*/ 40002 w 41958"/>
                    <a:gd name="connsiteY8" fmla="*/ 0 h 55735"/>
                    <a:gd name="connsiteX9" fmla="*/ 38045 w 41958"/>
                    <a:gd name="connsiteY9" fmla="*/ 51823 h 55735"/>
                    <a:gd name="connsiteX10" fmla="*/ 3913 w 41958"/>
                    <a:gd name="connsiteY10" fmla="*/ 51823 h 55735"/>
                    <a:gd name="connsiteX11" fmla="*/ 3913 w 41958"/>
                    <a:gd name="connsiteY11" fmla="*/ 3913 h 55735"/>
                    <a:gd name="connsiteX12" fmla="*/ 38045 w 41958"/>
                    <a:gd name="connsiteY12" fmla="*/ 3913 h 55735"/>
                    <a:gd name="connsiteX13" fmla="*/ 38045 w 41958"/>
                    <a:gd name="connsiteY13" fmla="*/ 51823 h 5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958" h="55735">
                      <a:moveTo>
                        <a:pt x="40002" y="0"/>
                      </a:moveTo>
                      <a:lnTo>
                        <a:pt x="1956" y="0"/>
                      </a:lnTo>
                      <a:cubicBezTo>
                        <a:pt x="878" y="0"/>
                        <a:pt x="0" y="878"/>
                        <a:pt x="0" y="1956"/>
                      </a:cubicBezTo>
                      <a:lnTo>
                        <a:pt x="0" y="53779"/>
                      </a:lnTo>
                      <a:cubicBezTo>
                        <a:pt x="0" y="54857"/>
                        <a:pt x="878" y="55735"/>
                        <a:pt x="1956" y="55735"/>
                      </a:cubicBezTo>
                      <a:lnTo>
                        <a:pt x="40002" y="55735"/>
                      </a:lnTo>
                      <a:cubicBezTo>
                        <a:pt x="41080" y="55735"/>
                        <a:pt x="41958" y="54857"/>
                        <a:pt x="41958" y="53779"/>
                      </a:cubicBezTo>
                      <a:lnTo>
                        <a:pt x="41958" y="1956"/>
                      </a:lnTo>
                      <a:cubicBezTo>
                        <a:pt x="41958" y="878"/>
                        <a:pt x="41080" y="0"/>
                        <a:pt x="40002" y="0"/>
                      </a:cubicBezTo>
                      <a:close/>
                      <a:moveTo>
                        <a:pt x="38045" y="51823"/>
                      </a:moveTo>
                      <a:lnTo>
                        <a:pt x="3913" y="51823"/>
                      </a:lnTo>
                      <a:lnTo>
                        <a:pt x="3913" y="3913"/>
                      </a:lnTo>
                      <a:lnTo>
                        <a:pt x="38045" y="3913"/>
                      </a:lnTo>
                      <a:lnTo>
                        <a:pt x="38045" y="51823"/>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sp>
            <p:nvSpPr>
              <p:cNvPr id="504" name="Freeform: Shape 503">
                <a:extLst>
                  <a:ext uri="{FF2B5EF4-FFF2-40B4-BE49-F238E27FC236}">
                    <a16:creationId xmlns:a16="http://schemas.microsoft.com/office/drawing/2014/main" id="{AF0A181F-779A-43BC-ABE4-B05D4E54787A}"/>
                  </a:ext>
                </a:extLst>
              </p:cNvPr>
              <p:cNvSpPr/>
              <p:nvPr/>
            </p:nvSpPr>
            <p:spPr>
              <a:xfrm>
                <a:off x="2115852" y="4621590"/>
                <a:ext cx="11564" cy="6244"/>
              </a:xfrm>
              <a:custGeom>
                <a:avLst/>
                <a:gdLst>
                  <a:gd name="connsiteX0" fmla="*/ 11564 w 11564"/>
                  <a:gd name="connsiteY0" fmla="*/ 0 h 6244"/>
                  <a:gd name="connsiteX1" fmla="*/ 8093 w 11564"/>
                  <a:gd name="connsiteY1" fmla="*/ 6244 h 6244"/>
                  <a:gd name="connsiteX2" fmla="*/ 0 w 11564"/>
                  <a:gd name="connsiteY2" fmla="*/ 6244 h 6244"/>
                  <a:gd name="connsiteX3" fmla="*/ 3482 w 11564"/>
                  <a:gd name="connsiteY3" fmla="*/ 0 h 6244"/>
                  <a:gd name="connsiteX4" fmla="*/ 11564 w 11564"/>
                  <a:gd name="connsiteY4" fmla="*/ 0 h 6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64" h="6244">
                    <a:moveTo>
                      <a:pt x="11564" y="0"/>
                    </a:moveTo>
                    <a:lnTo>
                      <a:pt x="8093" y="6244"/>
                    </a:lnTo>
                    <a:lnTo>
                      <a:pt x="0" y="6244"/>
                    </a:lnTo>
                    <a:lnTo>
                      <a:pt x="3482" y="0"/>
                    </a:lnTo>
                    <a:lnTo>
                      <a:pt x="11564" y="0"/>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05" name="Freeform: Shape 504">
                <a:extLst>
                  <a:ext uri="{FF2B5EF4-FFF2-40B4-BE49-F238E27FC236}">
                    <a16:creationId xmlns:a16="http://schemas.microsoft.com/office/drawing/2014/main" id="{18B18B81-B9F8-490D-9BCE-F8E4698E301C}"/>
                  </a:ext>
                </a:extLst>
              </p:cNvPr>
              <p:cNvSpPr/>
              <p:nvPr/>
            </p:nvSpPr>
            <p:spPr>
              <a:xfrm>
                <a:off x="2052060" y="4617672"/>
                <a:ext cx="148807" cy="282214"/>
              </a:xfrm>
              <a:custGeom>
                <a:avLst/>
                <a:gdLst>
                  <a:gd name="connsiteX0" fmla="*/ 148807 w 148807"/>
                  <a:gd name="connsiteY0" fmla="*/ 116708 h 282214"/>
                  <a:gd name="connsiteX1" fmla="*/ 148807 w 148807"/>
                  <a:gd name="connsiteY1" fmla="*/ 280258 h 282214"/>
                  <a:gd name="connsiteX2" fmla="*/ 146851 w 148807"/>
                  <a:gd name="connsiteY2" fmla="*/ 282215 h 282214"/>
                  <a:gd name="connsiteX3" fmla="*/ 1956 w 148807"/>
                  <a:gd name="connsiteY3" fmla="*/ 282215 h 282214"/>
                  <a:gd name="connsiteX4" fmla="*/ 0 w 148807"/>
                  <a:gd name="connsiteY4" fmla="*/ 280258 h 282214"/>
                  <a:gd name="connsiteX5" fmla="*/ 0 w 148807"/>
                  <a:gd name="connsiteY5" fmla="*/ 62370 h 282214"/>
                  <a:gd name="connsiteX6" fmla="*/ 1956 w 148807"/>
                  <a:gd name="connsiteY6" fmla="*/ 60413 h 282214"/>
                  <a:gd name="connsiteX7" fmla="*/ 10773 w 148807"/>
                  <a:gd name="connsiteY7" fmla="*/ 60413 h 282214"/>
                  <a:gd name="connsiteX8" fmla="*/ 10773 w 148807"/>
                  <a:gd name="connsiteY8" fmla="*/ 45886 h 282214"/>
                  <a:gd name="connsiteX9" fmla="*/ 6131 w 148807"/>
                  <a:gd name="connsiteY9" fmla="*/ 45886 h 282214"/>
                  <a:gd name="connsiteX10" fmla="*/ 4447 w 148807"/>
                  <a:gd name="connsiteY10" fmla="*/ 44921 h 282214"/>
                  <a:gd name="connsiteX11" fmla="*/ 4421 w 148807"/>
                  <a:gd name="connsiteY11" fmla="*/ 42980 h 282214"/>
                  <a:gd name="connsiteX12" fmla="*/ 27785 w 148807"/>
                  <a:gd name="connsiteY12" fmla="*/ 1006 h 282214"/>
                  <a:gd name="connsiteX13" fmla="*/ 29495 w 148807"/>
                  <a:gd name="connsiteY13" fmla="*/ 0 h 282214"/>
                  <a:gd name="connsiteX14" fmla="*/ 90530 w 148807"/>
                  <a:gd name="connsiteY14" fmla="*/ 0 h 282214"/>
                  <a:gd name="connsiteX15" fmla="*/ 92214 w 148807"/>
                  <a:gd name="connsiteY15" fmla="*/ 965 h 282214"/>
                  <a:gd name="connsiteX16" fmla="*/ 92240 w 148807"/>
                  <a:gd name="connsiteY16" fmla="*/ 2906 h 282214"/>
                  <a:gd name="connsiteX17" fmla="*/ 88707 w 148807"/>
                  <a:gd name="connsiteY17" fmla="*/ 9258 h 282214"/>
                  <a:gd name="connsiteX18" fmla="*/ 88707 w 148807"/>
                  <a:gd name="connsiteY18" fmla="*/ 60413 h 282214"/>
                  <a:gd name="connsiteX19" fmla="*/ 99907 w 148807"/>
                  <a:gd name="connsiteY19" fmla="*/ 60413 h 282214"/>
                  <a:gd name="connsiteX20" fmla="*/ 99984 w 148807"/>
                  <a:gd name="connsiteY20" fmla="*/ 60429 h 282214"/>
                  <a:gd name="connsiteX21" fmla="*/ 100179 w 148807"/>
                  <a:gd name="connsiteY21" fmla="*/ 60444 h 282214"/>
                  <a:gd name="connsiteX22" fmla="*/ 100374 w 148807"/>
                  <a:gd name="connsiteY22" fmla="*/ 60485 h 282214"/>
                  <a:gd name="connsiteX23" fmla="*/ 100543 w 148807"/>
                  <a:gd name="connsiteY23" fmla="*/ 60537 h 282214"/>
                  <a:gd name="connsiteX24" fmla="*/ 100728 w 148807"/>
                  <a:gd name="connsiteY24" fmla="*/ 60603 h 282214"/>
                  <a:gd name="connsiteX25" fmla="*/ 100882 w 148807"/>
                  <a:gd name="connsiteY25" fmla="*/ 60696 h 282214"/>
                  <a:gd name="connsiteX26" fmla="*/ 101052 w 148807"/>
                  <a:gd name="connsiteY26" fmla="*/ 60799 h 282214"/>
                  <a:gd name="connsiteX27" fmla="*/ 101180 w 148807"/>
                  <a:gd name="connsiteY27" fmla="*/ 60917 h 282214"/>
                  <a:gd name="connsiteX28" fmla="*/ 101334 w 148807"/>
                  <a:gd name="connsiteY28" fmla="*/ 61060 h 282214"/>
                  <a:gd name="connsiteX29" fmla="*/ 101386 w 148807"/>
                  <a:gd name="connsiteY29" fmla="*/ 61101 h 282214"/>
                  <a:gd name="connsiteX30" fmla="*/ 148325 w 148807"/>
                  <a:gd name="connsiteY30" fmla="*/ 115435 h 282214"/>
                  <a:gd name="connsiteX31" fmla="*/ 148792 w 148807"/>
                  <a:gd name="connsiteY31" fmla="*/ 116714 h 282214"/>
                  <a:gd name="connsiteX32" fmla="*/ 144894 w 148807"/>
                  <a:gd name="connsiteY32" fmla="*/ 278307 h 282214"/>
                  <a:gd name="connsiteX33" fmla="*/ 144894 w 148807"/>
                  <a:gd name="connsiteY33" fmla="*/ 117443 h 282214"/>
                  <a:gd name="connsiteX34" fmla="*/ 101863 w 148807"/>
                  <a:gd name="connsiteY34" fmla="*/ 67633 h 282214"/>
                  <a:gd name="connsiteX35" fmla="*/ 101863 w 148807"/>
                  <a:gd name="connsiteY35" fmla="*/ 278307 h 282214"/>
                  <a:gd name="connsiteX36" fmla="*/ 144894 w 148807"/>
                  <a:gd name="connsiteY36" fmla="*/ 278307 h 282214"/>
                  <a:gd name="connsiteX37" fmla="*/ 97955 w 148807"/>
                  <a:gd name="connsiteY37" fmla="*/ 278307 h 282214"/>
                  <a:gd name="connsiteX38" fmla="*/ 97955 w 148807"/>
                  <a:gd name="connsiteY38" fmla="*/ 64331 h 282214"/>
                  <a:gd name="connsiteX39" fmla="*/ 3918 w 148807"/>
                  <a:gd name="connsiteY39" fmla="*/ 64331 h 282214"/>
                  <a:gd name="connsiteX40" fmla="*/ 3918 w 148807"/>
                  <a:gd name="connsiteY40" fmla="*/ 278307 h 282214"/>
                  <a:gd name="connsiteX41" fmla="*/ 97955 w 148807"/>
                  <a:gd name="connsiteY41" fmla="*/ 278307 h 282214"/>
                  <a:gd name="connsiteX42" fmla="*/ 83731 w 148807"/>
                  <a:gd name="connsiteY42" fmla="*/ 10167 h 282214"/>
                  <a:gd name="connsiteX43" fmla="*/ 87213 w 148807"/>
                  <a:gd name="connsiteY43" fmla="*/ 3923 h 282214"/>
                  <a:gd name="connsiteX44" fmla="*/ 79844 w 148807"/>
                  <a:gd name="connsiteY44" fmla="*/ 3923 h 282214"/>
                  <a:gd name="connsiteX45" fmla="*/ 76363 w 148807"/>
                  <a:gd name="connsiteY45" fmla="*/ 10167 h 282214"/>
                  <a:gd name="connsiteX46" fmla="*/ 83731 w 148807"/>
                  <a:gd name="connsiteY46" fmla="*/ 10167 h 282214"/>
                  <a:gd name="connsiteX47" fmla="*/ 84799 w 148807"/>
                  <a:gd name="connsiteY47" fmla="*/ 60419 h 282214"/>
                  <a:gd name="connsiteX48" fmla="*/ 84799 w 148807"/>
                  <a:gd name="connsiteY48" fmla="*/ 16293 h 282214"/>
                  <a:gd name="connsiteX49" fmla="*/ 68891 w 148807"/>
                  <a:gd name="connsiteY49" fmla="*/ 44890 h 282214"/>
                  <a:gd name="connsiteX50" fmla="*/ 67181 w 148807"/>
                  <a:gd name="connsiteY50" fmla="*/ 45897 h 282214"/>
                  <a:gd name="connsiteX51" fmla="*/ 64141 w 148807"/>
                  <a:gd name="connsiteY51" fmla="*/ 45897 h 282214"/>
                  <a:gd name="connsiteX52" fmla="*/ 64141 w 148807"/>
                  <a:gd name="connsiteY52" fmla="*/ 60424 h 282214"/>
                  <a:gd name="connsiteX53" fmla="*/ 84794 w 148807"/>
                  <a:gd name="connsiteY53" fmla="*/ 60424 h 282214"/>
                  <a:gd name="connsiteX54" fmla="*/ 77836 w 148807"/>
                  <a:gd name="connsiteY54" fmla="*/ 20766 h 282214"/>
                  <a:gd name="connsiteX55" fmla="*/ 81554 w 148807"/>
                  <a:gd name="connsiteY55" fmla="*/ 14075 h 282214"/>
                  <a:gd name="connsiteX56" fmla="*/ 74185 w 148807"/>
                  <a:gd name="connsiteY56" fmla="*/ 14075 h 282214"/>
                  <a:gd name="connsiteX57" fmla="*/ 70457 w 148807"/>
                  <a:gd name="connsiteY57" fmla="*/ 20766 h 282214"/>
                  <a:gd name="connsiteX58" fmla="*/ 77836 w 148807"/>
                  <a:gd name="connsiteY58" fmla="*/ 20766 h 282214"/>
                  <a:gd name="connsiteX59" fmla="*/ 71916 w 148807"/>
                  <a:gd name="connsiteY59" fmla="*/ 31406 h 282214"/>
                  <a:gd name="connsiteX60" fmla="*/ 75659 w 148807"/>
                  <a:gd name="connsiteY60" fmla="*/ 24679 h 282214"/>
                  <a:gd name="connsiteX61" fmla="*/ 68280 w 148807"/>
                  <a:gd name="connsiteY61" fmla="*/ 24679 h 282214"/>
                  <a:gd name="connsiteX62" fmla="*/ 64562 w 148807"/>
                  <a:gd name="connsiteY62" fmla="*/ 31380 h 282214"/>
                  <a:gd name="connsiteX63" fmla="*/ 71592 w 148807"/>
                  <a:gd name="connsiteY63" fmla="*/ 31380 h 282214"/>
                  <a:gd name="connsiteX64" fmla="*/ 71916 w 148807"/>
                  <a:gd name="connsiteY64" fmla="*/ 31406 h 282214"/>
                  <a:gd name="connsiteX65" fmla="*/ 71890 w 148807"/>
                  <a:gd name="connsiteY65" fmla="*/ 10162 h 282214"/>
                  <a:gd name="connsiteX66" fmla="*/ 75356 w 148807"/>
                  <a:gd name="connsiteY66" fmla="*/ 3918 h 282214"/>
                  <a:gd name="connsiteX67" fmla="*/ 67274 w 148807"/>
                  <a:gd name="connsiteY67" fmla="*/ 3918 h 282214"/>
                  <a:gd name="connsiteX68" fmla="*/ 63792 w 148807"/>
                  <a:gd name="connsiteY68" fmla="*/ 10162 h 282214"/>
                  <a:gd name="connsiteX69" fmla="*/ 71890 w 148807"/>
                  <a:gd name="connsiteY69" fmla="*/ 10162 h 282214"/>
                  <a:gd name="connsiteX70" fmla="*/ 66036 w 148807"/>
                  <a:gd name="connsiteY70" fmla="*/ 41979 h 282214"/>
                  <a:gd name="connsiteX71" fmla="*/ 69754 w 148807"/>
                  <a:gd name="connsiteY71" fmla="*/ 35288 h 282214"/>
                  <a:gd name="connsiteX72" fmla="*/ 62385 w 148807"/>
                  <a:gd name="connsiteY72" fmla="*/ 35288 h 282214"/>
                  <a:gd name="connsiteX73" fmla="*/ 58657 w 148807"/>
                  <a:gd name="connsiteY73" fmla="*/ 41979 h 282214"/>
                  <a:gd name="connsiteX74" fmla="*/ 66036 w 148807"/>
                  <a:gd name="connsiteY74" fmla="*/ 41979 h 282214"/>
                  <a:gd name="connsiteX75" fmla="*/ 65985 w 148807"/>
                  <a:gd name="connsiteY75" fmla="*/ 20766 h 282214"/>
                  <a:gd name="connsiteX76" fmla="*/ 69713 w 148807"/>
                  <a:gd name="connsiteY76" fmla="*/ 14075 h 282214"/>
                  <a:gd name="connsiteX77" fmla="*/ 61615 w 148807"/>
                  <a:gd name="connsiteY77" fmla="*/ 14075 h 282214"/>
                  <a:gd name="connsiteX78" fmla="*/ 57897 w 148807"/>
                  <a:gd name="connsiteY78" fmla="*/ 20766 h 282214"/>
                  <a:gd name="connsiteX79" fmla="*/ 65980 w 148807"/>
                  <a:gd name="connsiteY79" fmla="*/ 20766 h 282214"/>
                  <a:gd name="connsiteX80" fmla="*/ 60090 w 148807"/>
                  <a:gd name="connsiteY80" fmla="*/ 31380 h 282214"/>
                  <a:gd name="connsiteX81" fmla="*/ 63808 w 148807"/>
                  <a:gd name="connsiteY81" fmla="*/ 24679 h 282214"/>
                  <a:gd name="connsiteX82" fmla="*/ 55725 w 148807"/>
                  <a:gd name="connsiteY82" fmla="*/ 24679 h 282214"/>
                  <a:gd name="connsiteX83" fmla="*/ 51997 w 148807"/>
                  <a:gd name="connsiteY83" fmla="*/ 31380 h 282214"/>
                  <a:gd name="connsiteX84" fmla="*/ 60095 w 148807"/>
                  <a:gd name="connsiteY84" fmla="*/ 31380 h 282214"/>
                  <a:gd name="connsiteX85" fmla="*/ 59320 w 148807"/>
                  <a:gd name="connsiteY85" fmla="*/ 10167 h 282214"/>
                  <a:gd name="connsiteX86" fmla="*/ 62801 w 148807"/>
                  <a:gd name="connsiteY86" fmla="*/ 3923 h 282214"/>
                  <a:gd name="connsiteX87" fmla="*/ 54703 w 148807"/>
                  <a:gd name="connsiteY87" fmla="*/ 3923 h 282214"/>
                  <a:gd name="connsiteX88" fmla="*/ 51237 w 148807"/>
                  <a:gd name="connsiteY88" fmla="*/ 10167 h 282214"/>
                  <a:gd name="connsiteX89" fmla="*/ 59320 w 148807"/>
                  <a:gd name="connsiteY89" fmla="*/ 10167 h 282214"/>
                  <a:gd name="connsiteX90" fmla="*/ 60234 w 148807"/>
                  <a:gd name="connsiteY90" fmla="*/ 60419 h 282214"/>
                  <a:gd name="connsiteX91" fmla="*/ 60234 w 148807"/>
                  <a:gd name="connsiteY91" fmla="*/ 45892 h 282214"/>
                  <a:gd name="connsiteX92" fmla="*/ 14686 w 148807"/>
                  <a:gd name="connsiteY92" fmla="*/ 45892 h 282214"/>
                  <a:gd name="connsiteX93" fmla="*/ 14686 w 148807"/>
                  <a:gd name="connsiteY93" fmla="*/ 60419 h 282214"/>
                  <a:gd name="connsiteX94" fmla="*/ 60234 w 148807"/>
                  <a:gd name="connsiteY94" fmla="*/ 60419 h 282214"/>
                  <a:gd name="connsiteX95" fmla="*/ 54185 w 148807"/>
                  <a:gd name="connsiteY95" fmla="*/ 41979 h 282214"/>
                  <a:gd name="connsiteX96" fmla="*/ 57913 w 148807"/>
                  <a:gd name="connsiteY96" fmla="*/ 35288 h 282214"/>
                  <a:gd name="connsiteX97" fmla="*/ 49815 w 148807"/>
                  <a:gd name="connsiteY97" fmla="*/ 35288 h 282214"/>
                  <a:gd name="connsiteX98" fmla="*/ 46097 w 148807"/>
                  <a:gd name="connsiteY98" fmla="*/ 41979 h 282214"/>
                  <a:gd name="connsiteX99" fmla="*/ 54179 w 148807"/>
                  <a:gd name="connsiteY99" fmla="*/ 41979 h 282214"/>
                  <a:gd name="connsiteX100" fmla="*/ 53414 w 148807"/>
                  <a:gd name="connsiteY100" fmla="*/ 20766 h 282214"/>
                  <a:gd name="connsiteX101" fmla="*/ 57142 w 148807"/>
                  <a:gd name="connsiteY101" fmla="*/ 14075 h 282214"/>
                  <a:gd name="connsiteX102" fmla="*/ 49060 w 148807"/>
                  <a:gd name="connsiteY102" fmla="*/ 14075 h 282214"/>
                  <a:gd name="connsiteX103" fmla="*/ 45332 w 148807"/>
                  <a:gd name="connsiteY103" fmla="*/ 20766 h 282214"/>
                  <a:gd name="connsiteX104" fmla="*/ 53414 w 148807"/>
                  <a:gd name="connsiteY104" fmla="*/ 20766 h 282214"/>
                  <a:gd name="connsiteX105" fmla="*/ 47519 w 148807"/>
                  <a:gd name="connsiteY105" fmla="*/ 31380 h 282214"/>
                  <a:gd name="connsiteX106" fmla="*/ 51237 w 148807"/>
                  <a:gd name="connsiteY106" fmla="*/ 24679 h 282214"/>
                  <a:gd name="connsiteX107" fmla="*/ 43155 w 148807"/>
                  <a:gd name="connsiteY107" fmla="*/ 24679 h 282214"/>
                  <a:gd name="connsiteX108" fmla="*/ 39427 w 148807"/>
                  <a:gd name="connsiteY108" fmla="*/ 31380 h 282214"/>
                  <a:gd name="connsiteX109" fmla="*/ 47524 w 148807"/>
                  <a:gd name="connsiteY109" fmla="*/ 31380 h 282214"/>
                  <a:gd name="connsiteX110" fmla="*/ 46749 w 148807"/>
                  <a:gd name="connsiteY110" fmla="*/ 10167 h 282214"/>
                  <a:gd name="connsiteX111" fmla="*/ 50231 w 148807"/>
                  <a:gd name="connsiteY111" fmla="*/ 3923 h 282214"/>
                  <a:gd name="connsiteX112" fmla="*/ 42148 w 148807"/>
                  <a:gd name="connsiteY112" fmla="*/ 3923 h 282214"/>
                  <a:gd name="connsiteX113" fmla="*/ 38667 w 148807"/>
                  <a:gd name="connsiteY113" fmla="*/ 10167 h 282214"/>
                  <a:gd name="connsiteX114" fmla="*/ 46749 w 148807"/>
                  <a:gd name="connsiteY114" fmla="*/ 10167 h 282214"/>
                  <a:gd name="connsiteX115" fmla="*/ 41614 w 148807"/>
                  <a:gd name="connsiteY115" fmla="*/ 41984 h 282214"/>
                  <a:gd name="connsiteX116" fmla="*/ 45342 w 148807"/>
                  <a:gd name="connsiteY116" fmla="*/ 35293 h 282214"/>
                  <a:gd name="connsiteX117" fmla="*/ 37244 w 148807"/>
                  <a:gd name="connsiteY117" fmla="*/ 35293 h 282214"/>
                  <a:gd name="connsiteX118" fmla="*/ 33526 w 148807"/>
                  <a:gd name="connsiteY118" fmla="*/ 41984 h 282214"/>
                  <a:gd name="connsiteX119" fmla="*/ 41609 w 148807"/>
                  <a:gd name="connsiteY119" fmla="*/ 41984 h 282214"/>
                  <a:gd name="connsiteX120" fmla="*/ 40859 w 148807"/>
                  <a:gd name="connsiteY120" fmla="*/ 20771 h 282214"/>
                  <a:gd name="connsiteX121" fmla="*/ 44577 w 148807"/>
                  <a:gd name="connsiteY121" fmla="*/ 14080 h 282214"/>
                  <a:gd name="connsiteX122" fmla="*/ 36495 w 148807"/>
                  <a:gd name="connsiteY122" fmla="*/ 14080 h 282214"/>
                  <a:gd name="connsiteX123" fmla="*/ 32766 w 148807"/>
                  <a:gd name="connsiteY123" fmla="*/ 20771 h 282214"/>
                  <a:gd name="connsiteX124" fmla="*/ 40864 w 148807"/>
                  <a:gd name="connsiteY124" fmla="*/ 20771 h 282214"/>
                  <a:gd name="connsiteX125" fmla="*/ 34954 w 148807"/>
                  <a:gd name="connsiteY125" fmla="*/ 31385 h 282214"/>
                  <a:gd name="connsiteX126" fmla="*/ 38682 w 148807"/>
                  <a:gd name="connsiteY126" fmla="*/ 24684 h 282214"/>
                  <a:gd name="connsiteX127" fmla="*/ 30584 w 148807"/>
                  <a:gd name="connsiteY127" fmla="*/ 24684 h 282214"/>
                  <a:gd name="connsiteX128" fmla="*/ 26866 w 148807"/>
                  <a:gd name="connsiteY128" fmla="*/ 31385 h 282214"/>
                  <a:gd name="connsiteX129" fmla="*/ 34949 w 148807"/>
                  <a:gd name="connsiteY129" fmla="*/ 31385 h 282214"/>
                  <a:gd name="connsiteX130" fmla="*/ 34199 w 148807"/>
                  <a:gd name="connsiteY130" fmla="*/ 10172 h 282214"/>
                  <a:gd name="connsiteX131" fmla="*/ 37665 w 148807"/>
                  <a:gd name="connsiteY131" fmla="*/ 3928 h 282214"/>
                  <a:gd name="connsiteX132" fmla="*/ 30651 w 148807"/>
                  <a:gd name="connsiteY132" fmla="*/ 3928 h 282214"/>
                  <a:gd name="connsiteX133" fmla="*/ 27169 w 148807"/>
                  <a:gd name="connsiteY133" fmla="*/ 10172 h 282214"/>
                  <a:gd name="connsiteX134" fmla="*/ 34199 w 148807"/>
                  <a:gd name="connsiteY134" fmla="*/ 10172 h 282214"/>
                  <a:gd name="connsiteX135" fmla="*/ 29064 w 148807"/>
                  <a:gd name="connsiteY135" fmla="*/ 41989 h 282214"/>
                  <a:gd name="connsiteX136" fmla="*/ 32782 w 148807"/>
                  <a:gd name="connsiteY136" fmla="*/ 35298 h 282214"/>
                  <a:gd name="connsiteX137" fmla="*/ 24699 w 148807"/>
                  <a:gd name="connsiteY137" fmla="*/ 35298 h 282214"/>
                  <a:gd name="connsiteX138" fmla="*/ 20971 w 148807"/>
                  <a:gd name="connsiteY138" fmla="*/ 41989 h 282214"/>
                  <a:gd name="connsiteX139" fmla="*/ 29069 w 148807"/>
                  <a:gd name="connsiteY139" fmla="*/ 41989 h 282214"/>
                  <a:gd name="connsiteX140" fmla="*/ 28294 w 148807"/>
                  <a:gd name="connsiteY140" fmla="*/ 20776 h 282214"/>
                  <a:gd name="connsiteX141" fmla="*/ 32022 w 148807"/>
                  <a:gd name="connsiteY141" fmla="*/ 14085 h 282214"/>
                  <a:gd name="connsiteX142" fmla="*/ 24992 w 148807"/>
                  <a:gd name="connsiteY142" fmla="*/ 14085 h 282214"/>
                  <a:gd name="connsiteX143" fmla="*/ 21274 w 148807"/>
                  <a:gd name="connsiteY143" fmla="*/ 20776 h 282214"/>
                  <a:gd name="connsiteX144" fmla="*/ 28289 w 148807"/>
                  <a:gd name="connsiteY144" fmla="*/ 20776 h 282214"/>
                  <a:gd name="connsiteX145" fmla="*/ 22389 w 148807"/>
                  <a:gd name="connsiteY145" fmla="*/ 31390 h 282214"/>
                  <a:gd name="connsiteX146" fmla="*/ 26117 w 148807"/>
                  <a:gd name="connsiteY146" fmla="*/ 24689 h 282214"/>
                  <a:gd name="connsiteX147" fmla="*/ 19102 w 148807"/>
                  <a:gd name="connsiteY147" fmla="*/ 24689 h 282214"/>
                  <a:gd name="connsiteX148" fmla="*/ 15374 w 148807"/>
                  <a:gd name="connsiteY148" fmla="*/ 31390 h 282214"/>
                  <a:gd name="connsiteX149" fmla="*/ 22389 w 148807"/>
                  <a:gd name="connsiteY149" fmla="*/ 31390 h 282214"/>
                  <a:gd name="connsiteX150" fmla="*/ 16494 w 148807"/>
                  <a:gd name="connsiteY150" fmla="*/ 41989 h 282214"/>
                  <a:gd name="connsiteX151" fmla="*/ 20211 w 148807"/>
                  <a:gd name="connsiteY151" fmla="*/ 35298 h 282214"/>
                  <a:gd name="connsiteX152" fmla="*/ 13197 w 148807"/>
                  <a:gd name="connsiteY152" fmla="*/ 35298 h 282214"/>
                  <a:gd name="connsiteX153" fmla="*/ 9479 w 148807"/>
                  <a:gd name="connsiteY153" fmla="*/ 41989 h 282214"/>
                  <a:gd name="connsiteX154" fmla="*/ 16494 w 148807"/>
                  <a:gd name="connsiteY154" fmla="*/ 41989 h 28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Lst>
                <a:rect l="l" t="t" r="r" b="b"/>
                <a:pathLst>
                  <a:path w="148807" h="282214">
                    <a:moveTo>
                      <a:pt x="148807" y="116708"/>
                    </a:moveTo>
                    <a:lnTo>
                      <a:pt x="148807" y="280258"/>
                    </a:lnTo>
                    <a:cubicBezTo>
                      <a:pt x="148807" y="281342"/>
                      <a:pt x="147934" y="282215"/>
                      <a:pt x="146851" y="282215"/>
                    </a:cubicBezTo>
                    <a:lnTo>
                      <a:pt x="1956" y="282215"/>
                    </a:lnTo>
                    <a:cubicBezTo>
                      <a:pt x="873" y="282215"/>
                      <a:pt x="0" y="281342"/>
                      <a:pt x="0" y="280258"/>
                    </a:cubicBezTo>
                    <a:lnTo>
                      <a:pt x="0" y="62370"/>
                    </a:lnTo>
                    <a:cubicBezTo>
                      <a:pt x="0" y="61302"/>
                      <a:pt x="873" y="60413"/>
                      <a:pt x="1956" y="60413"/>
                    </a:cubicBezTo>
                    <a:lnTo>
                      <a:pt x="10773" y="60413"/>
                    </a:lnTo>
                    <a:lnTo>
                      <a:pt x="10773" y="45886"/>
                    </a:lnTo>
                    <a:lnTo>
                      <a:pt x="6131" y="45886"/>
                    </a:lnTo>
                    <a:cubicBezTo>
                      <a:pt x="5438" y="45886"/>
                      <a:pt x="4801" y="45506"/>
                      <a:pt x="4447" y="44921"/>
                    </a:cubicBezTo>
                    <a:cubicBezTo>
                      <a:pt x="4093" y="44320"/>
                      <a:pt x="4082" y="43576"/>
                      <a:pt x="4421" y="42980"/>
                    </a:cubicBezTo>
                    <a:lnTo>
                      <a:pt x="27785" y="1006"/>
                    </a:lnTo>
                    <a:cubicBezTo>
                      <a:pt x="28124" y="395"/>
                      <a:pt x="28777" y="0"/>
                      <a:pt x="29495" y="0"/>
                    </a:cubicBezTo>
                    <a:lnTo>
                      <a:pt x="90530" y="0"/>
                    </a:lnTo>
                    <a:cubicBezTo>
                      <a:pt x="91223" y="0"/>
                      <a:pt x="91875" y="365"/>
                      <a:pt x="92214" y="965"/>
                    </a:cubicBezTo>
                    <a:cubicBezTo>
                      <a:pt x="92569" y="1566"/>
                      <a:pt x="92579" y="2311"/>
                      <a:pt x="92240" y="2906"/>
                    </a:cubicBezTo>
                    <a:lnTo>
                      <a:pt x="88707" y="9258"/>
                    </a:lnTo>
                    <a:lnTo>
                      <a:pt x="88707" y="60413"/>
                    </a:lnTo>
                    <a:lnTo>
                      <a:pt x="99907" y="60413"/>
                    </a:lnTo>
                    <a:cubicBezTo>
                      <a:pt x="99932" y="60413"/>
                      <a:pt x="99958" y="60429"/>
                      <a:pt x="99984" y="60429"/>
                    </a:cubicBezTo>
                    <a:cubicBezTo>
                      <a:pt x="100050" y="60429"/>
                      <a:pt x="100112" y="60444"/>
                      <a:pt x="100179" y="60444"/>
                    </a:cubicBezTo>
                    <a:cubicBezTo>
                      <a:pt x="100246" y="60460"/>
                      <a:pt x="100307" y="60470"/>
                      <a:pt x="100374" y="60485"/>
                    </a:cubicBezTo>
                    <a:cubicBezTo>
                      <a:pt x="100425" y="60501"/>
                      <a:pt x="100477" y="60526"/>
                      <a:pt x="100543" y="60537"/>
                    </a:cubicBezTo>
                    <a:cubicBezTo>
                      <a:pt x="100610" y="60562"/>
                      <a:pt x="100661" y="60578"/>
                      <a:pt x="100728" y="60603"/>
                    </a:cubicBezTo>
                    <a:cubicBezTo>
                      <a:pt x="100780" y="60629"/>
                      <a:pt x="100831" y="60670"/>
                      <a:pt x="100882" y="60696"/>
                    </a:cubicBezTo>
                    <a:cubicBezTo>
                      <a:pt x="100934" y="60737"/>
                      <a:pt x="101000" y="60763"/>
                      <a:pt x="101052" y="60799"/>
                    </a:cubicBezTo>
                    <a:cubicBezTo>
                      <a:pt x="101103" y="60840"/>
                      <a:pt x="101144" y="60876"/>
                      <a:pt x="101180" y="60917"/>
                    </a:cubicBezTo>
                    <a:cubicBezTo>
                      <a:pt x="101231" y="60958"/>
                      <a:pt x="101298" y="61009"/>
                      <a:pt x="101334" y="61060"/>
                    </a:cubicBezTo>
                    <a:cubicBezTo>
                      <a:pt x="101350" y="61076"/>
                      <a:pt x="101375" y="61086"/>
                      <a:pt x="101386" y="61101"/>
                    </a:cubicBezTo>
                    <a:lnTo>
                      <a:pt x="148325" y="115435"/>
                    </a:lnTo>
                    <a:cubicBezTo>
                      <a:pt x="148638" y="115789"/>
                      <a:pt x="148792" y="116241"/>
                      <a:pt x="148792" y="116714"/>
                    </a:cubicBezTo>
                    <a:close/>
                    <a:moveTo>
                      <a:pt x="144894" y="278307"/>
                    </a:moveTo>
                    <a:lnTo>
                      <a:pt x="144894" y="117443"/>
                    </a:lnTo>
                    <a:lnTo>
                      <a:pt x="101863" y="67633"/>
                    </a:lnTo>
                    <a:lnTo>
                      <a:pt x="101863" y="278307"/>
                    </a:lnTo>
                    <a:lnTo>
                      <a:pt x="144894" y="278307"/>
                    </a:lnTo>
                    <a:close/>
                    <a:moveTo>
                      <a:pt x="97955" y="278307"/>
                    </a:moveTo>
                    <a:lnTo>
                      <a:pt x="97955" y="64331"/>
                    </a:lnTo>
                    <a:lnTo>
                      <a:pt x="3918" y="64331"/>
                    </a:lnTo>
                    <a:lnTo>
                      <a:pt x="3918" y="278307"/>
                    </a:lnTo>
                    <a:lnTo>
                      <a:pt x="97955" y="278307"/>
                    </a:lnTo>
                    <a:close/>
                    <a:moveTo>
                      <a:pt x="83731" y="10167"/>
                    </a:moveTo>
                    <a:lnTo>
                      <a:pt x="87213" y="3923"/>
                    </a:lnTo>
                    <a:lnTo>
                      <a:pt x="79844" y="3923"/>
                    </a:lnTo>
                    <a:lnTo>
                      <a:pt x="76363" y="10167"/>
                    </a:lnTo>
                    <a:lnTo>
                      <a:pt x="83731" y="10167"/>
                    </a:lnTo>
                    <a:close/>
                    <a:moveTo>
                      <a:pt x="84799" y="60419"/>
                    </a:moveTo>
                    <a:lnTo>
                      <a:pt x="84799" y="16293"/>
                    </a:lnTo>
                    <a:lnTo>
                      <a:pt x="68891" y="44890"/>
                    </a:lnTo>
                    <a:cubicBezTo>
                      <a:pt x="68537" y="45501"/>
                      <a:pt x="67885" y="45897"/>
                      <a:pt x="67181" y="45897"/>
                    </a:cubicBezTo>
                    <a:lnTo>
                      <a:pt x="64141" y="45897"/>
                    </a:lnTo>
                    <a:lnTo>
                      <a:pt x="64141" y="60424"/>
                    </a:lnTo>
                    <a:lnTo>
                      <a:pt x="84794" y="60424"/>
                    </a:lnTo>
                    <a:close/>
                    <a:moveTo>
                      <a:pt x="77836" y="20766"/>
                    </a:moveTo>
                    <a:lnTo>
                      <a:pt x="81554" y="14075"/>
                    </a:lnTo>
                    <a:lnTo>
                      <a:pt x="74185" y="14075"/>
                    </a:lnTo>
                    <a:lnTo>
                      <a:pt x="70457" y="20766"/>
                    </a:lnTo>
                    <a:lnTo>
                      <a:pt x="77836" y="20766"/>
                    </a:lnTo>
                    <a:close/>
                    <a:moveTo>
                      <a:pt x="71916" y="31406"/>
                    </a:moveTo>
                    <a:lnTo>
                      <a:pt x="75659" y="24679"/>
                    </a:lnTo>
                    <a:lnTo>
                      <a:pt x="68280" y="24679"/>
                    </a:lnTo>
                    <a:lnTo>
                      <a:pt x="64562" y="31380"/>
                    </a:lnTo>
                    <a:lnTo>
                      <a:pt x="71592" y="31380"/>
                    </a:lnTo>
                    <a:cubicBezTo>
                      <a:pt x="71695" y="31380"/>
                      <a:pt x="71813" y="31395"/>
                      <a:pt x="71916" y="31406"/>
                    </a:cubicBezTo>
                    <a:close/>
                    <a:moveTo>
                      <a:pt x="71890" y="10162"/>
                    </a:moveTo>
                    <a:lnTo>
                      <a:pt x="75356" y="3918"/>
                    </a:lnTo>
                    <a:lnTo>
                      <a:pt x="67274" y="3918"/>
                    </a:lnTo>
                    <a:lnTo>
                      <a:pt x="63792" y="10162"/>
                    </a:lnTo>
                    <a:lnTo>
                      <a:pt x="71890" y="10162"/>
                    </a:lnTo>
                    <a:close/>
                    <a:moveTo>
                      <a:pt x="66036" y="41979"/>
                    </a:moveTo>
                    <a:lnTo>
                      <a:pt x="69754" y="35288"/>
                    </a:lnTo>
                    <a:lnTo>
                      <a:pt x="62385" y="35288"/>
                    </a:lnTo>
                    <a:lnTo>
                      <a:pt x="58657" y="41979"/>
                    </a:lnTo>
                    <a:lnTo>
                      <a:pt x="66036" y="41979"/>
                    </a:lnTo>
                    <a:close/>
                    <a:moveTo>
                      <a:pt x="65985" y="20766"/>
                    </a:moveTo>
                    <a:lnTo>
                      <a:pt x="69713" y="14075"/>
                    </a:lnTo>
                    <a:lnTo>
                      <a:pt x="61615" y="14075"/>
                    </a:lnTo>
                    <a:lnTo>
                      <a:pt x="57897" y="20766"/>
                    </a:lnTo>
                    <a:lnTo>
                      <a:pt x="65980" y="20766"/>
                    </a:lnTo>
                    <a:close/>
                    <a:moveTo>
                      <a:pt x="60090" y="31380"/>
                    </a:moveTo>
                    <a:lnTo>
                      <a:pt x="63808" y="24679"/>
                    </a:lnTo>
                    <a:lnTo>
                      <a:pt x="55725" y="24679"/>
                    </a:lnTo>
                    <a:lnTo>
                      <a:pt x="51997" y="31380"/>
                    </a:lnTo>
                    <a:lnTo>
                      <a:pt x="60095" y="31380"/>
                    </a:lnTo>
                    <a:close/>
                    <a:moveTo>
                      <a:pt x="59320" y="10167"/>
                    </a:moveTo>
                    <a:lnTo>
                      <a:pt x="62801" y="3923"/>
                    </a:lnTo>
                    <a:lnTo>
                      <a:pt x="54703" y="3923"/>
                    </a:lnTo>
                    <a:lnTo>
                      <a:pt x="51237" y="10167"/>
                    </a:lnTo>
                    <a:lnTo>
                      <a:pt x="59320" y="10167"/>
                    </a:lnTo>
                    <a:close/>
                    <a:moveTo>
                      <a:pt x="60234" y="60419"/>
                    </a:moveTo>
                    <a:lnTo>
                      <a:pt x="60234" y="45892"/>
                    </a:lnTo>
                    <a:lnTo>
                      <a:pt x="14686" y="45892"/>
                    </a:lnTo>
                    <a:lnTo>
                      <a:pt x="14686" y="60419"/>
                    </a:lnTo>
                    <a:lnTo>
                      <a:pt x="60234" y="60419"/>
                    </a:lnTo>
                    <a:close/>
                    <a:moveTo>
                      <a:pt x="54185" y="41979"/>
                    </a:moveTo>
                    <a:lnTo>
                      <a:pt x="57913" y="35288"/>
                    </a:lnTo>
                    <a:lnTo>
                      <a:pt x="49815" y="35288"/>
                    </a:lnTo>
                    <a:lnTo>
                      <a:pt x="46097" y="41979"/>
                    </a:lnTo>
                    <a:lnTo>
                      <a:pt x="54179" y="41979"/>
                    </a:lnTo>
                    <a:close/>
                    <a:moveTo>
                      <a:pt x="53414" y="20766"/>
                    </a:moveTo>
                    <a:lnTo>
                      <a:pt x="57142" y="14075"/>
                    </a:lnTo>
                    <a:lnTo>
                      <a:pt x="49060" y="14075"/>
                    </a:lnTo>
                    <a:lnTo>
                      <a:pt x="45332" y="20766"/>
                    </a:lnTo>
                    <a:lnTo>
                      <a:pt x="53414" y="20766"/>
                    </a:lnTo>
                    <a:close/>
                    <a:moveTo>
                      <a:pt x="47519" y="31380"/>
                    </a:moveTo>
                    <a:lnTo>
                      <a:pt x="51237" y="24679"/>
                    </a:lnTo>
                    <a:lnTo>
                      <a:pt x="43155" y="24679"/>
                    </a:lnTo>
                    <a:lnTo>
                      <a:pt x="39427" y="31380"/>
                    </a:lnTo>
                    <a:lnTo>
                      <a:pt x="47524" y="31380"/>
                    </a:lnTo>
                    <a:close/>
                    <a:moveTo>
                      <a:pt x="46749" y="10167"/>
                    </a:moveTo>
                    <a:lnTo>
                      <a:pt x="50231" y="3923"/>
                    </a:lnTo>
                    <a:lnTo>
                      <a:pt x="42148" y="3923"/>
                    </a:lnTo>
                    <a:lnTo>
                      <a:pt x="38667" y="10167"/>
                    </a:lnTo>
                    <a:lnTo>
                      <a:pt x="46749" y="10167"/>
                    </a:lnTo>
                    <a:close/>
                    <a:moveTo>
                      <a:pt x="41614" y="41984"/>
                    </a:moveTo>
                    <a:lnTo>
                      <a:pt x="45342" y="35293"/>
                    </a:lnTo>
                    <a:lnTo>
                      <a:pt x="37244" y="35293"/>
                    </a:lnTo>
                    <a:lnTo>
                      <a:pt x="33526" y="41984"/>
                    </a:lnTo>
                    <a:lnTo>
                      <a:pt x="41609" y="41984"/>
                    </a:lnTo>
                    <a:close/>
                    <a:moveTo>
                      <a:pt x="40859" y="20771"/>
                    </a:moveTo>
                    <a:lnTo>
                      <a:pt x="44577" y="14080"/>
                    </a:lnTo>
                    <a:lnTo>
                      <a:pt x="36495" y="14080"/>
                    </a:lnTo>
                    <a:lnTo>
                      <a:pt x="32766" y="20771"/>
                    </a:lnTo>
                    <a:lnTo>
                      <a:pt x="40864" y="20771"/>
                    </a:lnTo>
                    <a:close/>
                    <a:moveTo>
                      <a:pt x="34954" y="31385"/>
                    </a:moveTo>
                    <a:lnTo>
                      <a:pt x="38682" y="24684"/>
                    </a:lnTo>
                    <a:lnTo>
                      <a:pt x="30584" y="24684"/>
                    </a:lnTo>
                    <a:lnTo>
                      <a:pt x="26866" y="31385"/>
                    </a:lnTo>
                    <a:lnTo>
                      <a:pt x="34949" y="31385"/>
                    </a:lnTo>
                    <a:close/>
                    <a:moveTo>
                      <a:pt x="34199" y="10172"/>
                    </a:moveTo>
                    <a:lnTo>
                      <a:pt x="37665" y="3928"/>
                    </a:lnTo>
                    <a:lnTo>
                      <a:pt x="30651" y="3928"/>
                    </a:lnTo>
                    <a:lnTo>
                      <a:pt x="27169" y="10172"/>
                    </a:lnTo>
                    <a:lnTo>
                      <a:pt x="34199" y="10172"/>
                    </a:lnTo>
                    <a:close/>
                    <a:moveTo>
                      <a:pt x="29064" y="41989"/>
                    </a:moveTo>
                    <a:lnTo>
                      <a:pt x="32782" y="35298"/>
                    </a:lnTo>
                    <a:lnTo>
                      <a:pt x="24699" y="35298"/>
                    </a:lnTo>
                    <a:lnTo>
                      <a:pt x="20971" y="41989"/>
                    </a:lnTo>
                    <a:lnTo>
                      <a:pt x="29069" y="41989"/>
                    </a:lnTo>
                    <a:close/>
                    <a:moveTo>
                      <a:pt x="28294" y="20776"/>
                    </a:moveTo>
                    <a:lnTo>
                      <a:pt x="32022" y="14085"/>
                    </a:lnTo>
                    <a:lnTo>
                      <a:pt x="24992" y="14085"/>
                    </a:lnTo>
                    <a:lnTo>
                      <a:pt x="21274" y="20776"/>
                    </a:lnTo>
                    <a:lnTo>
                      <a:pt x="28289" y="20776"/>
                    </a:lnTo>
                    <a:close/>
                    <a:moveTo>
                      <a:pt x="22389" y="31390"/>
                    </a:moveTo>
                    <a:lnTo>
                      <a:pt x="26117" y="24689"/>
                    </a:lnTo>
                    <a:lnTo>
                      <a:pt x="19102" y="24689"/>
                    </a:lnTo>
                    <a:lnTo>
                      <a:pt x="15374" y="31390"/>
                    </a:lnTo>
                    <a:lnTo>
                      <a:pt x="22389" y="31390"/>
                    </a:lnTo>
                    <a:close/>
                    <a:moveTo>
                      <a:pt x="16494" y="41989"/>
                    </a:moveTo>
                    <a:lnTo>
                      <a:pt x="20211" y="35298"/>
                    </a:lnTo>
                    <a:lnTo>
                      <a:pt x="13197" y="35298"/>
                    </a:lnTo>
                    <a:lnTo>
                      <a:pt x="9479" y="41989"/>
                    </a:lnTo>
                    <a:lnTo>
                      <a:pt x="16494" y="41989"/>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06" name="Freeform: Shape 505">
                <a:extLst>
                  <a:ext uri="{FF2B5EF4-FFF2-40B4-BE49-F238E27FC236}">
                    <a16:creationId xmlns:a16="http://schemas.microsoft.com/office/drawing/2014/main" id="{D286AFAC-D785-4CDD-BC70-2FC503CBC880}"/>
                  </a:ext>
                </a:extLst>
              </p:cNvPr>
              <p:cNvSpPr/>
              <p:nvPr/>
            </p:nvSpPr>
            <p:spPr>
              <a:xfrm>
                <a:off x="2153923" y="4685300"/>
                <a:ext cx="43031" cy="210673"/>
              </a:xfrm>
              <a:custGeom>
                <a:avLst/>
                <a:gdLst>
                  <a:gd name="connsiteX0" fmla="*/ 43031 w 43031"/>
                  <a:gd name="connsiteY0" fmla="*/ 49810 h 210673"/>
                  <a:gd name="connsiteX1" fmla="*/ 43031 w 43031"/>
                  <a:gd name="connsiteY1" fmla="*/ 210674 h 210673"/>
                  <a:gd name="connsiteX2" fmla="*/ 0 w 43031"/>
                  <a:gd name="connsiteY2" fmla="*/ 210674 h 210673"/>
                  <a:gd name="connsiteX3" fmla="*/ 0 w 43031"/>
                  <a:gd name="connsiteY3" fmla="*/ 0 h 210673"/>
                  <a:gd name="connsiteX4" fmla="*/ 43031 w 43031"/>
                  <a:gd name="connsiteY4" fmla="*/ 49810 h 2106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031" h="210673">
                    <a:moveTo>
                      <a:pt x="43031" y="49810"/>
                    </a:moveTo>
                    <a:lnTo>
                      <a:pt x="43031" y="210674"/>
                    </a:lnTo>
                    <a:lnTo>
                      <a:pt x="0" y="210674"/>
                    </a:lnTo>
                    <a:lnTo>
                      <a:pt x="0" y="0"/>
                    </a:lnTo>
                    <a:lnTo>
                      <a:pt x="43031" y="49810"/>
                    </a:ln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07" name="Freeform: Shape 506">
                <a:extLst>
                  <a:ext uri="{FF2B5EF4-FFF2-40B4-BE49-F238E27FC236}">
                    <a16:creationId xmlns:a16="http://schemas.microsoft.com/office/drawing/2014/main" id="{C7DBA619-98C2-4C61-99A5-AAC4D8CD5C6B}"/>
                  </a:ext>
                </a:extLst>
              </p:cNvPr>
              <p:cNvSpPr/>
              <p:nvPr/>
            </p:nvSpPr>
            <p:spPr>
              <a:xfrm>
                <a:off x="2055978" y="4681998"/>
                <a:ext cx="94037" cy="213975"/>
              </a:xfrm>
              <a:custGeom>
                <a:avLst/>
                <a:gdLst>
                  <a:gd name="connsiteX0" fmla="*/ 94037 w 94037"/>
                  <a:gd name="connsiteY0" fmla="*/ 0 h 213975"/>
                  <a:gd name="connsiteX1" fmla="*/ 94037 w 94037"/>
                  <a:gd name="connsiteY1" fmla="*/ 213976 h 213975"/>
                  <a:gd name="connsiteX2" fmla="*/ 0 w 94037"/>
                  <a:gd name="connsiteY2" fmla="*/ 213976 h 213975"/>
                  <a:gd name="connsiteX3" fmla="*/ 0 w 94037"/>
                  <a:gd name="connsiteY3" fmla="*/ 0 h 213975"/>
                  <a:gd name="connsiteX4" fmla="*/ 94037 w 94037"/>
                  <a:gd name="connsiteY4" fmla="*/ 0 h 213975"/>
                  <a:gd name="connsiteX5" fmla="*/ 80019 w 94037"/>
                  <a:gd name="connsiteY5" fmla="*/ 162888 h 213975"/>
                  <a:gd name="connsiteX6" fmla="*/ 80019 w 94037"/>
                  <a:gd name="connsiteY6" fmla="*/ 144515 h 213975"/>
                  <a:gd name="connsiteX7" fmla="*/ 78062 w 94037"/>
                  <a:gd name="connsiteY7" fmla="*/ 142558 h 213975"/>
                  <a:gd name="connsiteX8" fmla="*/ 17428 w 94037"/>
                  <a:gd name="connsiteY8" fmla="*/ 142558 h 213975"/>
                  <a:gd name="connsiteX9" fmla="*/ 15472 w 94037"/>
                  <a:gd name="connsiteY9" fmla="*/ 144515 h 213975"/>
                  <a:gd name="connsiteX10" fmla="*/ 15472 w 94037"/>
                  <a:gd name="connsiteY10" fmla="*/ 162888 h 213975"/>
                  <a:gd name="connsiteX11" fmla="*/ 17428 w 94037"/>
                  <a:gd name="connsiteY11" fmla="*/ 164844 h 213975"/>
                  <a:gd name="connsiteX12" fmla="*/ 78062 w 94037"/>
                  <a:gd name="connsiteY12" fmla="*/ 164844 h 213975"/>
                  <a:gd name="connsiteX13" fmla="*/ 80019 w 94037"/>
                  <a:gd name="connsiteY13" fmla="*/ 162888 h 213975"/>
                  <a:gd name="connsiteX14" fmla="*/ 80019 w 94037"/>
                  <a:gd name="connsiteY14" fmla="*/ 131266 h 213975"/>
                  <a:gd name="connsiteX15" fmla="*/ 80019 w 94037"/>
                  <a:gd name="connsiteY15" fmla="*/ 112893 h 213975"/>
                  <a:gd name="connsiteX16" fmla="*/ 78062 w 94037"/>
                  <a:gd name="connsiteY16" fmla="*/ 110937 h 213975"/>
                  <a:gd name="connsiteX17" fmla="*/ 17428 w 94037"/>
                  <a:gd name="connsiteY17" fmla="*/ 110937 h 213975"/>
                  <a:gd name="connsiteX18" fmla="*/ 15472 w 94037"/>
                  <a:gd name="connsiteY18" fmla="*/ 112893 h 213975"/>
                  <a:gd name="connsiteX19" fmla="*/ 15472 w 94037"/>
                  <a:gd name="connsiteY19" fmla="*/ 131266 h 213975"/>
                  <a:gd name="connsiteX20" fmla="*/ 17428 w 94037"/>
                  <a:gd name="connsiteY20" fmla="*/ 133223 h 213975"/>
                  <a:gd name="connsiteX21" fmla="*/ 78062 w 94037"/>
                  <a:gd name="connsiteY21" fmla="*/ 133223 h 213975"/>
                  <a:gd name="connsiteX22" fmla="*/ 80019 w 94037"/>
                  <a:gd name="connsiteY22" fmla="*/ 131266 h 213975"/>
                  <a:gd name="connsiteX23" fmla="*/ 80019 w 94037"/>
                  <a:gd name="connsiteY23" fmla="*/ 99645 h 213975"/>
                  <a:gd name="connsiteX24" fmla="*/ 80019 w 94037"/>
                  <a:gd name="connsiteY24" fmla="*/ 81272 h 213975"/>
                  <a:gd name="connsiteX25" fmla="*/ 78062 w 94037"/>
                  <a:gd name="connsiteY25" fmla="*/ 79315 h 213975"/>
                  <a:gd name="connsiteX26" fmla="*/ 17428 w 94037"/>
                  <a:gd name="connsiteY26" fmla="*/ 79315 h 213975"/>
                  <a:gd name="connsiteX27" fmla="*/ 15472 w 94037"/>
                  <a:gd name="connsiteY27" fmla="*/ 81272 h 213975"/>
                  <a:gd name="connsiteX28" fmla="*/ 15472 w 94037"/>
                  <a:gd name="connsiteY28" fmla="*/ 99645 h 213975"/>
                  <a:gd name="connsiteX29" fmla="*/ 17428 w 94037"/>
                  <a:gd name="connsiteY29" fmla="*/ 101601 h 213975"/>
                  <a:gd name="connsiteX30" fmla="*/ 78062 w 94037"/>
                  <a:gd name="connsiteY30" fmla="*/ 101601 h 213975"/>
                  <a:gd name="connsiteX31" fmla="*/ 80019 w 94037"/>
                  <a:gd name="connsiteY31" fmla="*/ 99645 h 213975"/>
                  <a:gd name="connsiteX32" fmla="*/ 80019 w 94037"/>
                  <a:gd name="connsiteY32" fmla="*/ 68023 h 213975"/>
                  <a:gd name="connsiteX33" fmla="*/ 80019 w 94037"/>
                  <a:gd name="connsiteY33" fmla="*/ 49650 h 213975"/>
                  <a:gd name="connsiteX34" fmla="*/ 78062 w 94037"/>
                  <a:gd name="connsiteY34" fmla="*/ 47694 h 213975"/>
                  <a:gd name="connsiteX35" fmla="*/ 17428 w 94037"/>
                  <a:gd name="connsiteY35" fmla="*/ 47694 h 213975"/>
                  <a:gd name="connsiteX36" fmla="*/ 15472 w 94037"/>
                  <a:gd name="connsiteY36" fmla="*/ 49650 h 213975"/>
                  <a:gd name="connsiteX37" fmla="*/ 15472 w 94037"/>
                  <a:gd name="connsiteY37" fmla="*/ 68023 h 213975"/>
                  <a:gd name="connsiteX38" fmla="*/ 17428 w 94037"/>
                  <a:gd name="connsiteY38" fmla="*/ 69980 h 213975"/>
                  <a:gd name="connsiteX39" fmla="*/ 78062 w 94037"/>
                  <a:gd name="connsiteY39" fmla="*/ 69980 h 213975"/>
                  <a:gd name="connsiteX40" fmla="*/ 80019 w 94037"/>
                  <a:gd name="connsiteY40" fmla="*/ 68023 h 213975"/>
                  <a:gd name="connsiteX41" fmla="*/ 80019 w 94037"/>
                  <a:gd name="connsiteY41" fmla="*/ 36402 h 213975"/>
                  <a:gd name="connsiteX42" fmla="*/ 80019 w 94037"/>
                  <a:gd name="connsiteY42" fmla="*/ 18029 h 213975"/>
                  <a:gd name="connsiteX43" fmla="*/ 78062 w 94037"/>
                  <a:gd name="connsiteY43" fmla="*/ 16073 h 213975"/>
                  <a:gd name="connsiteX44" fmla="*/ 17428 w 94037"/>
                  <a:gd name="connsiteY44" fmla="*/ 16073 h 213975"/>
                  <a:gd name="connsiteX45" fmla="*/ 15472 w 94037"/>
                  <a:gd name="connsiteY45" fmla="*/ 18029 h 213975"/>
                  <a:gd name="connsiteX46" fmla="*/ 15472 w 94037"/>
                  <a:gd name="connsiteY46" fmla="*/ 36402 h 213975"/>
                  <a:gd name="connsiteX47" fmla="*/ 17428 w 94037"/>
                  <a:gd name="connsiteY47" fmla="*/ 38359 h 213975"/>
                  <a:gd name="connsiteX48" fmla="*/ 78062 w 94037"/>
                  <a:gd name="connsiteY48" fmla="*/ 38359 h 213975"/>
                  <a:gd name="connsiteX49" fmla="*/ 80019 w 94037"/>
                  <a:gd name="connsiteY49" fmla="*/ 36402 h 21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94037" h="213975">
                    <a:moveTo>
                      <a:pt x="94037" y="0"/>
                    </a:moveTo>
                    <a:lnTo>
                      <a:pt x="94037" y="213976"/>
                    </a:lnTo>
                    <a:lnTo>
                      <a:pt x="0" y="213976"/>
                    </a:lnTo>
                    <a:lnTo>
                      <a:pt x="0" y="0"/>
                    </a:lnTo>
                    <a:lnTo>
                      <a:pt x="94037" y="0"/>
                    </a:lnTo>
                    <a:close/>
                    <a:moveTo>
                      <a:pt x="80019" y="162888"/>
                    </a:moveTo>
                    <a:lnTo>
                      <a:pt x="80019" y="144515"/>
                    </a:lnTo>
                    <a:cubicBezTo>
                      <a:pt x="80019" y="143431"/>
                      <a:pt x="79146" y="142558"/>
                      <a:pt x="78062" y="142558"/>
                    </a:cubicBezTo>
                    <a:lnTo>
                      <a:pt x="17428" y="142558"/>
                    </a:lnTo>
                    <a:cubicBezTo>
                      <a:pt x="16345" y="142558"/>
                      <a:pt x="15472" y="143431"/>
                      <a:pt x="15472" y="144515"/>
                    </a:cubicBezTo>
                    <a:lnTo>
                      <a:pt x="15472" y="162888"/>
                    </a:lnTo>
                    <a:cubicBezTo>
                      <a:pt x="15472" y="163971"/>
                      <a:pt x="16345" y="164844"/>
                      <a:pt x="17428" y="164844"/>
                    </a:cubicBezTo>
                    <a:lnTo>
                      <a:pt x="78062" y="164844"/>
                    </a:lnTo>
                    <a:cubicBezTo>
                      <a:pt x="79146" y="164844"/>
                      <a:pt x="80019" y="163971"/>
                      <a:pt x="80019" y="162888"/>
                    </a:cubicBezTo>
                    <a:close/>
                    <a:moveTo>
                      <a:pt x="80019" y="131266"/>
                    </a:moveTo>
                    <a:lnTo>
                      <a:pt x="80019" y="112893"/>
                    </a:lnTo>
                    <a:cubicBezTo>
                      <a:pt x="80019" y="111810"/>
                      <a:pt x="79146" y="110937"/>
                      <a:pt x="78062" y="110937"/>
                    </a:cubicBezTo>
                    <a:lnTo>
                      <a:pt x="17428" y="110937"/>
                    </a:lnTo>
                    <a:cubicBezTo>
                      <a:pt x="16345" y="110937"/>
                      <a:pt x="15472" y="111810"/>
                      <a:pt x="15472" y="112893"/>
                    </a:cubicBezTo>
                    <a:lnTo>
                      <a:pt x="15472" y="131266"/>
                    </a:lnTo>
                    <a:cubicBezTo>
                      <a:pt x="15472" y="132350"/>
                      <a:pt x="16345" y="133223"/>
                      <a:pt x="17428" y="133223"/>
                    </a:cubicBezTo>
                    <a:lnTo>
                      <a:pt x="78062" y="133223"/>
                    </a:lnTo>
                    <a:cubicBezTo>
                      <a:pt x="79146" y="133223"/>
                      <a:pt x="80019" y="132350"/>
                      <a:pt x="80019" y="131266"/>
                    </a:cubicBezTo>
                    <a:close/>
                    <a:moveTo>
                      <a:pt x="80019" y="99645"/>
                    </a:moveTo>
                    <a:lnTo>
                      <a:pt x="80019" y="81272"/>
                    </a:lnTo>
                    <a:cubicBezTo>
                      <a:pt x="80019" y="80188"/>
                      <a:pt x="79146" y="79315"/>
                      <a:pt x="78062" y="79315"/>
                    </a:cubicBezTo>
                    <a:lnTo>
                      <a:pt x="17428" y="79315"/>
                    </a:lnTo>
                    <a:cubicBezTo>
                      <a:pt x="16345" y="79315"/>
                      <a:pt x="15472" y="80188"/>
                      <a:pt x="15472" y="81272"/>
                    </a:cubicBezTo>
                    <a:lnTo>
                      <a:pt x="15472" y="99645"/>
                    </a:lnTo>
                    <a:cubicBezTo>
                      <a:pt x="15472" y="100728"/>
                      <a:pt x="16345" y="101601"/>
                      <a:pt x="17428" y="101601"/>
                    </a:cubicBezTo>
                    <a:lnTo>
                      <a:pt x="78062" y="101601"/>
                    </a:lnTo>
                    <a:cubicBezTo>
                      <a:pt x="79146" y="101601"/>
                      <a:pt x="80019" y="100728"/>
                      <a:pt x="80019" y="99645"/>
                    </a:cubicBezTo>
                    <a:close/>
                    <a:moveTo>
                      <a:pt x="80019" y="68023"/>
                    </a:moveTo>
                    <a:lnTo>
                      <a:pt x="80019" y="49650"/>
                    </a:lnTo>
                    <a:cubicBezTo>
                      <a:pt x="80019" y="48567"/>
                      <a:pt x="79146" y="47694"/>
                      <a:pt x="78062" y="47694"/>
                    </a:cubicBezTo>
                    <a:lnTo>
                      <a:pt x="17428" y="47694"/>
                    </a:lnTo>
                    <a:cubicBezTo>
                      <a:pt x="16345" y="47694"/>
                      <a:pt x="15472" y="48567"/>
                      <a:pt x="15472" y="49650"/>
                    </a:cubicBezTo>
                    <a:lnTo>
                      <a:pt x="15472" y="68023"/>
                    </a:lnTo>
                    <a:cubicBezTo>
                      <a:pt x="15472" y="69107"/>
                      <a:pt x="16345" y="69980"/>
                      <a:pt x="17428" y="69980"/>
                    </a:cubicBezTo>
                    <a:lnTo>
                      <a:pt x="78062" y="69980"/>
                    </a:lnTo>
                    <a:cubicBezTo>
                      <a:pt x="79146" y="69980"/>
                      <a:pt x="80019" y="69107"/>
                      <a:pt x="80019" y="68023"/>
                    </a:cubicBezTo>
                    <a:close/>
                    <a:moveTo>
                      <a:pt x="80019" y="36402"/>
                    </a:moveTo>
                    <a:lnTo>
                      <a:pt x="80019" y="18029"/>
                    </a:lnTo>
                    <a:cubicBezTo>
                      <a:pt x="80019" y="16961"/>
                      <a:pt x="79146" y="16073"/>
                      <a:pt x="78062" y="16073"/>
                    </a:cubicBezTo>
                    <a:lnTo>
                      <a:pt x="17428" y="16073"/>
                    </a:lnTo>
                    <a:cubicBezTo>
                      <a:pt x="16345" y="16073"/>
                      <a:pt x="15472" y="16961"/>
                      <a:pt x="15472" y="18029"/>
                    </a:cubicBezTo>
                    <a:lnTo>
                      <a:pt x="15472" y="36402"/>
                    </a:lnTo>
                    <a:cubicBezTo>
                      <a:pt x="15472" y="37486"/>
                      <a:pt x="16345" y="38359"/>
                      <a:pt x="17428" y="38359"/>
                    </a:cubicBezTo>
                    <a:lnTo>
                      <a:pt x="78062" y="38359"/>
                    </a:lnTo>
                    <a:cubicBezTo>
                      <a:pt x="79146" y="38359"/>
                      <a:pt x="80019" y="37486"/>
                      <a:pt x="80019" y="36402"/>
                    </a:cubicBez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08" name="Freeform: Shape 507">
                <a:extLst>
                  <a:ext uri="{FF2B5EF4-FFF2-40B4-BE49-F238E27FC236}">
                    <a16:creationId xmlns:a16="http://schemas.microsoft.com/office/drawing/2014/main" id="{03608983-DAFC-4785-8258-3900145C6490}"/>
                  </a:ext>
                </a:extLst>
              </p:cNvPr>
              <p:cNvSpPr/>
              <p:nvPr/>
            </p:nvSpPr>
            <p:spPr>
              <a:xfrm>
                <a:off x="2128417" y="4621590"/>
                <a:ext cx="10850" cy="6244"/>
              </a:xfrm>
              <a:custGeom>
                <a:avLst/>
                <a:gdLst>
                  <a:gd name="connsiteX0" fmla="*/ 10850 w 10850"/>
                  <a:gd name="connsiteY0" fmla="*/ 0 h 6244"/>
                  <a:gd name="connsiteX1" fmla="*/ 7369 w 10850"/>
                  <a:gd name="connsiteY1" fmla="*/ 6244 h 6244"/>
                  <a:gd name="connsiteX2" fmla="*/ 0 w 10850"/>
                  <a:gd name="connsiteY2" fmla="*/ 6244 h 6244"/>
                  <a:gd name="connsiteX3" fmla="*/ 3481 w 10850"/>
                  <a:gd name="connsiteY3" fmla="*/ 0 h 6244"/>
                  <a:gd name="connsiteX4" fmla="*/ 10850 w 10850"/>
                  <a:gd name="connsiteY4" fmla="*/ 0 h 6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50" h="6244">
                    <a:moveTo>
                      <a:pt x="10850" y="0"/>
                    </a:moveTo>
                    <a:lnTo>
                      <a:pt x="7369" y="6244"/>
                    </a:lnTo>
                    <a:lnTo>
                      <a:pt x="0" y="6244"/>
                    </a:lnTo>
                    <a:lnTo>
                      <a:pt x="3481" y="0"/>
                    </a:lnTo>
                    <a:lnTo>
                      <a:pt x="10850" y="0"/>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09" name="Freeform: Shape 508">
                <a:extLst>
                  <a:ext uri="{FF2B5EF4-FFF2-40B4-BE49-F238E27FC236}">
                    <a16:creationId xmlns:a16="http://schemas.microsoft.com/office/drawing/2014/main" id="{1067A579-FC3E-4904-A4A2-CC3E24954EDB}"/>
                  </a:ext>
                </a:extLst>
              </p:cNvPr>
              <p:cNvSpPr/>
              <p:nvPr/>
            </p:nvSpPr>
            <p:spPr>
              <a:xfrm>
                <a:off x="2071449" y="4824556"/>
                <a:ext cx="64547" cy="22285"/>
              </a:xfrm>
              <a:custGeom>
                <a:avLst/>
                <a:gdLst>
                  <a:gd name="connsiteX0" fmla="*/ 64547 w 64547"/>
                  <a:gd name="connsiteY0" fmla="*/ 1956 h 22285"/>
                  <a:gd name="connsiteX1" fmla="*/ 64547 w 64547"/>
                  <a:gd name="connsiteY1" fmla="*/ 20329 h 22285"/>
                  <a:gd name="connsiteX2" fmla="*/ 62591 w 64547"/>
                  <a:gd name="connsiteY2" fmla="*/ 22286 h 22285"/>
                  <a:gd name="connsiteX3" fmla="*/ 1956 w 64547"/>
                  <a:gd name="connsiteY3" fmla="*/ 22286 h 22285"/>
                  <a:gd name="connsiteX4" fmla="*/ 0 w 64547"/>
                  <a:gd name="connsiteY4" fmla="*/ 20329 h 22285"/>
                  <a:gd name="connsiteX5" fmla="*/ 0 w 64547"/>
                  <a:gd name="connsiteY5" fmla="*/ 1956 h 22285"/>
                  <a:gd name="connsiteX6" fmla="*/ 1956 w 64547"/>
                  <a:gd name="connsiteY6" fmla="*/ 0 h 22285"/>
                  <a:gd name="connsiteX7" fmla="*/ 62591 w 64547"/>
                  <a:gd name="connsiteY7" fmla="*/ 0 h 22285"/>
                  <a:gd name="connsiteX8" fmla="*/ 64547 w 64547"/>
                  <a:gd name="connsiteY8" fmla="*/ 1956 h 22285"/>
                  <a:gd name="connsiteX9" fmla="*/ 60634 w 64547"/>
                  <a:gd name="connsiteY9" fmla="*/ 18373 h 22285"/>
                  <a:gd name="connsiteX10" fmla="*/ 60634 w 64547"/>
                  <a:gd name="connsiteY10" fmla="*/ 3913 h 22285"/>
                  <a:gd name="connsiteX11" fmla="*/ 3913 w 64547"/>
                  <a:gd name="connsiteY11" fmla="*/ 3913 h 22285"/>
                  <a:gd name="connsiteX12" fmla="*/ 3913 w 64547"/>
                  <a:gd name="connsiteY12" fmla="*/ 18373 h 22285"/>
                  <a:gd name="connsiteX13" fmla="*/ 60634 w 64547"/>
                  <a:gd name="connsiteY13" fmla="*/ 18373 h 2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547" h="22285">
                    <a:moveTo>
                      <a:pt x="64547" y="1956"/>
                    </a:moveTo>
                    <a:lnTo>
                      <a:pt x="64547" y="20329"/>
                    </a:lnTo>
                    <a:cubicBezTo>
                      <a:pt x="64547" y="21413"/>
                      <a:pt x="63674" y="22286"/>
                      <a:pt x="62591" y="22286"/>
                    </a:cubicBezTo>
                    <a:lnTo>
                      <a:pt x="1956" y="22286"/>
                    </a:lnTo>
                    <a:cubicBezTo>
                      <a:pt x="873" y="22286"/>
                      <a:pt x="0" y="21413"/>
                      <a:pt x="0" y="20329"/>
                    </a:cubicBezTo>
                    <a:lnTo>
                      <a:pt x="0" y="1956"/>
                    </a:lnTo>
                    <a:cubicBezTo>
                      <a:pt x="0" y="873"/>
                      <a:pt x="873" y="0"/>
                      <a:pt x="1956" y="0"/>
                    </a:cubicBezTo>
                    <a:lnTo>
                      <a:pt x="62591" y="0"/>
                    </a:lnTo>
                    <a:cubicBezTo>
                      <a:pt x="63674" y="0"/>
                      <a:pt x="64547" y="873"/>
                      <a:pt x="64547" y="1956"/>
                    </a:cubicBezTo>
                    <a:close/>
                    <a:moveTo>
                      <a:pt x="60634" y="18373"/>
                    </a:moveTo>
                    <a:lnTo>
                      <a:pt x="60634" y="3913"/>
                    </a:lnTo>
                    <a:lnTo>
                      <a:pt x="3913" y="3913"/>
                    </a:lnTo>
                    <a:lnTo>
                      <a:pt x="3913" y="18373"/>
                    </a:lnTo>
                    <a:lnTo>
                      <a:pt x="60634" y="18373"/>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10" name="Freeform: Shape 509">
                <a:extLst>
                  <a:ext uri="{FF2B5EF4-FFF2-40B4-BE49-F238E27FC236}">
                    <a16:creationId xmlns:a16="http://schemas.microsoft.com/office/drawing/2014/main" id="{639394F6-34C1-4AF9-8681-71F3B1A0C65D}"/>
                  </a:ext>
                </a:extLst>
              </p:cNvPr>
              <p:cNvSpPr/>
              <p:nvPr/>
            </p:nvSpPr>
            <p:spPr>
              <a:xfrm>
                <a:off x="2071449" y="4792940"/>
                <a:ext cx="64547" cy="22285"/>
              </a:xfrm>
              <a:custGeom>
                <a:avLst/>
                <a:gdLst>
                  <a:gd name="connsiteX0" fmla="*/ 64547 w 64547"/>
                  <a:gd name="connsiteY0" fmla="*/ 1956 h 22285"/>
                  <a:gd name="connsiteX1" fmla="*/ 64547 w 64547"/>
                  <a:gd name="connsiteY1" fmla="*/ 20329 h 22285"/>
                  <a:gd name="connsiteX2" fmla="*/ 62591 w 64547"/>
                  <a:gd name="connsiteY2" fmla="*/ 22286 h 22285"/>
                  <a:gd name="connsiteX3" fmla="*/ 1956 w 64547"/>
                  <a:gd name="connsiteY3" fmla="*/ 22286 h 22285"/>
                  <a:gd name="connsiteX4" fmla="*/ 0 w 64547"/>
                  <a:gd name="connsiteY4" fmla="*/ 20329 h 22285"/>
                  <a:gd name="connsiteX5" fmla="*/ 0 w 64547"/>
                  <a:gd name="connsiteY5" fmla="*/ 1956 h 22285"/>
                  <a:gd name="connsiteX6" fmla="*/ 1956 w 64547"/>
                  <a:gd name="connsiteY6" fmla="*/ 0 h 22285"/>
                  <a:gd name="connsiteX7" fmla="*/ 62591 w 64547"/>
                  <a:gd name="connsiteY7" fmla="*/ 0 h 22285"/>
                  <a:gd name="connsiteX8" fmla="*/ 64547 w 64547"/>
                  <a:gd name="connsiteY8" fmla="*/ 1956 h 22285"/>
                  <a:gd name="connsiteX9" fmla="*/ 60634 w 64547"/>
                  <a:gd name="connsiteY9" fmla="*/ 18373 h 22285"/>
                  <a:gd name="connsiteX10" fmla="*/ 60634 w 64547"/>
                  <a:gd name="connsiteY10" fmla="*/ 3913 h 22285"/>
                  <a:gd name="connsiteX11" fmla="*/ 3913 w 64547"/>
                  <a:gd name="connsiteY11" fmla="*/ 3913 h 22285"/>
                  <a:gd name="connsiteX12" fmla="*/ 3913 w 64547"/>
                  <a:gd name="connsiteY12" fmla="*/ 18373 h 22285"/>
                  <a:gd name="connsiteX13" fmla="*/ 60634 w 64547"/>
                  <a:gd name="connsiteY13" fmla="*/ 18373 h 2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547" h="22285">
                    <a:moveTo>
                      <a:pt x="64547" y="1956"/>
                    </a:moveTo>
                    <a:lnTo>
                      <a:pt x="64547" y="20329"/>
                    </a:lnTo>
                    <a:cubicBezTo>
                      <a:pt x="64547" y="21413"/>
                      <a:pt x="63674" y="22286"/>
                      <a:pt x="62591" y="22286"/>
                    </a:cubicBezTo>
                    <a:lnTo>
                      <a:pt x="1956" y="22286"/>
                    </a:lnTo>
                    <a:cubicBezTo>
                      <a:pt x="873" y="22286"/>
                      <a:pt x="0" y="21413"/>
                      <a:pt x="0" y="20329"/>
                    </a:cubicBezTo>
                    <a:lnTo>
                      <a:pt x="0" y="1956"/>
                    </a:lnTo>
                    <a:cubicBezTo>
                      <a:pt x="0" y="873"/>
                      <a:pt x="873" y="0"/>
                      <a:pt x="1956" y="0"/>
                    </a:cubicBezTo>
                    <a:lnTo>
                      <a:pt x="62591" y="0"/>
                    </a:lnTo>
                    <a:cubicBezTo>
                      <a:pt x="63674" y="0"/>
                      <a:pt x="64547" y="873"/>
                      <a:pt x="64547" y="1956"/>
                    </a:cubicBezTo>
                    <a:close/>
                    <a:moveTo>
                      <a:pt x="60634" y="18373"/>
                    </a:moveTo>
                    <a:lnTo>
                      <a:pt x="60634" y="3913"/>
                    </a:lnTo>
                    <a:lnTo>
                      <a:pt x="3913" y="3913"/>
                    </a:lnTo>
                    <a:lnTo>
                      <a:pt x="3913" y="18373"/>
                    </a:lnTo>
                    <a:lnTo>
                      <a:pt x="60634" y="18373"/>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11" name="Freeform: Shape 510">
                <a:extLst>
                  <a:ext uri="{FF2B5EF4-FFF2-40B4-BE49-F238E27FC236}">
                    <a16:creationId xmlns:a16="http://schemas.microsoft.com/office/drawing/2014/main" id="{6AF156F9-F044-49CE-8A59-BA0732349851}"/>
                  </a:ext>
                </a:extLst>
              </p:cNvPr>
              <p:cNvSpPr/>
              <p:nvPr/>
            </p:nvSpPr>
            <p:spPr>
              <a:xfrm>
                <a:off x="2071449" y="4761318"/>
                <a:ext cx="64547" cy="22285"/>
              </a:xfrm>
              <a:custGeom>
                <a:avLst/>
                <a:gdLst>
                  <a:gd name="connsiteX0" fmla="*/ 64547 w 64547"/>
                  <a:gd name="connsiteY0" fmla="*/ 1956 h 22285"/>
                  <a:gd name="connsiteX1" fmla="*/ 64547 w 64547"/>
                  <a:gd name="connsiteY1" fmla="*/ 20330 h 22285"/>
                  <a:gd name="connsiteX2" fmla="*/ 62591 w 64547"/>
                  <a:gd name="connsiteY2" fmla="*/ 22286 h 22285"/>
                  <a:gd name="connsiteX3" fmla="*/ 1956 w 64547"/>
                  <a:gd name="connsiteY3" fmla="*/ 22286 h 22285"/>
                  <a:gd name="connsiteX4" fmla="*/ 0 w 64547"/>
                  <a:gd name="connsiteY4" fmla="*/ 20330 h 22285"/>
                  <a:gd name="connsiteX5" fmla="*/ 0 w 64547"/>
                  <a:gd name="connsiteY5" fmla="*/ 1956 h 22285"/>
                  <a:gd name="connsiteX6" fmla="*/ 1956 w 64547"/>
                  <a:gd name="connsiteY6" fmla="*/ 0 h 22285"/>
                  <a:gd name="connsiteX7" fmla="*/ 62591 w 64547"/>
                  <a:gd name="connsiteY7" fmla="*/ 0 h 22285"/>
                  <a:gd name="connsiteX8" fmla="*/ 64547 w 64547"/>
                  <a:gd name="connsiteY8" fmla="*/ 1956 h 22285"/>
                  <a:gd name="connsiteX9" fmla="*/ 60634 w 64547"/>
                  <a:gd name="connsiteY9" fmla="*/ 18373 h 22285"/>
                  <a:gd name="connsiteX10" fmla="*/ 60634 w 64547"/>
                  <a:gd name="connsiteY10" fmla="*/ 3913 h 22285"/>
                  <a:gd name="connsiteX11" fmla="*/ 3913 w 64547"/>
                  <a:gd name="connsiteY11" fmla="*/ 3913 h 22285"/>
                  <a:gd name="connsiteX12" fmla="*/ 3913 w 64547"/>
                  <a:gd name="connsiteY12" fmla="*/ 18373 h 22285"/>
                  <a:gd name="connsiteX13" fmla="*/ 60634 w 64547"/>
                  <a:gd name="connsiteY13" fmla="*/ 18373 h 2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547" h="22285">
                    <a:moveTo>
                      <a:pt x="64547" y="1956"/>
                    </a:moveTo>
                    <a:lnTo>
                      <a:pt x="64547" y="20330"/>
                    </a:lnTo>
                    <a:cubicBezTo>
                      <a:pt x="64547" y="21413"/>
                      <a:pt x="63674" y="22286"/>
                      <a:pt x="62591" y="22286"/>
                    </a:cubicBezTo>
                    <a:lnTo>
                      <a:pt x="1956" y="22286"/>
                    </a:lnTo>
                    <a:cubicBezTo>
                      <a:pt x="873" y="22286"/>
                      <a:pt x="0" y="21413"/>
                      <a:pt x="0" y="20330"/>
                    </a:cubicBezTo>
                    <a:lnTo>
                      <a:pt x="0" y="1956"/>
                    </a:lnTo>
                    <a:cubicBezTo>
                      <a:pt x="0" y="873"/>
                      <a:pt x="873" y="0"/>
                      <a:pt x="1956" y="0"/>
                    </a:cubicBezTo>
                    <a:lnTo>
                      <a:pt x="62591" y="0"/>
                    </a:lnTo>
                    <a:cubicBezTo>
                      <a:pt x="63674" y="0"/>
                      <a:pt x="64547" y="873"/>
                      <a:pt x="64547" y="1956"/>
                    </a:cubicBezTo>
                    <a:close/>
                    <a:moveTo>
                      <a:pt x="60634" y="18373"/>
                    </a:moveTo>
                    <a:lnTo>
                      <a:pt x="60634" y="3913"/>
                    </a:lnTo>
                    <a:lnTo>
                      <a:pt x="3913" y="3913"/>
                    </a:lnTo>
                    <a:lnTo>
                      <a:pt x="3913" y="18373"/>
                    </a:lnTo>
                    <a:lnTo>
                      <a:pt x="60634" y="18373"/>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12" name="Freeform: Shape 511">
                <a:extLst>
                  <a:ext uri="{FF2B5EF4-FFF2-40B4-BE49-F238E27FC236}">
                    <a16:creationId xmlns:a16="http://schemas.microsoft.com/office/drawing/2014/main" id="{FB1B23C1-FADF-4847-AF16-D65BA8F156AC}"/>
                  </a:ext>
                </a:extLst>
              </p:cNvPr>
              <p:cNvSpPr/>
              <p:nvPr/>
            </p:nvSpPr>
            <p:spPr>
              <a:xfrm>
                <a:off x="2071449" y="4729697"/>
                <a:ext cx="64547" cy="22285"/>
              </a:xfrm>
              <a:custGeom>
                <a:avLst/>
                <a:gdLst>
                  <a:gd name="connsiteX0" fmla="*/ 64547 w 64547"/>
                  <a:gd name="connsiteY0" fmla="*/ 1956 h 22285"/>
                  <a:gd name="connsiteX1" fmla="*/ 64547 w 64547"/>
                  <a:gd name="connsiteY1" fmla="*/ 20329 h 22285"/>
                  <a:gd name="connsiteX2" fmla="*/ 62591 w 64547"/>
                  <a:gd name="connsiteY2" fmla="*/ 22286 h 22285"/>
                  <a:gd name="connsiteX3" fmla="*/ 1956 w 64547"/>
                  <a:gd name="connsiteY3" fmla="*/ 22286 h 22285"/>
                  <a:gd name="connsiteX4" fmla="*/ 0 w 64547"/>
                  <a:gd name="connsiteY4" fmla="*/ 20329 h 22285"/>
                  <a:gd name="connsiteX5" fmla="*/ 0 w 64547"/>
                  <a:gd name="connsiteY5" fmla="*/ 1956 h 22285"/>
                  <a:gd name="connsiteX6" fmla="*/ 1956 w 64547"/>
                  <a:gd name="connsiteY6" fmla="*/ 0 h 22285"/>
                  <a:gd name="connsiteX7" fmla="*/ 62591 w 64547"/>
                  <a:gd name="connsiteY7" fmla="*/ 0 h 22285"/>
                  <a:gd name="connsiteX8" fmla="*/ 64547 w 64547"/>
                  <a:gd name="connsiteY8" fmla="*/ 1956 h 22285"/>
                  <a:gd name="connsiteX9" fmla="*/ 60634 w 64547"/>
                  <a:gd name="connsiteY9" fmla="*/ 18373 h 22285"/>
                  <a:gd name="connsiteX10" fmla="*/ 60634 w 64547"/>
                  <a:gd name="connsiteY10" fmla="*/ 3913 h 22285"/>
                  <a:gd name="connsiteX11" fmla="*/ 3913 w 64547"/>
                  <a:gd name="connsiteY11" fmla="*/ 3913 h 22285"/>
                  <a:gd name="connsiteX12" fmla="*/ 3913 w 64547"/>
                  <a:gd name="connsiteY12" fmla="*/ 18373 h 22285"/>
                  <a:gd name="connsiteX13" fmla="*/ 60634 w 64547"/>
                  <a:gd name="connsiteY13" fmla="*/ 18373 h 2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547" h="22285">
                    <a:moveTo>
                      <a:pt x="64547" y="1956"/>
                    </a:moveTo>
                    <a:lnTo>
                      <a:pt x="64547" y="20329"/>
                    </a:lnTo>
                    <a:cubicBezTo>
                      <a:pt x="64547" y="21413"/>
                      <a:pt x="63674" y="22286"/>
                      <a:pt x="62591" y="22286"/>
                    </a:cubicBezTo>
                    <a:lnTo>
                      <a:pt x="1956" y="22286"/>
                    </a:lnTo>
                    <a:cubicBezTo>
                      <a:pt x="873" y="22286"/>
                      <a:pt x="0" y="21413"/>
                      <a:pt x="0" y="20329"/>
                    </a:cubicBezTo>
                    <a:lnTo>
                      <a:pt x="0" y="1956"/>
                    </a:lnTo>
                    <a:cubicBezTo>
                      <a:pt x="0" y="873"/>
                      <a:pt x="873" y="0"/>
                      <a:pt x="1956" y="0"/>
                    </a:cubicBezTo>
                    <a:lnTo>
                      <a:pt x="62591" y="0"/>
                    </a:lnTo>
                    <a:cubicBezTo>
                      <a:pt x="63674" y="0"/>
                      <a:pt x="64547" y="873"/>
                      <a:pt x="64547" y="1956"/>
                    </a:cubicBezTo>
                    <a:close/>
                    <a:moveTo>
                      <a:pt x="60634" y="18373"/>
                    </a:moveTo>
                    <a:lnTo>
                      <a:pt x="60634" y="3913"/>
                    </a:lnTo>
                    <a:lnTo>
                      <a:pt x="3913" y="3913"/>
                    </a:lnTo>
                    <a:lnTo>
                      <a:pt x="3913" y="18373"/>
                    </a:lnTo>
                    <a:lnTo>
                      <a:pt x="60634" y="18373"/>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13" name="Freeform: Shape 512">
                <a:extLst>
                  <a:ext uri="{FF2B5EF4-FFF2-40B4-BE49-F238E27FC236}">
                    <a16:creationId xmlns:a16="http://schemas.microsoft.com/office/drawing/2014/main" id="{923EB80F-EA16-4357-BD08-8A07749BF270}"/>
                  </a:ext>
                </a:extLst>
              </p:cNvPr>
              <p:cNvSpPr/>
              <p:nvPr/>
            </p:nvSpPr>
            <p:spPr>
              <a:xfrm>
                <a:off x="2071449" y="4698076"/>
                <a:ext cx="64547" cy="22285"/>
              </a:xfrm>
              <a:custGeom>
                <a:avLst/>
                <a:gdLst>
                  <a:gd name="connsiteX0" fmla="*/ 64547 w 64547"/>
                  <a:gd name="connsiteY0" fmla="*/ 1956 h 22285"/>
                  <a:gd name="connsiteX1" fmla="*/ 64547 w 64547"/>
                  <a:gd name="connsiteY1" fmla="*/ 20330 h 22285"/>
                  <a:gd name="connsiteX2" fmla="*/ 62591 w 64547"/>
                  <a:gd name="connsiteY2" fmla="*/ 22286 h 22285"/>
                  <a:gd name="connsiteX3" fmla="*/ 1956 w 64547"/>
                  <a:gd name="connsiteY3" fmla="*/ 22286 h 22285"/>
                  <a:gd name="connsiteX4" fmla="*/ 0 w 64547"/>
                  <a:gd name="connsiteY4" fmla="*/ 20330 h 22285"/>
                  <a:gd name="connsiteX5" fmla="*/ 0 w 64547"/>
                  <a:gd name="connsiteY5" fmla="*/ 1956 h 22285"/>
                  <a:gd name="connsiteX6" fmla="*/ 1956 w 64547"/>
                  <a:gd name="connsiteY6" fmla="*/ 0 h 22285"/>
                  <a:gd name="connsiteX7" fmla="*/ 62591 w 64547"/>
                  <a:gd name="connsiteY7" fmla="*/ 0 h 22285"/>
                  <a:gd name="connsiteX8" fmla="*/ 64547 w 64547"/>
                  <a:gd name="connsiteY8" fmla="*/ 1956 h 22285"/>
                  <a:gd name="connsiteX9" fmla="*/ 60634 w 64547"/>
                  <a:gd name="connsiteY9" fmla="*/ 18373 h 22285"/>
                  <a:gd name="connsiteX10" fmla="*/ 60634 w 64547"/>
                  <a:gd name="connsiteY10" fmla="*/ 3913 h 22285"/>
                  <a:gd name="connsiteX11" fmla="*/ 3913 w 64547"/>
                  <a:gd name="connsiteY11" fmla="*/ 3913 h 22285"/>
                  <a:gd name="connsiteX12" fmla="*/ 3913 w 64547"/>
                  <a:gd name="connsiteY12" fmla="*/ 18373 h 22285"/>
                  <a:gd name="connsiteX13" fmla="*/ 60634 w 64547"/>
                  <a:gd name="connsiteY13" fmla="*/ 18373 h 22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547" h="22285">
                    <a:moveTo>
                      <a:pt x="64547" y="1956"/>
                    </a:moveTo>
                    <a:lnTo>
                      <a:pt x="64547" y="20330"/>
                    </a:lnTo>
                    <a:cubicBezTo>
                      <a:pt x="64547" y="21413"/>
                      <a:pt x="63674" y="22286"/>
                      <a:pt x="62591" y="22286"/>
                    </a:cubicBezTo>
                    <a:lnTo>
                      <a:pt x="1956" y="22286"/>
                    </a:lnTo>
                    <a:cubicBezTo>
                      <a:pt x="873" y="22286"/>
                      <a:pt x="0" y="21413"/>
                      <a:pt x="0" y="20330"/>
                    </a:cubicBezTo>
                    <a:lnTo>
                      <a:pt x="0" y="1956"/>
                    </a:lnTo>
                    <a:cubicBezTo>
                      <a:pt x="0" y="888"/>
                      <a:pt x="873" y="0"/>
                      <a:pt x="1956" y="0"/>
                    </a:cubicBezTo>
                    <a:lnTo>
                      <a:pt x="62591" y="0"/>
                    </a:lnTo>
                    <a:cubicBezTo>
                      <a:pt x="63674" y="0"/>
                      <a:pt x="64547" y="888"/>
                      <a:pt x="64547" y="1956"/>
                    </a:cubicBezTo>
                    <a:close/>
                    <a:moveTo>
                      <a:pt x="60634" y="18373"/>
                    </a:moveTo>
                    <a:lnTo>
                      <a:pt x="60634" y="3913"/>
                    </a:lnTo>
                    <a:lnTo>
                      <a:pt x="3913" y="3913"/>
                    </a:lnTo>
                    <a:lnTo>
                      <a:pt x="3913" y="18373"/>
                    </a:lnTo>
                    <a:lnTo>
                      <a:pt x="60634" y="18373"/>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14" name="Freeform: Shape 513">
                <a:extLst>
                  <a:ext uri="{FF2B5EF4-FFF2-40B4-BE49-F238E27FC236}">
                    <a16:creationId xmlns:a16="http://schemas.microsoft.com/office/drawing/2014/main" id="{13072123-A27D-4CCF-BEC3-F6F86AE9E64E}"/>
                  </a:ext>
                </a:extLst>
              </p:cNvPr>
              <p:cNvSpPr/>
              <p:nvPr/>
            </p:nvSpPr>
            <p:spPr>
              <a:xfrm>
                <a:off x="2122512" y="4631747"/>
                <a:ext cx="11096" cy="6690"/>
              </a:xfrm>
              <a:custGeom>
                <a:avLst/>
                <a:gdLst>
                  <a:gd name="connsiteX0" fmla="*/ 11097 w 11096"/>
                  <a:gd name="connsiteY0" fmla="*/ 0 h 6690"/>
                  <a:gd name="connsiteX1" fmla="*/ 7379 w 11096"/>
                  <a:gd name="connsiteY1" fmla="*/ 6691 h 6690"/>
                  <a:gd name="connsiteX2" fmla="*/ 0 w 11096"/>
                  <a:gd name="connsiteY2" fmla="*/ 6691 h 6690"/>
                  <a:gd name="connsiteX3" fmla="*/ 3728 w 11096"/>
                  <a:gd name="connsiteY3" fmla="*/ 0 h 6690"/>
                  <a:gd name="connsiteX4" fmla="*/ 11097 w 11096"/>
                  <a:gd name="connsiteY4" fmla="*/ 0 h 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96" h="6690">
                    <a:moveTo>
                      <a:pt x="11097" y="0"/>
                    </a:moveTo>
                    <a:lnTo>
                      <a:pt x="7379" y="6691"/>
                    </a:lnTo>
                    <a:lnTo>
                      <a:pt x="0" y="6691"/>
                    </a:lnTo>
                    <a:lnTo>
                      <a:pt x="3728" y="0"/>
                    </a:lnTo>
                    <a:lnTo>
                      <a:pt x="11097" y="0"/>
                    </a:ln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15" name="Freeform: Shape 514">
                <a:extLst>
                  <a:ext uri="{FF2B5EF4-FFF2-40B4-BE49-F238E27FC236}">
                    <a16:creationId xmlns:a16="http://schemas.microsoft.com/office/drawing/2014/main" id="{EDE9155E-39CA-48A4-881E-47BE05147E4B}"/>
                  </a:ext>
                </a:extLst>
              </p:cNvPr>
              <p:cNvSpPr/>
              <p:nvPr/>
            </p:nvSpPr>
            <p:spPr>
              <a:xfrm>
                <a:off x="2075362" y="4828469"/>
                <a:ext cx="56721" cy="14460"/>
              </a:xfrm>
              <a:custGeom>
                <a:avLst/>
                <a:gdLst>
                  <a:gd name="connsiteX0" fmla="*/ 0 w 56721"/>
                  <a:gd name="connsiteY0" fmla="*/ 0 h 14460"/>
                  <a:gd name="connsiteX1" fmla="*/ 56721 w 56721"/>
                  <a:gd name="connsiteY1" fmla="*/ 0 h 14460"/>
                  <a:gd name="connsiteX2" fmla="*/ 56721 w 56721"/>
                  <a:gd name="connsiteY2" fmla="*/ 14460 h 14460"/>
                  <a:gd name="connsiteX3" fmla="*/ 0 w 56721"/>
                  <a:gd name="connsiteY3" fmla="*/ 14460 h 14460"/>
                </a:gdLst>
                <a:ahLst/>
                <a:cxnLst>
                  <a:cxn ang="0">
                    <a:pos x="connsiteX0" y="connsiteY0"/>
                  </a:cxn>
                  <a:cxn ang="0">
                    <a:pos x="connsiteX1" y="connsiteY1"/>
                  </a:cxn>
                  <a:cxn ang="0">
                    <a:pos x="connsiteX2" y="connsiteY2"/>
                  </a:cxn>
                  <a:cxn ang="0">
                    <a:pos x="connsiteX3" y="connsiteY3"/>
                  </a:cxn>
                </a:cxnLst>
                <a:rect l="l" t="t" r="r" b="b"/>
                <a:pathLst>
                  <a:path w="56721" h="14460">
                    <a:moveTo>
                      <a:pt x="0" y="0"/>
                    </a:moveTo>
                    <a:lnTo>
                      <a:pt x="56721" y="0"/>
                    </a:lnTo>
                    <a:lnTo>
                      <a:pt x="56721" y="14460"/>
                    </a:lnTo>
                    <a:lnTo>
                      <a:pt x="0" y="14460"/>
                    </a:ln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16" name="Freeform: Shape 515">
                <a:extLst>
                  <a:ext uri="{FF2B5EF4-FFF2-40B4-BE49-F238E27FC236}">
                    <a16:creationId xmlns:a16="http://schemas.microsoft.com/office/drawing/2014/main" id="{4F2C759E-451B-43B5-8F2F-04E071B5FF5B}"/>
                  </a:ext>
                </a:extLst>
              </p:cNvPr>
              <p:cNvSpPr/>
              <p:nvPr/>
            </p:nvSpPr>
            <p:spPr>
              <a:xfrm>
                <a:off x="2075362" y="4796853"/>
                <a:ext cx="56721" cy="14460"/>
              </a:xfrm>
              <a:custGeom>
                <a:avLst/>
                <a:gdLst>
                  <a:gd name="connsiteX0" fmla="*/ 0 w 56721"/>
                  <a:gd name="connsiteY0" fmla="*/ 0 h 14460"/>
                  <a:gd name="connsiteX1" fmla="*/ 56721 w 56721"/>
                  <a:gd name="connsiteY1" fmla="*/ 0 h 14460"/>
                  <a:gd name="connsiteX2" fmla="*/ 56721 w 56721"/>
                  <a:gd name="connsiteY2" fmla="*/ 14460 h 14460"/>
                  <a:gd name="connsiteX3" fmla="*/ 0 w 56721"/>
                  <a:gd name="connsiteY3" fmla="*/ 14460 h 14460"/>
                </a:gdLst>
                <a:ahLst/>
                <a:cxnLst>
                  <a:cxn ang="0">
                    <a:pos x="connsiteX0" y="connsiteY0"/>
                  </a:cxn>
                  <a:cxn ang="0">
                    <a:pos x="connsiteX1" y="connsiteY1"/>
                  </a:cxn>
                  <a:cxn ang="0">
                    <a:pos x="connsiteX2" y="connsiteY2"/>
                  </a:cxn>
                  <a:cxn ang="0">
                    <a:pos x="connsiteX3" y="connsiteY3"/>
                  </a:cxn>
                </a:cxnLst>
                <a:rect l="l" t="t" r="r" b="b"/>
                <a:pathLst>
                  <a:path w="56721" h="14460">
                    <a:moveTo>
                      <a:pt x="0" y="0"/>
                    </a:moveTo>
                    <a:lnTo>
                      <a:pt x="56721" y="0"/>
                    </a:lnTo>
                    <a:lnTo>
                      <a:pt x="56721" y="14460"/>
                    </a:lnTo>
                    <a:lnTo>
                      <a:pt x="0" y="14460"/>
                    </a:ln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17" name="Freeform: Shape 516">
                <a:extLst>
                  <a:ext uri="{FF2B5EF4-FFF2-40B4-BE49-F238E27FC236}">
                    <a16:creationId xmlns:a16="http://schemas.microsoft.com/office/drawing/2014/main" id="{6C2DBDCE-B061-4B95-BE72-5E21F841F2E6}"/>
                  </a:ext>
                </a:extLst>
              </p:cNvPr>
              <p:cNvSpPr/>
              <p:nvPr/>
            </p:nvSpPr>
            <p:spPr>
              <a:xfrm>
                <a:off x="2075362" y="4765231"/>
                <a:ext cx="56721" cy="14460"/>
              </a:xfrm>
              <a:custGeom>
                <a:avLst/>
                <a:gdLst>
                  <a:gd name="connsiteX0" fmla="*/ 0 w 56721"/>
                  <a:gd name="connsiteY0" fmla="*/ 0 h 14460"/>
                  <a:gd name="connsiteX1" fmla="*/ 56721 w 56721"/>
                  <a:gd name="connsiteY1" fmla="*/ 0 h 14460"/>
                  <a:gd name="connsiteX2" fmla="*/ 56721 w 56721"/>
                  <a:gd name="connsiteY2" fmla="*/ 14460 h 14460"/>
                  <a:gd name="connsiteX3" fmla="*/ 0 w 56721"/>
                  <a:gd name="connsiteY3" fmla="*/ 14460 h 14460"/>
                </a:gdLst>
                <a:ahLst/>
                <a:cxnLst>
                  <a:cxn ang="0">
                    <a:pos x="connsiteX0" y="connsiteY0"/>
                  </a:cxn>
                  <a:cxn ang="0">
                    <a:pos x="connsiteX1" y="connsiteY1"/>
                  </a:cxn>
                  <a:cxn ang="0">
                    <a:pos x="connsiteX2" y="connsiteY2"/>
                  </a:cxn>
                  <a:cxn ang="0">
                    <a:pos x="connsiteX3" y="connsiteY3"/>
                  </a:cxn>
                </a:cxnLst>
                <a:rect l="l" t="t" r="r" b="b"/>
                <a:pathLst>
                  <a:path w="56721" h="14460">
                    <a:moveTo>
                      <a:pt x="0" y="0"/>
                    </a:moveTo>
                    <a:lnTo>
                      <a:pt x="56721" y="0"/>
                    </a:lnTo>
                    <a:lnTo>
                      <a:pt x="56721" y="14460"/>
                    </a:lnTo>
                    <a:lnTo>
                      <a:pt x="0" y="14460"/>
                    </a:ln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18" name="Freeform: Shape 517">
                <a:extLst>
                  <a:ext uri="{FF2B5EF4-FFF2-40B4-BE49-F238E27FC236}">
                    <a16:creationId xmlns:a16="http://schemas.microsoft.com/office/drawing/2014/main" id="{8B5AE831-C170-485D-AF8B-3BCDC30DD881}"/>
                  </a:ext>
                </a:extLst>
              </p:cNvPr>
              <p:cNvSpPr/>
              <p:nvPr/>
            </p:nvSpPr>
            <p:spPr>
              <a:xfrm>
                <a:off x="2075362" y="4733610"/>
                <a:ext cx="56721" cy="14460"/>
              </a:xfrm>
              <a:custGeom>
                <a:avLst/>
                <a:gdLst>
                  <a:gd name="connsiteX0" fmla="*/ 0 w 56721"/>
                  <a:gd name="connsiteY0" fmla="*/ 0 h 14460"/>
                  <a:gd name="connsiteX1" fmla="*/ 56721 w 56721"/>
                  <a:gd name="connsiteY1" fmla="*/ 0 h 14460"/>
                  <a:gd name="connsiteX2" fmla="*/ 56721 w 56721"/>
                  <a:gd name="connsiteY2" fmla="*/ 14460 h 14460"/>
                  <a:gd name="connsiteX3" fmla="*/ 0 w 56721"/>
                  <a:gd name="connsiteY3" fmla="*/ 14460 h 14460"/>
                </a:gdLst>
                <a:ahLst/>
                <a:cxnLst>
                  <a:cxn ang="0">
                    <a:pos x="connsiteX0" y="connsiteY0"/>
                  </a:cxn>
                  <a:cxn ang="0">
                    <a:pos x="connsiteX1" y="connsiteY1"/>
                  </a:cxn>
                  <a:cxn ang="0">
                    <a:pos x="connsiteX2" y="connsiteY2"/>
                  </a:cxn>
                  <a:cxn ang="0">
                    <a:pos x="connsiteX3" y="connsiteY3"/>
                  </a:cxn>
                </a:cxnLst>
                <a:rect l="l" t="t" r="r" b="b"/>
                <a:pathLst>
                  <a:path w="56721" h="14460">
                    <a:moveTo>
                      <a:pt x="0" y="0"/>
                    </a:moveTo>
                    <a:lnTo>
                      <a:pt x="56721" y="0"/>
                    </a:lnTo>
                    <a:lnTo>
                      <a:pt x="56721" y="14460"/>
                    </a:lnTo>
                    <a:lnTo>
                      <a:pt x="0" y="14460"/>
                    </a:ln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19" name="Freeform: Shape 518">
                <a:extLst>
                  <a:ext uri="{FF2B5EF4-FFF2-40B4-BE49-F238E27FC236}">
                    <a16:creationId xmlns:a16="http://schemas.microsoft.com/office/drawing/2014/main" id="{06C50E63-96E4-4B68-8B18-65BB47C64006}"/>
                  </a:ext>
                </a:extLst>
              </p:cNvPr>
              <p:cNvSpPr/>
              <p:nvPr/>
            </p:nvSpPr>
            <p:spPr>
              <a:xfrm>
                <a:off x="2075362" y="4701989"/>
                <a:ext cx="56721" cy="14460"/>
              </a:xfrm>
              <a:custGeom>
                <a:avLst/>
                <a:gdLst>
                  <a:gd name="connsiteX0" fmla="*/ 0 w 56721"/>
                  <a:gd name="connsiteY0" fmla="*/ 0 h 14460"/>
                  <a:gd name="connsiteX1" fmla="*/ 56721 w 56721"/>
                  <a:gd name="connsiteY1" fmla="*/ 0 h 14460"/>
                  <a:gd name="connsiteX2" fmla="*/ 56721 w 56721"/>
                  <a:gd name="connsiteY2" fmla="*/ 14460 h 14460"/>
                  <a:gd name="connsiteX3" fmla="*/ 0 w 56721"/>
                  <a:gd name="connsiteY3" fmla="*/ 14460 h 14460"/>
                </a:gdLst>
                <a:ahLst/>
                <a:cxnLst>
                  <a:cxn ang="0">
                    <a:pos x="connsiteX0" y="connsiteY0"/>
                  </a:cxn>
                  <a:cxn ang="0">
                    <a:pos x="connsiteX1" y="connsiteY1"/>
                  </a:cxn>
                  <a:cxn ang="0">
                    <a:pos x="connsiteX2" y="connsiteY2"/>
                  </a:cxn>
                  <a:cxn ang="0">
                    <a:pos x="connsiteX3" y="connsiteY3"/>
                  </a:cxn>
                </a:cxnLst>
                <a:rect l="l" t="t" r="r" b="b"/>
                <a:pathLst>
                  <a:path w="56721" h="14460">
                    <a:moveTo>
                      <a:pt x="0" y="0"/>
                    </a:moveTo>
                    <a:lnTo>
                      <a:pt x="56721" y="0"/>
                    </a:lnTo>
                    <a:lnTo>
                      <a:pt x="56721" y="14460"/>
                    </a:lnTo>
                    <a:lnTo>
                      <a:pt x="0" y="14460"/>
                    </a:ln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20" name="Freeform: Shape 519">
                <a:extLst>
                  <a:ext uri="{FF2B5EF4-FFF2-40B4-BE49-F238E27FC236}">
                    <a16:creationId xmlns:a16="http://schemas.microsoft.com/office/drawing/2014/main" id="{AE6AEE2C-5902-4F47-B5EF-C18CA60DFE41}"/>
                  </a:ext>
                </a:extLst>
              </p:cNvPr>
              <p:cNvSpPr/>
              <p:nvPr/>
            </p:nvSpPr>
            <p:spPr>
              <a:xfrm>
                <a:off x="2116617" y="4642345"/>
                <a:ext cx="11096" cy="6726"/>
              </a:xfrm>
              <a:custGeom>
                <a:avLst/>
                <a:gdLst>
                  <a:gd name="connsiteX0" fmla="*/ 11097 w 11096"/>
                  <a:gd name="connsiteY0" fmla="*/ 0 h 6726"/>
                  <a:gd name="connsiteX1" fmla="*/ 7353 w 11096"/>
                  <a:gd name="connsiteY1" fmla="*/ 6727 h 6726"/>
                  <a:gd name="connsiteX2" fmla="*/ 7030 w 11096"/>
                  <a:gd name="connsiteY2" fmla="*/ 6701 h 6726"/>
                  <a:gd name="connsiteX3" fmla="*/ 0 w 11096"/>
                  <a:gd name="connsiteY3" fmla="*/ 6701 h 6726"/>
                  <a:gd name="connsiteX4" fmla="*/ 3718 w 11096"/>
                  <a:gd name="connsiteY4" fmla="*/ 0 h 6726"/>
                  <a:gd name="connsiteX5" fmla="*/ 11097 w 11096"/>
                  <a:gd name="connsiteY5" fmla="*/ 0 h 6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6" h="6726">
                    <a:moveTo>
                      <a:pt x="11097" y="0"/>
                    </a:moveTo>
                    <a:lnTo>
                      <a:pt x="7353" y="6727"/>
                    </a:lnTo>
                    <a:cubicBezTo>
                      <a:pt x="7251" y="6711"/>
                      <a:pt x="7133" y="6701"/>
                      <a:pt x="7030" y="6701"/>
                    </a:cubicBezTo>
                    <a:lnTo>
                      <a:pt x="0" y="6701"/>
                    </a:lnTo>
                    <a:lnTo>
                      <a:pt x="3718" y="0"/>
                    </a:lnTo>
                    <a:lnTo>
                      <a:pt x="11097" y="0"/>
                    </a:ln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21" name="Freeform: Shape 520">
                <a:extLst>
                  <a:ext uri="{FF2B5EF4-FFF2-40B4-BE49-F238E27FC236}">
                    <a16:creationId xmlns:a16="http://schemas.microsoft.com/office/drawing/2014/main" id="{28F3E226-36A9-4C7C-8FD1-7985200D252A}"/>
                  </a:ext>
                </a:extLst>
              </p:cNvPr>
              <p:cNvSpPr/>
              <p:nvPr/>
            </p:nvSpPr>
            <p:spPr>
              <a:xfrm>
                <a:off x="2110712" y="4652959"/>
                <a:ext cx="11096" cy="6690"/>
              </a:xfrm>
              <a:custGeom>
                <a:avLst/>
                <a:gdLst>
                  <a:gd name="connsiteX0" fmla="*/ 11097 w 11096"/>
                  <a:gd name="connsiteY0" fmla="*/ 0 h 6690"/>
                  <a:gd name="connsiteX1" fmla="*/ 7379 w 11096"/>
                  <a:gd name="connsiteY1" fmla="*/ 6691 h 6690"/>
                  <a:gd name="connsiteX2" fmla="*/ 0 w 11096"/>
                  <a:gd name="connsiteY2" fmla="*/ 6691 h 6690"/>
                  <a:gd name="connsiteX3" fmla="*/ 3728 w 11096"/>
                  <a:gd name="connsiteY3" fmla="*/ 0 h 6690"/>
                  <a:gd name="connsiteX4" fmla="*/ 11097 w 11096"/>
                  <a:gd name="connsiteY4" fmla="*/ 0 h 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096" h="6690">
                    <a:moveTo>
                      <a:pt x="11097" y="0"/>
                    </a:moveTo>
                    <a:lnTo>
                      <a:pt x="7379" y="6691"/>
                    </a:lnTo>
                    <a:lnTo>
                      <a:pt x="0" y="6691"/>
                    </a:lnTo>
                    <a:lnTo>
                      <a:pt x="3728" y="0"/>
                    </a:lnTo>
                    <a:lnTo>
                      <a:pt x="11097" y="0"/>
                    </a:ln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22" name="Freeform: Shape 521">
                <a:extLst>
                  <a:ext uri="{FF2B5EF4-FFF2-40B4-BE49-F238E27FC236}">
                    <a16:creationId xmlns:a16="http://schemas.microsoft.com/office/drawing/2014/main" id="{37F45744-2B9D-427F-A2A9-8E90237E9560}"/>
                  </a:ext>
                </a:extLst>
              </p:cNvPr>
              <p:cNvSpPr/>
              <p:nvPr/>
            </p:nvSpPr>
            <p:spPr>
              <a:xfrm>
                <a:off x="2109957" y="4631747"/>
                <a:ext cx="11810" cy="6690"/>
              </a:xfrm>
              <a:custGeom>
                <a:avLst/>
                <a:gdLst>
                  <a:gd name="connsiteX0" fmla="*/ 11811 w 11810"/>
                  <a:gd name="connsiteY0" fmla="*/ 0 h 6690"/>
                  <a:gd name="connsiteX1" fmla="*/ 8082 w 11810"/>
                  <a:gd name="connsiteY1" fmla="*/ 6691 h 6690"/>
                  <a:gd name="connsiteX2" fmla="*/ 0 w 11810"/>
                  <a:gd name="connsiteY2" fmla="*/ 6691 h 6690"/>
                  <a:gd name="connsiteX3" fmla="*/ 3713 w 11810"/>
                  <a:gd name="connsiteY3" fmla="*/ 0 h 6690"/>
                  <a:gd name="connsiteX4" fmla="*/ 11811 w 11810"/>
                  <a:gd name="connsiteY4" fmla="*/ 0 h 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0" h="6690">
                    <a:moveTo>
                      <a:pt x="11811" y="0"/>
                    </a:moveTo>
                    <a:lnTo>
                      <a:pt x="8082" y="6691"/>
                    </a:lnTo>
                    <a:lnTo>
                      <a:pt x="0" y="6691"/>
                    </a:lnTo>
                    <a:lnTo>
                      <a:pt x="3713" y="0"/>
                    </a:lnTo>
                    <a:lnTo>
                      <a:pt x="11811" y="0"/>
                    </a:ln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23" name="Freeform: Shape 522">
                <a:extLst>
                  <a:ext uri="{FF2B5EF4-FFF2-40B4-BE49-F238E27FC236}">
                    <a16:creationId xmlns:a16="http://schemas.microsoft.com/office/drawing/2014/main" id="{FBC6A0A8-B6A8-41D5-BE62-F5DE39993558}"/>
                  </a:ext>
                </a:extLst>
              </p:cNvPr>
              <p:cNvSpPr/>
              <p:nvPr/>
            </p:nvSpPr>
            <p:spPr>
              <a:xfrm>
                <a:off x="2104046" y="4642345"/>
                <a:ext cx="11815" cy="6706"/>
              </a:xfrm>
              <a:custGeom>
                <a:avLst/>
                <a:gdLst>
                  <a:gd name="connsiteX0" fmla="*/ 11816 w 11815"/>
                  <a:gd name="connsiteY0" fmla="*/ 0 h 6706"/>
                  <a:gd name="connsiteX1" fmla="*/ 8098 w 11815"/>
                  <a:gd name="connsiteY1" fmla="*/ 6706 h 6706"/>
                  <a:gd name="connsiteX2" fmla="*/ 0 w 11815"/>
                  <a:gd name="connsiteY2" fmla="*/ 6706 h 6706"/>
                  <a:gd name="connsiteX3" fmla="*/ 3733 w 11815"/>
                  <a:gd name="connsiteY3" fmla="*/ 0 h 6706"/>
                  <a:gd name="connsiteX4" fmla="*/ 11816 w 11815"/>
                  <a:gd name="connsiteY4" fmla="*/ 0 h 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5" h="6706">
                    <a:moveTo>
                      <a:pt x="11816" y="0"/>
                    </a:moveTo>
                    <a:lnTo>
                      <a:pt x="8098" y="6706"/>
                    </a:lnTo>
                    <a:lnTo>
                      <a:pt x="0" y="6706"/>
                    </a:lnTo>
                    <a:lnTo>
                      <a:pt x="3733" y="0"/>
                    </a:lnTo>
                    <a:lnTo>
                      <a:pt x="11816" y="0"/>
                    </a:ln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24" name="Freeform: Shape 523">
                <a:extLst>
                  <a:ext uri="{FF2B5EF4-FFF2-40B4-BE49-F238E27FC236}">
                    <a16:creationId xmlns:a16="http://schemas.microsoft.com/office/drawing/2014/main" id="{143DF02F-71B0-401F-81C0-327919C34DD0}"/>
                  </a:ext>
                </a:extLst>
              </p:cNvPr>
              <p:cNvSpPr/>
              <p:nvPr/>
            </p:nvSpPr>
            <p:spPr>
              <a:xfrm>
                <a:off x="2098156" y="4652959"/>
                <a:ext cx="11810" cy="6690"/>
              </a:xfrm>
              <a:custGeom>
                <a:avLst/>
                <a:gdLst>
                  <a:gd name="connsiteX0" fmla="*/ 11811 w 11810"/>
                  <a:gd name="connsiteY0" fmla="*/ 0 h 6690"/>
                  <a:gd name="connsiteX1" fmla="*/ 8082 w 11810"/>
                  <a:gd name="connsiteY1" fmla="*/ 6691 h 6690"/>
                  <a:gd name="connsiteX2" fmla="*/ 0 w 11810"/>
                  <a:gd name="connsiteY2" fmla="*/ 6691 h 6690"/>
                  <a:gd name="connsiteX3" fmla="*/ 3713 w 11810"/>
                  <a:gd name="connsiteY3" fmla="*/ 0 h 6690"/>
                  <a:gd name="connsiteX4" fmla="*/ 11811 w 11810"/>
                  <a:gd name="connsiteY4" fmla="*/ 0 h 66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10" h="6690">
                    <a:moveTo>
                      <a:pt x="11811" y="0"/>
                    </a:moveTo>
                    <a:lnTo>
                      <a:pt x="8082" y="6691"/>
                    </a:lnTo>
                    <a:lnTo>
                      <a:pt x="0" y="6691"/>
                    </a:lnTo>
                    <a:lnTo>
                      <a:pt x="3713" y="0"/>
                    </a:lnTo>
                    <a:lnTo>
                      <a:pt x="11811" y="0"/>
                    </a:ln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nvGrpSpPr>
              <p:cNvPr id="525" name="Graphic 6">
                <a:extLst>
                  <a:ext uri="{FF2B5EF4-FFF2-40B4-BE49-F238E27FC236}">
                    <a16:creationId xmlns:a16="http://schemas.microsoft.com/office/drawing/2014/main" id="{107BB763-C13A-4534-88A4-1345A75DE8CC}"/>
                  </a:ext>
                </a:extLst>
              </p:cNvPr>
              <p:cNvGrpSpPr/>
              <p:nvPr/>
            </p:nvGrpSpPr>
            <p:grpSpPr>
              <a:xfrm>
                <a:off x="2636669" y="4523157"/>
                <a:ext cx="259805" cy="376729"/>
                <a:chOff x="2636709" y="4523249"/>
                <a:chExt cx="259805" cy="376729"/>
              </a:xfrm>
              <a:solidFill>
                <a:srgbClr val="069688"/>
              </a:solidFill>
            </p:grpSpPr>
            <p:sp>
              <p:nvSpPr>
                <p:cNvPr id="588" name="Freeform: Shape 587">
                  <a:extLst>
                    <a:ext uri="{FF2B5EF4-FFF2-40B4-BE49-F238E27FC236}">
                      <a16:creationId xmlns:a16="http://schemas.microsoft.com/office/drawing/2014/main" id="{4F7C6E99-5D22-4BA5-98BF-076ADB2B88E9}"/>
                    </a:ext>
                  </a:extLst>
                </p:cNvPr>
                <p:cNvSpPr/>
                <p:nvPr/>
              </p:nvSpPr>
              <p:spPr>
                <a:xfrm>
                  <a:off x="2636709" y="4523249"/>
                  <a:ext cx="259805" cy="376729"/>
                </a:xfrm>
                <a:custGeom>
                  <a:avLst/>
                  <a:gdLst>
                    <a:gd name="connsiteX0" fmla="*/ 259805 w 259805"/>
                    <a:gd name="connsiteY0" fmla="*/ 1956 h 376729"/>
                    <a:gd name="connsiteX1" fmla="*/ 257849 w 259805"/>
                    <a:gd name="connsiteY1" fmla="*/ 0 h 376729"/>
                    <a:gd name="connsiteX2" fmla="*/ 64367 w 259805"/>
                    <a:gd name="connsiteY2" fmla="*/ 0 h 376729"/>
                    <a:gd name="connsiteX3" fmla="*/ 64300 w 259805"/>
                    <a:gd name="connsiteY3" fmla="*/ 0 h 376729"/>
                    <a:gd name="connsiteX4" fmla="*/ 63628 w 259805"/>
                    <a:gd name="connsiteY4" fmla="*/ 144 h 376729"/>
                    <a:gd name="connsiteX5" fmla="*/ 63012 w 259805"/>
                    <a:gd name="connsiteY5" fmla="*/ 539 h 376729"/>
                    <a:gd name="connsiteX6" fmla="*/ 575 w 259805"/>
                    <a:gd name="connsiteY6" fmla="*/ 62976 h 376729"/>
                    <a:gd name="connsiteX7" fmla="*/ 0 w 259805"/>
                    <a:gd name="connsiteY7" fmla="*/ 64357 h 376729"/>
                    <a:gd name="connsiteX8" fmla="*/ 0 w 259805"/>
                    <a:gd name="connsiteY8" fmla="*/ 374773 h 376729"/>
                    <a:gd name="connsiteX9" fmla="*/ 1956 w 259805"/>
                    <a:gd name="connsiteY9" fmla="*/ 376730 h 376729"/>
                    <a:gd name="connsiteX10" fmla="*/ 257844 w 259805"/>
                    <a:gd name="connsiteY10" fmla="*/ 376730 h 376729"/>
                    <a:gd name="connsiteX11" fmla="*/ 259225 w 259805"/>
                    <a:gd name="connsiteY11" fmla="*/ 376155 h 376729"/>
                    <a:gd name="connsiteX12" fmla="*/ 259800 w 259805"/>
                    <a:gd name="connsiteY12" fmla="*/ 374773 h 376729"/>
                    <a:gd name="connsiteX13" fmla="*/ 259800 w 259805"/>
                    <a:gd name="connsiteY13" fmla="*/ 1956 h 376729"/>
                    <a:gd name="connsiteX14" fmla="*/ 62406 w 259805"/>
                    <a:gd name="connsiteY14" fmla="*/ 372817 h 376729"/>
                    <a:gd name="connsiteX15" fmla="*/ 3918 w 259805"/>
                    <a:gd name="connsiteY15" fmla="*/ 372817 h 376729"/>
                    <a:gd name="connsiteX16" fmla="*/ 3918 w 259805"/>
                    <a:gd name="connsiteY16" fmla="*/ 65168 h 376729"/>
                    <a:gd name="connsiteX17" fmla="*/ 62406 w 259805"/>
                    <a:gd name="connsiteY17" fmla="*/ 6681 h 376729"/>
                    <a:gd name="connsiteX18" fmla="*/ 62406 w 259805"/>
                    <a:gd name="connsiteY18" fmla="*/ 372822 h 376729"/>
                    <a:gd name="connsiteX19" fmla="*/ 66319 w 259805"/>
                    <a:gd name="connsiteY19" fmla="*/ 372817 h 376729"/>
                    <a:gd name="connsiteX20" fmla="*/ 66319 w 259805"/>
                    <a:gd name="connsiteY20" fmla="*/ 3913 h 376729"/>
                    <a:gd name="connsiteX21" fmla="*/ 255893 w 259805"/>
                    <a:gd name="connsiteY21" fmla="*/ 3913 h 376729"/>
                    <a:gd name="connsiteX22" fmla="*/ 255893 w 259805"/>
                    <a:gd name="connsiteY22" fmla="*/ 372817 h 376729"/>
                    <a:gd name="connsiteX23" fmla="*/ 66319 w 259805"/>
                    <a:gd name="connsiteY23" fmla="*/ 372817 h 376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59805" h="376729">
                      <a:moveTo>
                        <a:pt x="259805" y="1956"/>
                      </a:moveTo>
                      <a:cubicBezTo>
                        <a:pt x="259805" y="878"/>
                        <a:pt x="258927" y="0"/>
                        <a:pt x="257849" y="0"/>
                      </a:cubicBezTo>
                      <a:lnTo>
                        <a:pt x="64367" y="0"/>
                      </a:lnTo>
                      <a:cubicBezTo>
                        <a:pt x="64367" y="0"/>
                        <a:pt x="64321" y="0"/>
                        <a:pt x="64300" y="0"/>
                      </a:cubicBezTo>
                      <a:cubicBezTo>
                        <a:pt x="64059" y="5"/>
                        <a:pt x="63833" y="57"/>
                        <a:pt x="63628" y="144"/>
                      </a:cubicBezTo>
                      <a:cubicBezTo>
                        <a:pt x="63407" y="236"/>
                        <a:pt x="63197" y="365"/>
                        <a:pt x="63012" y="539"/>
                      </a:cubicBezTo>
                      <a:cubicBezTo>
                        <a:pt x="62976" y="575"/>
                        <a:pt x="575" y="62976"/>
                        <a:pt x="575" y="62976"/>
                      </a:cubicBezTo>
                      <a:cubicBezTo>
                        <a:pt x="211" y="63340"/>
                        <a:pt x="0" y="63838"/>
                        <a:pt x="0" y="64357"/>
                      </a:cubicBezTo>
                      <a:lnTo>
                        <a:pt x="0" y="374773"/>
                      </a:lnTo>
                      <a:cubicBezTo>
                        <a:pt x="0" y="375852"/>
                        <a:pt x="878" y="376730"/>
                        <a:pt x="1956" y="376730"/>
                      </a:cubicBezTo>
                      <a:lnTo>
                        <a:pt x="257844" y="376730"/>
                      </a:lnTo>
                      <a:cubicBezTo>
                        <a:pt x="258363" y="376730"/>
                        <a:pt x="258861" y="376524"/>
                        <a:pt x="259225" y="376155"/>
                      </a:cubicBezTo>
                      <a:cubicBezTo>
                        <a:pt x="259590" y="375790"/>
                        <a:pt x="259800" y="375292"/>
                        <a:pt x="259800" y="374773"/>
                      </a:cubicBezTo>
                      <a:lnTo>
                        <a:pt x="259800" y="1956"/>
                      </a:lnTo>
                      <a:close/>
                      <a:moveTo>
                        <a:pt x="62406" y="372817"/>
                      </a:moveTo>
                      <a:lnTo>
                        <a:pt x="3918" y="372817"/>
                      </a:lnTo>
                      <a:lnTo>
                        <a:pt x="3918" y="65168"/>
                      </a:lnTo>
                      <a:lnTo>
                        <a:pt x="62406" y="6681"/>
                      </a:lnTo>
                      <a:lnTo>
                        <a:pt x="62406" y="372822"/>
                      </a:lnTo>
                      <a:close/>
                      <a:moveTo>
                        <a:pt x="66319" y="372817"/>
                      </a:moveTo>
                      <a:lnTo>
                        <a:pt x="66319" y="3913"/>
                      </a:lnTo>
                      <a:lnTo>
                        <a:pt x="255893" y="3913"/>
                      </a:lnTo>
                      <a:lnTo>
                        <a:pt x="255893" y="372817"/>
                      </a:lnTo>
                      <a:cubicBezTo>
                        <a:pt x="255893" y="372817"/>
                        <a:pt x="66319" y="372817"/>
                        <a:pt x="66319" y="372817"/>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89" name="Freeform: Shape 588">
                  <a:extLst>
                    <a:ext uri="{FF2B5EF4-FFF2-40B4-BE49-F238E27FC236}">
                      <a16:creationId xmlns:a16="http://schemas.microsoft.com/office/drawing/2014/main" id="{5CED9DF8-DC54-43B3-A368-BF621E303172}"/>
                    </a:ext>
                  </a:extLst>
                </p:cNvPr>
                <p:cNvSpPr/>
                <p:nvPr/>
              </p:nvSpPr>
              <p:spPr>
                <a:xfrm>
                  <a:off x="2816696" y="4552251"/>
                  <a:ext cx="47005" cy="47005"/>
                </a:xfrm>
                <a:custGeom>
                  <a:avLst/>
                  <a:gdLst>
                    <a:gd name="connsiteX0" fmla="*/ 45049 w 47005"/>
                    <a:gd name="connsiteY0" fmla="*/ 0 h 47005"/>
                    <a:gd name="connsiteX1" fmla="*/ 1956 w 47005"/>
                    <a:gd name="connsiteY1" fmla="*/ 0 h 47005"/>
                    <a:gd name="connsiteX2" fmla="*/ 0 w 47005"/>
                    <a:gd name="connsiteY2" fmla="*/ 1956 h 47005"/>
                    <a:gd name="connsiteX3" fmla="*/ 0 w 47005"/>
                    <a:gd name="connsiteY3" fmla="*/ 45049 h 47005"/>
                    <a:gd name="connsiteX4" fmla="*/ 1956 w 47005"/>
                    <a:gd name="connsiteY4" fmla="*/ 47006 h 47005"/>
                    <a:gd name="connsiteX5" fmla="*/ 45049 w 47005"/>
                    <a:gd name="connsiteY5" fmla="*/ 47006 h 47005"/>
                    <a:gd name="connsiteX6" fmla="*/ 47006 w 47005"/>
                    <a:gd name="connsiteY6" fmla="*/ 45049 h 47005"/>
                    <a:gd name="connsiteX7" fmla="*/ 47006 w 47005"/>
                    <a:gd name="connsiteY7" fmla="*/ 1956 h 47005"/>
                    <a:gd name="connsiteX8" fmla="*/ 45049 w 47005"/>
                    <a:gd name="connsiteY8" fmla="*/ 0 h 47005"/>
                    <a:gd name="connsiteX9" fmla="*/ 43093 w 47005"/>
                    <a:gd name="connsiteY9" fmla="*/ 43093 h 47005"/>
                    <a:gd name="connsiteX10" fmla="*/ 3908 w 47005"/>
                    <a:gd name="connsiteY10" fmla="*/ 43093 h 47005"/>
                    <a:gd name="connsiteX11" fmla="*/ 3908 w 47005"/>
                    <a:gd name="connsiteY11" fmla="*/ 3908 h 47005"/>
                    <a:gd name="connsiteX12" fmla="*/ 43093 w 47005"/>
                    <a:gd name="connsiteY12" fmla="*/ 3908 h 47005"/>
                    <a:gd name="connsiteX13" fmla="*/ 43093 w 47005"/>
                    <a:gd name="connsiteY13" fmla="*/ 43093 h 47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005" h="47005">
                      <a:moveTo>
                        <a:pt x="45049" y="0"/>
                      </a:moveTo>
                      <a:lnTo>
                        <a:pt x="1956" y="0"/>
                      </a:lnTo>
                      <a:cubicBezTo>
                        <a:pt x="878" y="0"/>
                        <a:pt x="0" y="878"/>
                        <a:pt x="0" y="1956"/>
                      </a:cubicBezTo>
                      <a:lnTo>
                        <a:pt x="0" y="45049"/>
                      </a:lnTo>
                      <a:cubicBezTo>
                        <a:pt x="0" y="46128"/>
                        <a:pt x="878" y="47006"/>
                        <a:pt x="1956" y="47006"/>
                      </a:cubicBezTo>
                      <a:lnTo>
                        <a:pt x="45049" y="47006"/>
                      </a:lnTo>
                      <a:cubicBezTo>
                        <a:pt x="46128" y="47006"/>
                        <a:pt x="47006" y="46128"/>
                        <a:pt x="47006" y="45049"/>
                      </a:cubicBezTo>
                      <a:lnTo>
                        <a:pt x="47006" y="1956"/>
                      </a:lnTo>
                      <a:cubicBezTo>
                        <a:pt x="47006" y="878"/>
                        <a:pt x="46128" y="0"/>
                        <a:pt x="45049" y="0"/>
                      </a:cubicBezTo>
                      <a:close/>
                      <a:moveTo>
                        <a:pt x="43093" y="43093"/>
                      </a:moveTo>
                      <a:lnTo>
                        <a:pt x="3908" y="43093"/>
                      </a:lnTo>
                      <a:lnTo>
                        <a:pt x="3908" y="3908"/>
                      </a:lnTo>
                      <a:lnTo>
                        <a:pt x="43093" y="3908"/>
                      </a:lnTo>
                      <a:lnTo>
                        <a:pt x="43093" y="43093"/>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90" name="Freeform: Shape 589">
                  <a:extLst>
                    <a:ext uri="{FF2B5EF4-FFF2-40B4-BE49-F238E27FC236}">
                      <a16:creationId xmlns:a16="http://schemas.microsoft.com/office/drawing/2014/main" id="{D016375E-7804-4517-9A38-C8E3AB898813}"/>
                    </a:ext>
                  </a:extLst>
                </p:cNvPr>
                <p:cNvSpPr/>
                <p:nvPr/>
              </p:nvSpPr>
              <p:spPr>
                <a:xfrm>
                  <a:off x="2788936" y="4614662"/>
                  <a:ext cx="74765" cy="74765"/>
                </a:xfrm>
                <a:custGeom>
                  <a:avLst/>
                  <a:gdLst>
                    <a:gd name="connsiteX0" fmla="*/ 72809 w 74765"/>
                    <a:gd name="connsiteY0" fmla="*/ 0 h 74765"/>
                    <a:gd name="connsiteX1" fmla="*/ 1956 w 74765"/>
                    <a:gd name="connsiteY1" fmla="*/ 0 h 74765"/>
                    <a:gd name="connsiteX2" fmla="*/ 0 w 74765"/>
                    <a:gd name="connsiteY2" fmla="*/ 1956 h 74765"/>
                    <a:gd name="connsiteX3" fmla="*/ 0 w 74765"/>
                    <a:gd name="connsiteY3" fmla="*/ 72809 h 74765"/>
                    <a:gd name="connsiteX4" fmla="*/ 1956 w 74765"/>
                    <a:gd name="connsiteY4" fmla="*/ 74766 h 74765"/>
                    <a:gd name="connsiteX5" fmla="*/ 72809 w 74765"/>
                    <a:gd name="connsiteY5" fmla="*/ 74766 h 74765"/>
                    <a:gd name="connsiteX6" fmla="*/ 74766 w 74765"/>
                    <a:gd name="connsiteY6" fmla="*/ 72809 h 74765"/>
                    <a:gd name="connsiteX7" fmla="*/ 74766 w 74765"/>
                    <a:gd name="connsiteY7" fmla="*/ 1956 h 74765"/>
                    <a:gd name="connsiteX8" fmla="*/ 72809 w 74765"/>
                    <a:gd name="connsiteY8" fmla="*/ 0 h 74765"/>
                    <a:gd name="connsiteX9" fmla="*/ 70853 w 74765"/>
                    <a:gd name="connsiteY9" fmla="*/ 70853 h 74765"/>
                    <a:gd name="connsiteX10" fmla="*/ 3913 w 74765"/>
                    <a:gd name="connsiteY10" fmla="*/ 70853 h 74765"/>
                    <a:gd name="connsiteX11" fmla="*/ 3913 w 74765"/>
                    <a:gd name="connsiteY11" fmla="*/ 3913 h 74765"/>
                    <a:gd name="connsiteX12" fmla="*/ 70853 w 74765"/>
                    <a:gd name="connsiteY12" fmla="*/ 3913 h 74765"/>
                    <a:gd name="connsiteX13" fmla="*/ 70853 w 74765"/>
                    <a:gd name="connsiteY13" fmla="*/ 70853 h 7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65" h="74765">
                      <a:moveTo>
                        <a:pt x="72809" y="0"/>
                      </a:moveTo>
                      <a:lnTo>
                        <a:pt x="1956" y="0"/>
                      </a:lnTo>
                      <a:cubicBezTo>
                        <a:pt x="878" y="0"/>
                        <a:pt x="0" y="878"/>
                        <a:pt x="0" y="1956"/>
                      </a:cubicBezTo>
                      <a:lnTo>
                        <a:pt x="0" y="72809"/>
                      </a:lnTo>
                      <a:cubicBezTo>
                        <a:pt x="0" y="73888"/>
                        <a:pt x="878" y="74766"/>
                        <a:pt x="1956" y="74766"/>
                      </a:cubicBezTo>
                      <a:lnTo>
                        <a:pt x="72809" y="74766"/>
                      </a:lnTo>
                      <a:cubicBezTo>
                        <a:pt x="73888" y="74766"/>
                        <a:pt x="74766" y="73888"/>
                        <a:pt x="74766" y="72809"/>
                      </a:cubicBezTo>
                      <a:lnTo>
                        <a:pt x="74766" y="1956"/>
                      </a:lnTo>
                      <a:cubicBezTo>
                        <a:pt x="74766" y="878"/>
                        <a:pt x="73888" y="0"/>
                        <a:pt x="72809" y="0"/>
                      </a:cubicBezTo>
                      <a:close/>
                      <a:moveTo>
                        <a:pt x="70853" y="70853"/>
                      </a:moveTo>
                      <a:lnTo>
                        <a:pt x="3913" y="70853"/>
                      </a:lnTo>
                      <a:lnTo>
                        <a:pt x="3913" y="3913"/>
                      </a:lnTo>
                      <a:lnTo>
                        <a:pt x="70853" y="3913"/>
                      </a:lnTo>
                      <a:lnTo>
                        <a:pt x="70853" y="70853"/>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526" name="Graphic 6">
                <a:extLst>
                  <a:ext uri="{FF2B5EF4-FFF2-40B4-BE49-F238E27FC236}">
                    <a16:creationId xmlns:a16="http://schemas.microsoft.com/office/drawing/2014/main" id="{5DA7F207-2BB6-46CD-A233-54177771EF94}"/>
                  </a:ext>
                </a:extLst>
              </p:cNvPr>
              <p:cNvGrpSpPr/>
              <p:nvPr/>
            </p:nvGrpSpPr>
            <p:grpSpPr>
              <a:xfrm>
                <a:off x="1894338" y="4816497"/>
                <a:ext cx="109555" cy="82876"/>
                <a:chOff x="1894378" y="4816589"/>
                <a:chExt cx="109555" cy="82876"/>
              </a:xfrm>
              <a:solidFill>
                <a:srgbClr val="069688"/>
              </a:solidFill>
            </p:grpSpPr>
            <p:sp>
              <p:nvSpPr>
                <p:cNvPr id="585" name="Freeform: Shape 584">
                  <a:extLst>
                    <a:ext uri="{FF2B5EF4-FFF2-40B4-BE49-F238E27FC236}">
                      <a16:creationId xmlns:a16="http://schemas.microsoft.com/office/drawing/2014/main" id="{82683EBA-C7C4-43DE-992E-A3933FF1CD53}"/>
                    </a:ext>
                  </a:extLst>
                </p:cNvPr>
                <p:cNvSpPr/>
                <p:nvPr/>
              </p:nvSpPr>
              <p:spPr>
                <a:xfrm>
                  <a:off x="1902825" y="4877318"/>
                  <a:ext cx="13689" cy="13695"/>
                </a:xfrm>
                <a:custGeom>
                  <a:avLst/>
                  <a:gdLst>
                    <a:gd name="connsiteX0" fmla="*/ 6845 w 13689"/>
                    <a:gd name="connsiteY0" fmla="*/ 0 h 13695"/>
                    <a:gd name="connsiteX1" fmla="*/ 0 w 13689"/>
                    <a:gd name="connsiteY1" fmla="*/ 6845 h 13695"/>
                    <a:gd name="connsiteX2" fmla="*/ 6845 w 13689"/>
                    <a:gd name="connsiteY2" fmla="*/ 13695 h 13695"/>
                    <a:gd name="connsiteX3" fmla="*/ 13690 w 13689"/>
                    <a:gd name="connsiteY3" fmla="*/ 6845 h 13695"/>
                    <a:gd name="connsiteX4" fmla="*/ 6845 w 13689"/>
                    <a:gd name="connsiteY4" fmla="*/ 0 h 13695"/>
                    <a:gd name="connsiteX5" fmla="*/ 6845 w 13689"/>
                    <a:gd name="connsiteY5" fmla="*/ 9782 h 13695"/>
                    <a:gd name="connsiteX6" fmla="*/ 3908 w 13689"/>
                    <a:gd name="connsiteY6" fmla="*/ 6845 h 13695"/>
                    <a:gd name="connsiteX7" fmla="*/ 6845 w 13689"/>
                    <a:gd name="connsiteY7" fmla="*/ 3913 h 13695"/>
                    <a:gd name="connsiteX8" fmla="*/ 9782 w 13689"/>
                    <a:gd name="connsiteY8" fmla="*/ 6845 h 13695"/>
                    <a:gd name="connsiteX9" fmla="*/ 6845 w 13689"/>
                    <a:gd name="connsiteY9" fmla="*/ 9782 h 1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89" h="13695">
                      <a:moveTo>
                        <a:pt x="6845" y="0"/>
                      </a:moveTo>
                      <a:cubicBezTo>
                        <a:pt x="3071" y="0"/>
                        <a:pt x="0" y="3071"/>
                        <a:pt x="0" y="6845"/>
                      </a:cubicBezTo>
                      <a:cubicBezTo>
                        <a:pt x="0" y="10619"/>
                        <a:pt x="3071" y="13695"/>
                        <a:pt x="6845" y="13695"/>
                      </a:cubicBezTo>
                      <a:cubicBezTo>
                        <a:pt x="10619" y="13695"/>
                        <a:pt x="13690" y="10624"/>
                        <a:pt x="13690" y="6845"/>
                      </a:cubicBezTo>
                      <a:cubicBezTo>
                        <a:pt x="13690" y="3066"/>
                        <a:pt x="10619" y="0"/>
                        <a:pt x="6845" y="0"/>
                      </a:cubicBezTo>
                      <a:close/>
                      <a:moveTo>
                        <a:pt x="6845" y="9782"/>
                      </a:moveTo>
                      <a:cubicBezTo>
                        <a:pt x="5227" y="9782"/>
                        <a:pt x="3908" y="8468"/>
                        <a:pt x="3908" y="6845"/>
                      </a:cubicBezTo>
                      <a:cubicBezTo>
                        <a:pt x="3908" y="5222"/>
                        <a:pt x="5222" y="3913"/>
                        <a:pt x="6845" y="3913"/>
                      </a:cubicBezTo>
                      <a:cubicBezTo>
                        <a:pt x="8468" y="3913"/>
                        <a:pt x="9782" y="5227"/>
                        <a:pt x="9782" y="6845"/>
                      </a:cubicBezTo>
                      <a:cubicBezTo>
                        <a:pt x="9782" y="8462"/>
                        <a:pt x="8468" y="9782"/>
                        <a:pt x="6845" y="9782"/>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86" name="Freeform: Shape 585">
                  <a:extLst>
                    <a:ext uri="{FF2B5EF4-FFF2-40B4-BE49-F238E27FC236}">
                      <a16:creationId xmlns:a16="http://schemas.microsoft.com/office/drawing/2014/main" id="{716BC622-4B36-4B42-B48F-3FC7921F79DD}"/>
                    </a:ext>
                  </a:extLst>
                </p:cNvPr>
                <p:cNvSpPr/>
                <p:nvPr/>
              </p:nvSpPr>
              <p:spPr>
                <a:xfrm>
                  <a:off x="1982207" y="4877318"/>
                  <a:ext cx="13689" cy="13695"/>
                </a:xfrm>
                <a:custGeom>
                  <a:avLst/>
                  <a:gdLst>
                    <a:gd name="connsiteX0" fmla="*/ 6845 w 13689"/>
                    <a:gd name="connsiteY0" fmla="*/ 0 h 13695"/>
                    <a:gd name="connsiteX1" fmla="*/ 0 w 13689"/>
                    <a:gd name="connsiteY1" fmla="*/ 6845 h 13695"/>
                    <a:gd name="connsiteX2" fmla="*/ 6845 w 13689"/>
                    <a:gd name="connsiteY2" fmla="*/ 13695 h 13695"/>
                    <a:gd name="connsiteX3" fmla="*/ 13690 w 13689"/>
                    <a:gd name="connsiteY3" fmla="*/ 6845 h 13695"/>
                    <a:gd name="connsiteX4" fmla="*/ 6845 w 13689"/>
                    <a:gd name="connsiteY4" fmla="*/ 0 h 13695"/>
                    <a:gd name="connsiteX5" fmla="*/ 6845 w 13689"/>
                    <a:gd name="connsiteY5" fmla="*/ 9782 h 13695"/>
                    <a:gd name="connsiteX6" fmla="*/ 3913 w 13689"/>
                    <a:gd name="connsiteY6" fmla="*/ 6845 h 13695"/>
                    <a:gd name="connsiteX7" fmla="*/ 6845 w 13689"/>
                    <a:gd name="connsiteY7" fmla="*/ 3913 h 13695"/>
                    <a:gd name="connsiteX8" fmla="*/ 9782 w 13689"/>
                    <a:gd name="connsiteY8" fmla="*/ 6845 h 13695"/>
                    <a:gd name="connsiteX9" fmla="*/ 6845 w 13689"/>
                    <a:gd name="connsiteY9" fmla="*/ 9782 h 1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89" h="13695">
                      <a:moveTo>
                        <a:pt x="6845" y="0"/>
                      </a:moveTo>
                      <a:cubicBezTo>
                        <a:pt x="3071" y="0"/>
                        <a:pt x="0" y="3071"/>
                        <a:pt x="0" y="6845"/>
                      </a:cubicBezTo>
                      <a:cubicBezTo>
                        <a:pt x="0" y="10619"/>
                        <a:pt x="3071" y="13695"/>
                        <a:pt x="6845" y="13695"/>
                      </a:cubicBezTo>
                      <a:cubicBezTo>
                        <a:pt x="10619" y="13695"/>
                        <a:pt x="13690" y="10624"/>
                        <a:pt x="13690" y="6845"/>
                      </a:cubicBezTo>
                      <a:cubicBezTo>
                        <a:pt x="13690" y="3066"/>
                        <a:pt x="10619" y="0"/>
                        <a:pt x="6845" y="0"/>
                      </a:cubicBezTo>
                      <a:close/>
                      <a:moveTo>
                        <a:pt x="6845" y="9782"/>
                      </a:moveTo>
                      <a:cubicBezTo>
                        <a:pt x="5227" y="9782"/>
                        <a:pt x="3913" y="8468"/>
                        <a:pt x="3913" y="6845"/>
                      </a:cubicBezTo>
                      <a:cubicBezTo>
                        <a:pt x="3913" y="5222"/>
                        <a:pt x="5227" y="3913"/>
                        <a:pt x="6845" y="3913"/>
                      </a:cubicBezTo>
                      <a:cubicBezTo>
                        <a:pt x="8462" y="3913"/>
                        <a:pt x="9782" y="5227"/>
                        <a:pt x="9782" y="6845"/>
                      </a:cubicBezTo>
                      <a:cubicBezTo>
                        <a:pt x="9782" y="8462"/>
                        <a:pt x="8468" y="9782"/>
                        <a:pt x="6845" y="9782"/>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87" name="Freeform: Shape 586">
                  <a:extLst>
                    <a:ext uri="{FF2B5EF4-FFF2-40B4-BE49-F238E27FC236}">
                      <a16:creationId xmlns:a16="http://schemas.microsoft.com/office/drawing/2014/main" id="{0D9BF1EC-6CC5-4097-B42A-BDDFB9314ED4}"/>
                    </a:ext>
                  </a:extLst>
                </p:cNvPr>
                <p:cNvSpPr/>
                <p:nvPr/>
              </p:nvSpPr>
              <p:spPr>
                <a:xfrm>
                  <a:off x="1894378" y="4816589"/>
                  <a:ext cx="109555" cy="82876"/>
                </a:xfrm>
                <a:custGeom>
                  <a:avLst/>
                  <a:gdLst>
                    <a:gd name="connsiteX0" fmla="*/ 94243 w 109555"/>
                    <a:gd name="connsiteY0" fmla="*/ 52271 h 82876"/>
                    <a:gd name="connsiteX1" fmla="*/ 92913 w 109555"/>
                    <a:gd name="connsiteY1" fmla="*/ 52338 h 82876"/>
                    <a:gd name="connsiteX2" fmla="*/ 92805 w 109555"/>
                    <a:gd name="connsiteY2" fmla="*/ 52092 h 82876"/>
                    <a:gd name="connsiteX3" fmla="*/ 67561 w 109555"/>
                    <a:gd name="connsiteY3" fmla="*/ 6796 h 82876"/>
                    <a:gd name="connsiteX4" fmla="*/ 74853 w 109555"/>
                    <a:gd name="connsiteY4" fmla="*/ 3761 h 82876"/>
                    <a:gd name="connsiteX5" fmla="*/ 75906 w 109555"/>
                    <a:gd name="connsiteY5" fmla="*/ 1204 h 82876"/>
                    <a:gd name="connsiteX6" fmla="*/ 73348 w 109555"/>
                    <a:gd name="connsiteY6" fmla="*/ 151 h 82876"/>
                    <a:gd name="connsiteX7" fmla="*/ 67212 w 109555"/>
                    <a:gd name="connsiteY7" fmla="*/ 2703 h 82876"/>
                    <a:gd name="connsiteX8" fmla="*/ 53815 w 109555"/>
                    <a:gd name="connsiteY8" fmla="*/ 8028 h 82876"/>
                    <a:gd name="connsiteX9" fmla="*/ 52721 w 109555"/>
                    <a:gd name="connsiteY9" fmla="*/ 10565 h 82876"/>
                    <a:gd name="connsiteX10" fmla="*/ 54539 w 109555"/>
                    <a:gd name="connsiteY10" fmla="*/ 11797 h 82876"/>
                    <a:gd name="connsiteX11" fmla="*/ 55263 w 109555"/>
                    <a:gd name="connsiteY11" fmla="*/ 11659 h 82876"/>
                    <a:gd name="connsiteX12" fmla="*/ 63885 w 109555"/>
                    <a:gd name="connsiteY12" fmla="*/ 8234 h 82876"/>
                    <a:gd name="connsiteX13" fmla="*/ 80691 w 109555"/>
                    <a:gd name="connsiteY13" fmla="*/ 38386 h 82876"/>
                    <a:gd name="connsiteX14" fmla="*/ 80640 w 109555"/>
                    <a:gd name="connsiteY14" fmla="*/ 38438 h 82876"/>
                    <a:gd name="connsiteX15" fmla="*/ 57322 w 109555"/>
                    <a:gd name="connsiteY15" fmla="*/ 67625 h 82876"/>
                    <a:gd name="connsiteX16" fmla="*/ 30605 w 109555"/>
                    <a:gd name="connsiteY16" fmla="*/ 67625 h 82876"/>
                    <a:gd name="connsiteX17" fmla="*/ 15302 w 109555"/>
                    <a:gd name="connsiteY17" fmla="*/ 52271 h 82876"/>
                    <a:gd name="connsiteX18" fmla="*/ 0 w 109555"/>
                    <a:gd name="connsiteY18" fmla="*/ 67574 h 82876"/>
                    <a:gd name="connsiteX19" fmla="*/ 15302 w 109555"/>
                    <a:gd name="connsiteY19" fmla="*/ 82876 h 82876"/>
                    <a:gd name="connsiteX20" fmla="*/ 30065 w 109555"/>
                    <a:gd name="connsiteY20" fmla="*/ 71533 h 82876"/>
                    <a:gd name="connsiteX21" fmla="*/ 58262 w 109555"/>
                    <a:gd name="connsiteY21" fmla="*/ 71533 h 82876"/>
                    <a:gd name="connsiteX22" fmla="*/ 59792 w 109555"/>
                    <a:gd name="connsiteY22" fmla="*/ 70799 h 82876"/>
                    <a:gd name="connsiteX23" fmla="*/ 73302 w 109555"/>
                    <a:gd name="connsiteY23" fmla="*/ 53894 h 82876"/>
                    <a:gd name="connsiteX24" fmla="*/ 87434 w 109555"/>
                    <a:gd name="connsiteY24" fmla="*/ 53894 h 82876"/>
                    <a:gd name="connsiteX25" fmla="*/ 78951 w 109555"/>
                    <a:gd name="connsiteY25" fmla="*/ 67574 h 82876"/>
                    <a:gd name="connsiteX26" fmla="*/ 94253 w 109555"/>
                    <a:gd name="connsiteY26" fmla="*/ 82876 h 82876"/>
                    <a:gd name="connsiteX27" fmla="*/ 109555 w 109555"/>
                    <a:gd name="connsiteY27" fmla="*/ 67574 h 82876"/>
                    <a:gd name="connsiteX28" fmla="*/ 94253 w 109555"/>
                    <a:gd name="connsiteY28" fmla="*/ 52271 h 82876"/>
                    <a:gd name="connsiteX29" fmla="*/ 15292 w 109555"/>
                    <a:gd name="connsiteY29" fmla="*/ 78963 h 82876"/>
                    <a:gd name="connsiteX30" fmla="*/ 3903 w 109555"/>
                    <a:gd name="connsiteY30" fmla="*/ 67574 h 82876"/>
                    <a:gd name="connsiteX31" fmla="*/ 15292 w 109555"/>
                    <a:gd name="connsiteY31" fmla="*/ 56184 h 82876"/>
                    <a:gd name="connsiteX32" fmla="*/ 26681 w 109555"/>
                    <a:gd name="connsiteY32" fmla="*/ 67574 h 82876"/>
                    <a:gd name="connsiteX33" fmla="*/ 15292 w 109555"/>
                    <a:gd name="connsiteY33" fmla="*/ 78963 h 82876"/>
                    <a:gd name="connsiteX34" fmla="*/ 82740 w 109555"/>
                    <a:gd name="connsiteY34" fmla="*/ 42068 h 82876"/>
                    <a:gd name="connsiteX35" fmla="*/ 87151 w 109555"/>
                    <a:gd name="connsiteY35" fmla="*/ 49981 h 82876"/>
                    <a:gd name="connsiteX36" fmla="*/ 76419 w 109555"/>
                    <a:gd name="connsiteY36" fmla="*/ 49981 h 82876"/>
                    <a:gd name="connsiteX37" fmla="*/ 82740 w 109555"/>
                    <a:gd name="connsiteY37" fmla="*/ 42068 h 82876"/>
                    <a:gd name="connsiteX38" fmla="*/ 94243 w 109555"/>
                    <a:gd name="connsiteY38" fmla="*/ 78963 h 82876"/>
                    <a:gd name="connsiteX39" fmla="*/ 82853 w 109555"/>
                    <a:gd name="connsiteY39" fmla="*/ 67574 h 82876"/>
                    <a:gd name="connsiteX40" fmla="*/ 94243 w 109555"/>
                    <a:gd name="connsiteY40" fmla="*/ 56184 h 82876"/>
                    <a:gd name="connsiteX41" fmla="*/ 105632 w 109555"/>
                    <a:gd name="connsiteY41" fmla="*/ 67574 h 82876"/>
                    <a:gd name="connsiteX42" fmla="*/ 94243 w 109555"/>
                    <a:gd name="connsiteY42" fmla="*/ 78963 h 82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9555" h="82876">
                      <a:moveTo>
                        <a:pt x="94243" y="52271"/>
                      </a:moveTo>
                      <a:cubicBezTo>
                        <a:pt x="93791" y="52271"/>
                        <a:pt x="93349" y="52302"/>
                        <a:pt x="92913" y="52338"/>
                      </a:cubicBezTo>
                      <a:cubicBezTo>
                        <a:pt x="92882" y="52256"/>
                        <a:pt x="92851" y="52169"/>
                        <a:pt x="92805" y="52092"/>
                      </a:cubicBezTo>
                      <a:lnTo>
                        <a:pt x="67561" y="6796"/>
                      </a:lnTo>
                      <a:lnTo>
                        <a:pt x="74853" y="3761"/>
                      </a:lnTo>
                      <a:cubicBezTo>
                        <a:pt x="75849" y="3345"/>
                        <a:pt x="76322" y="2200"/>
                        <a:pt x="75906" y="1204"/>
                      </a:cubicBezTo>
                      <a:cubicBezTo>
                        <a:pt x="75490" y="208"/>
                        <a:pt x="74350" y="-265"/>
                        <a:pt x="73348" y="151"/>
                      </a:cubicBezTo>
                      <a:lnTo>
                        <a:pt x="67212" y="2703"/>
                      </a:lnTo>
                      <a:lnTo>
                        <a:pt x="53815" y="8028"/>
                      </a:lnTo>
                      <a:cubicBezTo>
                        <a:pt x="52808" y="8429"/>
                        <a:pt x="52321" y="9564"/>
                        <a:pt x="52721" y="10565"/>
                      </a:cubicBezTo>
                      <a:cubicBezTo>
                        <a:pt x="53024" y="11335"/>
                        <a:pt x="53763" y="11797"/>
                        <a:pt x="54539" y="11797"/>
                      </a:cubicBezTo>
                      <a:cubicBezTo>
                        <a:pt x="54780" y="11797"/>
                        <a:pt x="55022" y="11751"/>
                        <a:pt x="55263" y="11659"/>
                      </a:cubicBezTo>
                      <a:lnTo>
                        <a:pt x="63885" y="8234"/>
                      </a:lnTo>
                      <a:lnTo>
                        <a:pt x="80691" y="38386"/>
                      </a:lnTo>
                      <a:cubicBezTo>
                        <a:pt x="80691" y="38386"/>
                        <a:pt x="80655" y="38422"/>
                        <a:pt x="80640" y="38438"/>
                      </a:cubicBezTo>
                      <a:lnTo>
                        <a:pt x="57322" y="67625"/>
                      </a:lnTo>
                      <a:lnTo>
                        <a:pt x="30605" y="67625"/>
                      </a:lnTo>
                      <a:cubicBezTo>
                        <a:pt x="30605" y="59137"/>
                        <a:pt x="23744" y="52271"/>
                        <a:pt x="15302" y="52271"/>
                      </a:cubicBezTo>
                      <a:cubicBezTo>
                        <a:pt x="6860" y="52271"/>
                        <a:pt x="0" y="59137"/>
                        <a:pt x="0" y="67574"/>
                      </a:cubicBezTo>
                      <a:cubicBezTo>
                        <a:pt x="0" y="76011"/>
                        <a:pt x="6865" y="82876"/>
                        <a:pt x="15302" y="82876"/>
                      </a:cubicBezTo>
                      <a:cubicBezTo>
                        <a:pt x="22368" y="82876"/>
                        <a:pt x="28314" y="78054"/>
                        <a:pt x="30065" y="71533"/>
                      </a:cubicBezTo>
                      <a:lnTo>
                        <a:pt x="58262" y="71533"/>
                      </a:lnTo>
                      <a:cubicBezTo>
                        <a:pt x="58857" y="71533"/>
                        <a:pt x="59417" y="71261"/>
                        <a:pt x="59792" y="70799"/>
                      </a:cubicBezTo>
                      <a:lnTo>
                        <a:pt x="73302" y="53894"/>
                      </a:lnTo>
                      <a:lnTo>
                        <a:pt x="87434" y="53894"/>
                      </a:lnTo>
                      <a:cubicBezTo>
                        <a:pt x="82417" y="56410"/>
                        <a:pt x="78951" y="61586"/>
                        <a:pt x="78951" y="67574"/>
                      </a:cubicBezTo>
                      <a:cubicBezTo>
                        <a:pt x="78951" y="76011"/>
                        <a:pt x="85816" y="82876"/>
                        <a:pt x="94253" y="82876"/>
                      </a:cubicBezTo>
                      <a:cubicBezTo>
                        <a:pt x="102690" y="82876"/>
                        <a:pt x="109555" y="76011"/>
                        <a:pt x="109555" y="67574"/>
                      </a:cubicBezTo>
                      <a:cubicBezTo>
                        <a:pt x="109555" y="59137"/>
                        <a:pt x="102690" y="52271"/>
                        <a:pt x="94253" y="52271"/>
                      </a:cubicBezTo>
                      <a:close/>
                      <a:moveTo>
                        <a:pt x="15292" y="78963"/>
                      </a:moveTo>
                      <a:cubicBezTo>
                        <a:pt x="9012" y="78963"/>
                        <a:pt x="3903" y="73854"/>
                        <a:pt x="3903" y="67574"/>
                      </a:cubicBezTo>
                      <a:cubicBezTo>
                        <a:pt x="3903" y="61294"/>
                        <a:pt x="9012" y="56184"/>
                        <a:pt x="15292" y="56184"/>
                      </a:cubicBezTo>
                      <a:cubicBezTo>
                        <a:pt x="21572" y="56184"/>
                        <a:pt x="26681" y="61294"/>
                        <a:pt x="26681" y="67574"/>
                      </a:cubicBezTo>
                      <a:cubicBezTo>
                        <a:pt x="26681" y="73854"/>
                        <a:pt x="21572" y="78963"/>
                        <a:pt x="15292" y="78963"/>
                      </a:cubicBezTo>
                      <a:close/>
                      <a:moveTo>
                        <a:pt x="82740" y="42068"/>
                      </a:moveTo>
                      <a:lnTo>
                        <a:pt x="87151" y="49981"/>
                      </a:lnTo>
                      <a:lnTo>
                        <a:pt x="76419" y="49981"/>
                      </a:lnTo>
                      <a:lnTo>
                        <a:pt x="82740" y="42068"/>
                      </a:lnTo>
                      <a:close/>
                      <a:moveTo>
                        <a:pt x="94243" y="78963"/>
                      </a:moveTo>
                      <a:cubicBezTo>
                        <a:pt x="87963" y="78963"/>
                        <a:pt x="82853" y="73854"/>
                        <a:pt x="82853" y="67574"/>
                      </a:cubicBezTo>
                      <a:cubicBezTo>
                        <a:pt x="82853" y="61294"/>
                        <a:pt x="87963" y="56184"/>
                        <a:pt x="94243" y="56184"/>
                      </a:cubicBezTo>
                      <a:cubicBezTo>
                        <a:pt x="100523" y="56184"/>
                        <a:pt x="105632" y="61294"/>
                        <a:pt x="105632" y="67574"/>
                      </a:cubicBezTo>
                      <a:cubicBezTo>
                        <a:pt x="105632" y="73854"/>
                        <a:pt x="100523" y="78963"/>
                        <a:pt x="94243" y="7896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527" name="Graphic 6">
                <a:extLst>
                  <a:ext uri="{FF2B5EF4-FFF2-40B4-BE49-F238E27FC236}">
                    <a16:creationId xmlns:a16="http://schemas.microsoft.com/office/drawing/2014/main" id="{20F9FF73-9F95-4AB5-864B-860B86993A6D}"/>
                  </a:ext>
                </a:extLst>
              </p:cNvPr>
              <p:cNvGrpSpPr/>
              <p:nvPr/>
            </p:nvGrpSpPr>
            <p:grpSpPr>
              <a:xfrm>
                <a:off x="2850188" y="4816493"/>
                <a:ext cx="109555" cy="82880"/>
                <a:chOff x="2850228" y="4816585"/>
                <a:chExt cx="109555" cy="82880"/>
              </a:xfrm>
              <a:solidFill>
                <a:srgbClr val="069688"/>
              </a:solidFill>
            </p:grpSpPr>
            <p:sp>
              <p:nvSpPr>
                <p:cNvPr id="582" name="Freeform: Shape 581">
                  <a:extLst>
                    <a:ext uri="{FF2B5EF4-FFF2-40B4-BE49-F238E27FC236}">
                      <a16:creationId xmlns:a16="http://schemas.microsoft.com/office/drawing/2014/main" id="{3500881A-47E3-41D0-9402-DBCCAD7B3185}"/>
                    </a:ext>
                  </a:extLst>
                </p:cNvPr>
                <p:cNvSpPr/>
                <p:nvPr/>
              </p:nvSpPr>
              <p:spPr>
                <a:xfrm>
                  <a:off x="2937626" y="4877318"/>
                  <a:ext cx="13689" cy="13695"/>
                </a:xfrm>
                <a:custGeom>
                  <a:avLst/>
                  <a:gdLst>
                    <a:gd name="connsiteX0" fmla="*/ 6845 w 13689"/>
                    <a:gd name="connsiteY0" fmla="*/ 0 h 13695"/>
                    <a:gd name="connsiteX1" fmla="*/ 0 w 13689"/>
                    <a:gd name="connsiteY1" fmla="*/ 6845 h 13695"/>
                    <a:gd name="connsiteX2" fmla="*/ 6845 w 13689"/>
                    <a:gd name="connsiteY2" fmla="*/ 13695 h 13695"/>
                    <a:gd name="connsiteX3" fmla="*/ 13690 w 13689"/>
                    <a:gd name="connsiteY3" fmla="*/ 6845 h 13695"/>
                    <a:gd name="connsiteX4" fmla="*/ 6845 w 13689"/>
                    <a:gd name="connsiteY4" fmla="*/ 0 h 13695"/>
                    <a:gd name="connsiteX5" fmla="*/ 6845 w 13689"/>
                    <a:gd name="connsiteY5" fmla="*/ 9782 h 13695"/>
                    <a:gd name="connsiteX6" fmla="*/ 3908 w 13689"/>
                    <a:gd name="connsiteY6" fmla="*/ 6845 h 13695"/>
                    <a:gd name="connsiteX7" fmla="*/ 6845 w 13689"/>
                    <a:gd name="connsiteY7" fmla="*/ 3913 h 13695"/>
                    <a:gd name="connsiteX8" fmla="*/ 9777 w 13689"/>
                    <a:gd name="connsiteY8" fmla="*/ 6845 h 13695"/>
                    <a:gd name="connsiteX9" fmla="*/ 6845 w 13689"/>
                    <a:gd name="connsiteY9" fmla="*/ 9782 h 1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89" h="13695">
                      <a:moveTo>
                        <a:pt x="6845" y="0"/>
                      </a:moveTo>
                      <a:cubicBezTo>
                        <a:pt x="3071" y="0"/>
                        <a:pt x="0" y="3071"/>
                        <a:pt x="0" y="6845"/>
                      </a:cubicBezTo>
                      <a:cubicBezTo>
                        <a:pt x="0" y="10619"/>
                        <a:pt x="3071" y="13695"/>
                        <a:pt x="6845" y="13695"/>
                      </a:cubicBezTo>
                      <a:cubicBezTo>
                        <a:pt x="10619" y="13695"/>
                        <a:pt x="13690" y="10624"/>
                        <a:pt x="13690" y="6845"/>
                      </a:cubicBezTo>
                      <a:cubicBezTo>
                        <a:pt x="13690" y="3066"/>
                        <a:pt x="10619" y="0"/>
                        <a:pt x="6845" y="0"/>
                      </a:cubicBezTo>
                      <a:close/>
                      <a:moveTo>
                        <a:pt x="6845" y="9782"/>
                      </a:moveTo>
                      <a:cubicBezTo>
                        <a:pt x="5227" y="9782"/>
                        <a:pt x="3908" y="8468"/>
                        <a:pt x="3908" y="6845"/>
                      </a:cubicBezTo>
                      <a:cubicBezTo>
                        <a:pt x="3908" y="5222"/>
                        <a:pt x="5222" y="3913"/>
                        <a:pt x="6845" y="3913"/>
                      </a:cubicBezTo>
                      <a:cubicBezTo>
                        <a:pt x="8468" y="3913"/>
                        <a:pt x="9777" y="5227"/>
                        <a:pt x="9777" y="6845"/>
                      </a:cubicBezTo>
                      <a:cubicBezTo>
                        <a:pt x="9777" y="8462"/>
                        <a:pt x="8462" y="9782"/>
                        <a:pt x="6845" y="9782"/>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83" name="Freeform: Shape 582">
                  <a:extLst>
                    <a:ext uri="{FF2B5EF4-FFF2-40B4-BE49-F238E27FC236}">
                      <a16:creationId xmlns:a16="http://schemas.microsoft.com/office/drawing/2014/main" id="{38AC54AC-790E-4DA5-A70B-0F163C54F86F}"/>
                    </a:ext>
                  </a:extLst>
                </p:cNvPr>
                <p:cNvSpPr/>
                <p:nvPr/>
              </p:nvSpPr>
              <p:spPr>
                <a:xfrm>
                  <a:off x="2858249" y="4877318"/>
                  <a:ext cx="13689" cy="13695"/>
                </a:xfrm>
                <a:custGeom>
                  <a:avLst/>
                  <a:gdLst>
                    <a:gd name="connsiteX0" fmla="*/ 0 w 13689"/>
                    <a:gd name="connsiteY0" fmla="*/ 6845 h 13695"/>
                    <a:gd name="connsiteX1" fmla="*/ 6845 w 13689"/>
                    <a:gd name="connsiteY1" fmla="*/ 13695 h 13695"/>
                    <a:gd name="connsiteX2" fmla="*/ 13690 w 13689"/>
                    <a:gd name="connsiteY2" fmla="*/ 6845 h 13695"/>
                    <a:gd name="connsiteX3" fmla="*/ 6845 w 13689"/>
                    <a:gd name="connsiteY3" fmla="*/ 0 h 13695"/>
                    <a:gd name="connsiteX4" fmla="*/ 0 w 13689"/>
                    <a:gd name="connsiteY4" fmla="*/ 6845 h 13695"/>
                    <a:gd name="connsiteX5" fmla="*/ 9782 w 13689"/>
                    <a:gd name="connsiteY5" fmla="*/ 6845 h 13695"/>
                    <a:gd name="connsiteX6" fmla="*/ 6845 w 13689"/>
                    <a:gd name="connsiteY6" fmla="*/ 9782 h 13695"/>
                    <a:gd name="connsiteX7" fmla="*/ 3913 w 13689"/>
                    <a:gd name="connsiteY7" fmla="*/ 6845 h 13695"/>
                    <a:gd name="connsiteX8" fmla="*/ 6845 w 13689"/>
                    <a:gd name="connsiteY8" fmla="*/ 3913 h 13695"/>
                    <a:gd name="connsiteX9" fmla="*/ 9782 w 13689"/>
                    <a:gd name="connsiteY9" fmla="*/ 6845 h 1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89" h="13695">
                      <a:moveTo>
                        <a:pt x="0" y="6845"/>
                      </a:moveTo>
                      <a:cubicBezTo>
                        <a:pt x="0" y="10619"/>
                        <a:pt x="3071" y="13695"/>
                        <a:pt x="6845" y="13695"/>
                      </a:cubicBezTo>
                      <a:cubicBezTo>
                        <a:pt x="10619" y="13695"/>
                        <a:pt x="13690" y="10624"/>
                        <a:pt x="13690" y="6845"/>
                      </a:cubicBezTo>
                      <a:cubicBezTo>
                        <a:pt x="13690" y="3066"/>
                        <a:pt x="10619" y="0"/>
                        <a:pt x="6845" y="0"/>
                      </a:cubicBezTo>
                      <a:cubicBezTo>
                        <a:pt x="3071" y="0"/>
                        <a:pt x="0" y="3071"/>
                        <a:pt x="0" y="6845"/>
                      </a:cubicBezTo>
                      <a:close/>
                      <a:moveTo>
                        <a:pt x="9782" y="6845"/>
                      </a:moveTo>
                      <a:cubicBezTo>
                        <a:pt x="9782" y="8462"/>
                        <a:pt x="8468" y="9782"/>
                        <a:pt x="6845" y="9782"/>
                      </a:cubicBezTo>
                      <a:cubicBezTo>
                        <a:pt x="5222" y="9782"/>
                        <a:pt x="3913" y="8468"/>
                        <a:pt x="3913" y="6845"/>
                      </a:cubicBezTo>
                      <a:cubicBezTo>
                        <a:pt x="3913" y="5222"/>
                        <a:pt x="5228" y="3913"/>
                        <a:pt x="6845" y="3913"/>
                      </a:cubicBezTo>
                      <a:cubicBezTo>
                        <a:pt x="8463" y="3913"/>
                        <a:pt x="9782" y="5227"/>
                        <a:pt x="9782" y="6845"/>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84" name="Freeform: Shape 583">
                  <a:extLst>
                    <a:ext uri="{FF2B5EF4-FFF2-40B4-BE49-F238E27FC236}">
                      <a16:creationId xmlns:a16="http://schemas.microsoft.com/office/drawing/2014/main" id="{4F53A3A7-0F16-4259-A9BB-4F13E46384EB}"/>
                    </a:ext>
                  </a:extLst>
                </p:cNvPr>
                <p:cNvSpPr/>
                <p:nvPr/>
              </p:nvSpPr>
              <p:spPr>
                <a:xfrm>
                  <a:off x="2850228" y="4816585"/>
                  <a:ext cx="109555" cy="82880"/>
                </a:xfrm>
                <a:custGeom>
                  <a:avLst/>
                  <a:gdLst>
                    <a:gd name="connsiteX0" fmla="*/ 94243 w 109555"/>
                    <a:gd name="connsiteY0" fmla="*/ 52276 h 82880"/>
                    <a:gd name="connsiteX1" fmla="*/ 78940 w 109555"/>
                    <a:gd name="connsiteY1" fmla="*/ 67578 h 82880"/>
                    <a:gd name="connsiteX2" fmla="*/ 52223 w 109555"/>
                    <a:gd name="connsiteY2" fmla="*/ 67630 h 82880"/>
                    <a:gd name="connsiteX3" fmla="*/ 28905 w 109555"/>
                    <a:gd name="connsiteY3" fmla="*/ 38442 h 82880"/>
                    <a:gd name="connsiteX4" fmla="*/ 28854 w 109555"/>
                    <a:gd name="connsiteY4" fmla="*/ 38391 h 82880"/>
                    <a:gd name="connsiteX5" fmla="*/ 45660 w 109555"/>
                    <a:gd name="connsiteY5" fmla="*/ 8238 h 82880"/>
                    <a:gd name="connsiteX6" fmla="*/ 54277 w 109555"/>
                    <a:gd name="connsiteY6" fmla="*/ 11663 h 82880"/>
                    <a:gd name="connsiteX7" fmla="*/ 55001 w 109555"/>
                    <a:gd name="connsiteY7" fmla="*/ 11802 h 82880"/>
                    <a:gd name="connsiteX8" fmla="*/ 56819 w 109555"/>
                    <a:gd name="connsiteY8" fmla="*/ 10569 h 82880"/>
                    <a:gd name="connsiteX9" fmla="*/ 55725 w 109555"/>
                    <a:gd name="connsiteY9" fmla="*/ 8033 h 82880"/>
                    <a:gd name="connsiteX10" fmla="*/ 42348 w 109555"/>
                    <a:gd name="connsiteY10" fmla="*/ 2713 h 82880"/>
                    <a:gd name="connsiteX11" fmla="*/ 36197 w 109555"/>
                    <a:gd name="connsiteY11" fmla="*/ 150 h 82880"/>
                    <a:gd name="connsiteX12" fmla="*/ 33639 w 109555"/>
                    <a:gd name="connsiteY12" fmla="*/ 1203 h 82880"/>
                    <a:gd name="connsiteX13" fmla="*/ 34692 w 109555"/>
                    <a:gd name="connsiteY13" fmla="*/ 3760 h 82880"/>
                    <a:gd name="connsiteX14" fmla="*/ 40834 w 109555"/>
                    <a:gd name="connsiteY14" fmla="*/ 6318 h 82880"/>
                    <a:gd name="connsiteX15" fmla="*/ 41989 w 109555"/>
                    <a:gd name="connsiteY15" fmla="*/ 6800 h 82880"/>
                    <a:gd name="connsiteX16" fmla="*/ 16745 w 109555"/>
                    <a:gd name="connsiteY16" fmla="*/ 52096 h 82880"/>
                    <a:gd name="connsiteX17" fmla="*/ 16637 w 109555"/>
                    <a:gd name="connsiteY17" fmla="*/ 52343 h 82880"/>
                    <a:gd name="connsiteX18" fmla="*/ 15302 w 109555"/>
                    <a:gd name="connsiteY18" fmla="*/ 52276 h 82880"/>
                    <a:gd name="connsiteX19" fmla="*/ 0 w 109555"/>
                    <a:gd name="connsiteY19" fmla="*/ 67578 h 82880"/>
                    <a:gd name="connsiteX20" fmla="*/ 15302 w 109555"/>
                    <a:gd name="connsiteY20" fmla="*/ 82881 h 82880"/>
                    <a:gd name="connsiteX21" fmla="*/ 30605 w 109555"/>
                    <a:gd name="connsiteY21" fmla="*/ 67578 h 82880"/>
                    <a:gd name="connsiteX22" fmla="*/ 22122 w 109555"/>
                    <a:gd name="connsiteY22" fmla="*/ 53899 h 82880"/>
                    <a:gd name="connsiteX23" fmla="*/ 36253 w 109555"/>
                    <a:gd name="connsiteY23" fmla="*/ 53899 h 82880"/>
                    <a:gd name="connsiteX24" fmla="*/ 49763 w 109555"/>
                    <a:gd name="connsiteY24" fmla="*/ 70803 h 82880"/>
                    <a:gd name="connsiteX25" fmla="*/ 51293 w 109555"/>
                    <a:gd name="connsiteY25" fmla="*/ 71537 h 82880"/>
                    <a:gd name="connsiteX26" fmla="*/ 79490 w 109555"/>
                    <a:gd name="connsiteY26" fmla="*/ 71537 h 82880"/>
                    <a:gd name="connsiteX27" fmla="*/ 94253 w 109555"/>
                    <a:gd name="connsiteY27" fmla="*/ 82881 h 82880"/>
                    <a:gd name="connsiteX28" fmla="*/ 109555 w 109555"/>
                    <a:gd name="connsiteY28" fmla="*/ 67578 h 82880"/>
                    <a:gd name="connsiteX29" fmla="*/ 94253 w 109555"/>
                    <a:gd name="connsiteY29" fmla="*/ 52276 h 82880"/>
                    <a:gd name="connsiteX30" fmla="*/ 26687 w 109555"/>
                    <a:gd name="connsiteY30" fmla="*/ 67578 h 82880"/>
                    <a:gd name="connsiteX31" fmla="*/ 15297 w 109555"/>
                    <a:gd name="connsiteY31" fmla="*/ 78968 h 82880"/>
                    <a:gd name="connsiteX32" fmla="*/ 3908 w 109555"/>
                    <a:gd name="connsiteY32" fmla="*/ 67578 h 82880"/>
                    <a:gd name="connsiteX33" fmla="*/ 15297 w 109555"/>
                    <a:gd name="connsiteY33" fmla="*/ 56189 h 82880"/>
                    <a:gd name="connsiteX34" fmla="*/ 26687 w 109555"/>
                    <a:gd name="connsiteY34" fmla="*/ 67578 h 82880"/>
                    <a:gd name="connsiteX35" fmla="*/ 22389 w 109555"/>
                    <a:gd name="connsiteY35" fmla="*/ 49986 h 82880"/>
                    <a:gd name="connsiteX36" fmla="*/ 26800 w 109555"/>
                    <a:gd name="connsiteY36" fmla="*/ 42073 h 82880"/>
                    <a:gd name="connsiteX37" fmla="*/ 33121 w 109555"/>
                    <a:gd name="connsiteY37" fmla="*/ 49986 h 82880"/>
                    <a:gd name="connsiteX38" fmla="*/ 22389 w 109555"/>
                    <a:gd name="connsiteY38" fmla="*/ 49986 h 82880"/>
                    <a:gd name="connsiteX39" fmla="*/ 94248 w 109555"/>
                    <a:gd name="connsiteY39" fmla="*/ 78968 h 82880"/>
                    <a:gd name="connsiteX40" fmla="*/ 82858 w 109555"/>
                    <a:gd name="connsiteY40" fmla="*/ 67578 h 82880"/>
                    <a:gd name="connsiteX41" fmla="*/ 94248 w 109555"/>
                    <a:gd name="connsiteY41" fmla="*/ 56189 h 82880"/>
                    <a:gd name="connsiteX42" fmla="*/ 105637 w 109555"/>
                    <a:gd name="connsiteY42" fmla="*/ 67578 h 82880"/>
                    <a:gd name="connsiteX43" fmla="*/ 94248 w 109555"/>
                    <a:gd name="connsiteY43" fmla="*/ 78968 h 8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09555" h="82880">
                      <a:moveTo>
                        <a:pt x="94243" y="52276"/>
                      </a:moveTo>
                      <a:cubicBezTo>
                        <a:pt x="85806" y="52276"/>
                        <a:pt x="78940" y="59141"/>
                        <a:pt x="78940" y="67578"/>
                      </a:cubicBezTo>
                      <a:cubicBezTo>
                        <a:pt x="78940" y="67630"/>
                        <a:pt x="52223" y="67630"/>
                        <a:pt x="52223" y="67630"/>
                      </a:cubicBezTo>
                      <a:lnTo>
                        <a:pt x="28905" y="38442"/>
                      </a:lnTo>
                      <a:cubicBezTo>
                        <a:pt x="28905" y="38442"/>
                        <a:pt x="28869" y="38406"/>
                        <a:pt x="28854" y="38391"/>
                      </a:cubicBezTo>
                      <a:lnTo>
                        <a:pt x="45660" y="8238"/>
                      </a:lnTo>
                      <a:lnTo>
                        <a:pt x="54277" y="11663"/>
                      </a:lnTo>
                      <a:cubicBezTo>
                        <a:pt x="54513" y="11756"/>
                        <a:pt x="54760" y="11802"/>
                        <a:pt x="55001" y="11802"/>
                      </a:cubicBezTo>
                      <a:cubicBezTo>
                        <a:pt x="55776" y="11802"/>
                        <a:pt x="56516" y="11334"/>
                        <a:pt x="56819" y="10569"/>
                      </a:cubicBezTo>
                      <a:cubicBezTo>
                        <a:pt x="57219" y="9568"/>
                        <a:pt x="56726" y="8428"/>
                        <a:pt x="55725" y="8033"/>
                      </a:cubicBezTo>
                      <a:lnTo>
                        <a:pt x="42348" y="2713"/>
                      </a:lnTo>
                      <a:lnTo>
                        <a:pt x="36197" y="150"/>
                      </a:lnTo>
                      <a:cubicBezTo>
                        <a:pt x="35195" y="-266"/>
                        <a:pt x="34055" y="212"/>
                        <a:pt x="33639" y="1203"/>
                      </a:cubicBezTo>
                      <a:cubicBezTo>
                        <a:pt x="33223" y="2199"/>
                        <a:pt x="33696" y="3344"/>
                        <a:pt x="34692" y="3760"/>
                      </a:cubicBezTo>
                      <a:lnTo>
                        <a:pt x="40834" y="6318"/>
                      </a:lnTo>
                      <a:cubicBezTo>
                        <a:pt x="40834" y="6318"/>
                        <a:pt x="41989" y="6800"/>
                        <a:pt x="41989" y="6800"/>
                      </a:cubicBezTo>
                      <a:lnTo>
                        <a:pt x="16745" y="52096"/>
                      </a:lnTo>
                      <a:cubicBezTo>
                        <a:pt x="16699" y="52178"/>
                        <a:pt x="16668" y="52261"/>
                        <a:pt x="16637" y="52343"/>
                      </a:cubicBezTo>
                      <a:cubicBezTo>
                        <a:pt x="16196" y="52307"/>
                        <a:pt x="15754" y="52276"/>
                        <a:pt x="15302" y="52276"/>
                      </a:cubicBezTo>
                      <a:cubicBezTo>
                        <a:pt x="6865" y="52276"/>
                        <a:pt x="0" y="59141"/>
                        <a:pt x="0" y="67578"/>
                      </a:cubicBezTo>
                      <a:cubicBezTo>
                        <a:pt x="0" y="76015"/>
                        <a:pt x="6865" y="82881"/>
                        <a:pt x="15302" y="82881"/>
                      </a:cubicBezTo>
                      <a:cubicBezTo>
                        <a:pt x="23739" y="82881"/>
                        <a:pt x="30605" y="76015"/>
                        <a:pt x="30605" y="67578"/>
                      </a:cubicBezTo>
                      <a:cubicBezTo>
                        <a:pt x="30605" y="61591"/>
                        <a:pt x="27144" y="56415"/>
                        <a:pt x="22122" y="53899"/>
                      </a:cubicBezTo>
                      <a:lnTo>
                        <a:pt x="36253" y="53899"/>
                      </a:lnTo>
                      <a:lnTo>
                        <a:pt x="49763" y="70803"/>
                      </a:lnTo>
                      <a:cubicBezTo>
                        <a:pt x="50133" y="71270"/>
                        <a:pt x="50698" y="71537"/>
                        <a:pt x="51293" y="71537"/>
                      </a:cubicBezTo>
                      <a:lnTo>
                        <a:pt x="79490" y="71537"/>
                      </a:lnTo>
                      <a:cubicBezTo>
                        <a:pt x="81241" y="78059"/>
                        <a:pt x="87187" y="82881"/>
                        <a:pt x="94253" y="82881"/>
                      </a:cubicBezTo>
                      <a:cubicBezTo>
                        <a:pt x="102690" y="82881"/>
                        <a:pt x="109555" y="76015"/>
                        <a:pt x="109555" y="67578"/>
                      </a:cubicBezTo>
                      <a:cubicBezTo>
                        <a:pt x="109555" y="59141"/>
                        <a:pt x="102690" y="52276"/>
                        <a:pt x="94253" y="52276"/>
                      </a:cubicBezTo>
                      <a:close/>
                      <a:moveTo>
                        <a:pt x="26687" y="67578"/>
                      </a:moveTo>
                      <a:cubicBezTo>
                        <a:pt x="26687" y="73858"/>
                        <a:pt x="21577" y="78968"/>
                        <a:pt x="15297" y="78968"/>
                      </a:cubicBezTo>
                      <a:cubicBezTo>
                        <a:pt x="9017" y="78968"/>
                        <a:pt x="3908" y="73858"/>
                        <a:pt x="3908" y="67578"/>
                      </a:cubicBezTo>
                      <a:cubicBezTo>
                        <a:pt x="3908" y="61298"/>
                        <a:pt x="9017" y="56189"/>
                        <a:pt x="15297" y="56189"/>
                      </a:cubicBezTo>
                      <a:cubicBezTo>
                        <a:pt x="21577" y="56189"/>
                        <a:pt x="26687" y="61298"/>
                        <a:pt x="26687" y="67578"/>
                      </a:cubicBezTo>
                      <a:close/>
                      <a:moveTo>
                        <a:pt x="22389" y="49986"/>
                      </a:moveTo>
                      <a:lnTo>
                        <a:pt x="26800" y="42073"/>
                      </a:lnTo>
                      <a:lnTo>
                        <a:pt x="33121" y="49986"/>
                      </a:lnTo>
                      <a:lnTo>
                        <a:pt x="22389" y="49986"/>
                      </a:lnTo>
                      <a:close/>
                      <a:moveTo>
                        <a:pt x="94248" y="78968"/>
                      </a:moveTo>
                      <a:cubicBezTo>
                        <a:pt x="87968" y="78968"/>
                        <a:pt x="82858" y="73858"/>
                        <a:pt x="82858" y="67578"/>
                      </a:cubicBezTo>
                      <a:cubicBezTo>
                        <a:pt x="82858" y="61298"/>
                        <a:pt x="87968" y="56189"/>
                        <a:pt x="94248" y="56189"/>
                      </a:cubicBezTo>
                      <a:cubicBezTo>
                        <a:pt x="100528" y="56189"/>
                        <a:pt x="105637" y="61298"/>
                        <a:pt x="105637" y="67578"/>
                      </a:cubicBezTo>
                      <a:cubicBezTo>
                        <a:pt x="105637" y="73858"/>
                        <a:pt x="100528" y="78968"/>
                        <a:pt x="94248" y="78968"/>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sp>
            <p:nvSpPr>
              <p:cNvPr id="528" name="Freeform: Shape 527">
                <a:extLst>
                  <a:ext uri="{FF2B5EF4-FFF2-40B4-BE49-F238E27FC236}">
                    <a16:creationId xmlns:a16="http://schemas.microsoft.com/office/drawing/2014/main" id="{237BC13C-B30E-4ADB-9A03-480EA00CEE41}"/>
                  </a:ext>
                </a:extLst>
              </p:cNvPr>
              <p:cNvSpPr/>
              <p:nvPr/>
            </p:nvSpPr>
            <p:spPr>
              <a:xfrm>
                <a:off x="1580142" y="4700838"/>
                <a:ext cx="111429" cy="198226"/>
              </a:xfrm>
              <a:custGeom>
                <a:avLst/>
                <a:gdLst>
                  <a:gd name="connsiteX0" fmla="*/ 107681 w 111429"/>
                  <a:gd name="connsiteY0" fmla="*/ 150605 h 198226"/>
                  <a:gd name="connsiteX1" fmla="*/ 107630 w 111429"/>
                  <a:gd name="connsiteY1" fmla="*/ 150553 h 198226"/>
                  <a:gd name="connsiteX2" fmla="*/ 84009 w 111429"/>
                  <a:gd name="connsiteY2" fmla="*/ 124349 h 198226"/>
                  <a:gd name="connsiteX3" fmla="*/ 88830 w 111429"/>
                  <a:gd name="connsiteY3" fmla="*/ 124349 h 198226"/>
                  <a:gd name="connsiteX4" fmla="*/ 103522 w 111429"/>
                  <a:gd name="connsiteY4" fmla="*/ 109658 h 198226"/>
                  <a:gd name="connsiteX5" fmla="*/ 100261 w 111429"/>
                  <a:gd name="connsiteY5" fmla="*/ 100425 h 198226"/>
                  <a:gd name="connsiteX6" fmla="*/ 100210 w 111429"/>
                  <a:gd name="connsiteY6" fmla="*/ 100374 h 198226"/>
                  <a:gd name="connsiteX7" fmla="*/ 80496 w 111429"/>
                  <a:gd name="connsiteY7" fmla="*/ 78499 h 198226"/>
                  <a:gd name="connsiteX8" fmla="*/ 81934 w 111429"/>
                  <a:gd name="connsiteY8" fmla="*/ 78499 h 198226"/>
                  <a:gd name="connsiteX9" fmla="*/ 93965 w 111429"/>
                  <a:gd name="connsiteY9" fmla="*/ 66468 h 198226"/>
                  <a:gd name="connsiteX10" fmla="*/ 91290 w 111429"/>
                  <a:gd name="connsiteY10" fmla="*/ 58909 h 198226"/>
                  <a:gd name="connsiteX11" fmla="*/ 91239 w 111429"/>
                  <a:gd name="connsiteY11" fmla="*/ 58857 h 198226"/>
                  <a:gd name="connsiteX12" fmla="*/ 76234 w 111429"/>
                  <a:gd name="connsiteY12" fmla="*/ 42205 h 198226"/>
                  <a:gd name="connsiteX13" fmla="*/ 85549 w 111429"/>
                  <a:gd name="connsiteY13" fmla="*/ 32525 h 198226"/>
                  <a:gd name="connsiteX14" fmla="*/ 83398 w 111429"/>
                  <a:gd name="connsiteY14" fmla="*/ 26430 h 198226"/>
                  <a:gd name="connsiteX15" fmla="*/ 83346 w 111429"/>
                  <a:gd name="connsiteY15" fmla="*/ 26379 h 198226"/>
                  <a:gd name="connsiteX16" fmla="*/ 63659 w 111429"/>
                  <a:gd name="connsiteY16" fmla="*/ 4534 h 198226"/>
                  <a:gd name="connsiteX17" fmla="*/ 55735 w 111429"/>
                  <a:gd name="connsiteY17" fmla="*/ 0 h 198226"/>
                  <a:gd name="connsiteX18" fmla="*/ 47797 w 111429"/>
                  <a:gd name="connsiteY18" fmla="*/ 4534 h 198226"/>
                  <a:gd name="connsiteX19" fmla="*/ 28124 w 111429"/>
                  <a:gd name="connsiteY19" fmla="*/ 26348 h 198226"/>
                  <a:gd name="connsiteX20" fmla="*/ 28058 w 111429"/>
                  <a:gd name="connsiteY20" fmla="*/ 26430 h 198226"/>
                  <a:gd name="connsiteX21" fmla="*/ 25901 w 111429"/>
                  <a:gd name="connsiteY21" fmla="*/ 32525 h 198226"/>
                  <a:gd name="connsiteX22" fmla="*/ 35231 w 111429"/>
                  <a:gd name="connsiteY22" fmla="*/ 42205 h 198226"/>
                  <a:gd name="connsiteX23" fmla="*/ 20242 w 111429"/>
                  <a:gd name="connsiteY23" fmla="*/ 58827 h 198226"/>
                  <a:gd name="connsiteX24" fmla="*/ 20175 w 111429"/>
                  <a:gd name="connsiteY24" fmla="*/ 58909 h 198226"/>
                  <a:gd name="connsiteX25" fmla="*/ 17500 w 111429"/>
                  <a:gd name="connsiteY25" fmla="*/ 66468 h 198226"/>
                  <a:gd name="connsiteX26" fmla="*/ 29531 w 111429"/>
                  <a:gd name="connsiteY26" fmla="*/ 78499 h 198226"/>
                  <a:gd name="connsiteX27" fmla="*/ 30938 w 111429"/>
                  <a:gd name="connsiteY27" fmla="*/ 78499 h 198226"/>
                  <a:gd name="connsiteX28" fmla="*/ 11241 w 111429"/>
                  <a:gd name="connsiteY28" fmla="*/ 100343 h 198226"/>
                  <a:gd name="connsiteX29" fmla="*/ 11174 w 111429"/>
                  <a:gd name="connsiteY29" fmla="*/ 100425 h 198226"/>
                  <a:gd name="connsiteX30" fmla="*/ 7913 w 111429"/>
                  <a:gd name="connsiteY30" fmla="*/ 109658 h 198226"/>
                  <a:gd name="connsiteX31" fmla="*/ 22604 w 111429"/>
                  <a:gd name="connsiteY31" fmla="*/ 124349 h 198226"/>
                  <a:gd name="connsiteX32" fmla="*/ 27426 w 111429"/>
                  <a:gd name="connsiteY32" fmla="*/ 124349 h 198226"/>
                  <a:gd name="connsiteX33" fmla="*/ 3820 w 111429"/>
                  <a:gd name="connsiteY33" fmla="*/ 150523 h 198226"/>
                  <a:gd name="connsiteX34" fmla="*/ 3754 w 111429"/>
                  <a:gd name="connsiteY34" fmla="*/ 150605 h 198226"/>
                  <a:gd name="connsiteX35" fmla="*/ 0 w 111429"/>
                  <a:gd name="connsiteY35" fmla="*/ 161219 h 198226"/>
                  <a:gd name="connsiteX36" fmla="*/ 16889 w 111429"/>
                  <a:gd name="connsiteY36" fmla="*/ 178108 h 198226"/>
                  <a:gd name="connsiteX37" fmla="*/ 43714 w 111429"/>
                  <a:gd name="connsiteY37" fmla="*/ 178108 h 198226"/>
                  <a:gd name="connsiteX38" fmla="*/ 43714 w 111429"/>
                  <a:gd name="connsiteY38" fmla="*/ 196270 h 198226"/>
                  <a:gd name="connsiteX39" fmla="*/ 45671 w 111429"/>
                  <a:gd name="connsiteY39" fmla="*/ 198227 h 198226"/>
                  <a:gd name="connsiteX40" fmla="*/ 65790 w 111429"/>
                  <a:gd name="connsiteY40" fmla="*/ 198227 h 198226"/>
                  <a:gd name="connsiteX41" fmla="*/ 67746 w 111429"/>
                  <a:gd name="connsiteY41" fmla="*/ 196270 h 198226"/>
                  <a:gd name="connsiteX42" fmla="*/ 67746 w 111429"/>
                  <a:gd name="connsiteY42" fmla="*/ 178108 h 198226"/>
                  <a:gd name="connsiteX43" fmla="*/ 94541 w 111429"/>
                  <a:gd name="connsiteY43" fmla="*/ 178108 h 198226"/>
                  <a:gd name="connsiteX44" fmla="*/ 111430 w 111429"/>
                  <a:gd name="connsiteY44" fmla="*/ 161219 h 198226"/>
                  <a:gd name="connsiteX45" fmla="*/ 107681 w 111429"/>
                  <a:gd name="connsiteY45" fmla="*/ 150605 h 198226"/>
                  <a:gd name="connsiteX46" fmla="*/ 29809 w 111429"/>
                  <a:gd name="connsiteY46" fmla="*/ 32525 h 198226"/>
                  <a:gd name="connsiteX47" fmla="*/ 31077 w 111429"/>
                  <a:gd name="connsiteY47" fmla="*/ 28910 h 198226"/>
                  <a:gd name="connsiteX48" fmla="*/ 50693 w 111429"/>
                  <a:gd name="connsiteY48" fmla="*/ 7158 h 198226"/>
                  <a:gd name="connsiteX49" fmla="*/ 55715 w 111429"/>
                  <a:gd name="connsiteY49" fmla="*/ 3913 h 198226"/>
                  <a:gd name="connsiteX50" fmla="*/ 60727 w 111429"/>
                  <a:gd name="connsiteY50" fmla="*/ 7133 h 198226"/>
                  <a:gd name="connsiteX51" fmla="*/ 80363 w 111429"/>
                  <a:gd name="connsiteY51" fmla="*/ 28910 h 198226"/>
                  <a:gd name="connsiteX52" fmla="*/ 81631 w 111429"/>
                  <a:gd name="connsiteY52" fmla="*/ 32525 h 198226"/>
                  <a:gd name="connsiteX53" fmla="*/ 75844 w 111429"/>
                  <a:gd name="connsiteY53" fmla="*/ 38312 h 198226"/>
                  <a:gd name="connsiteX54" fmla="*/ 35596 w 111429"/>
                  <a:gd name="connsiteY54" fmla="*/ 38312 h 198226"/>
                  <a:gd name="connsiteX55" fmla="*/ 29809 w 111429"/>
                  <a:gd name="connsiteY55" fmla="*/ 32525 h 198226"/>
                  <a:gd name="connsiteX56" fmla="*/ 29531 w 111429"/>
                  <a:gd name="connsiteY56" fmla="*/ 74586 h 198226"/>
                  <a:gd name="connsiteX57" fmla="*/ 21413 w 111429"/>
                  <a:gd name="connsiteY57" fmla="*/ 66468 h 198226"/>
                  <a:gd name="connsiteX58" fmla="*/ 23200 w 111429"/>
                  <a:gd name="connsiteY58" fmla="*/ 61389 h 198226"/>
                  <a:gd name="connsiteX59" fmla="*/ 40479 w 111429"/>
                  <a:gd name="connsiteY59" fmla="*/ 42225 h 198226"/>
                  <a:gd name="connsiteX60" fmla="*/ 70981 w 111429"/>
                  <a:gd name="connsiteY60" fmla="*/ 42225 h 198226"/>
                  <a:gd name="connsiteX61" fmla="*/ 88260 w 111429"/>
                  <a:gd name="connsiteY61" fmla="*/ 61389 h 198226"/>
                  <a:gd name="connsiteX62" fmla="*/ 90047 w 111429"/>
                  <a:gd name="connsiteY62" fmla="*/ 66468 h 198226"/>
                  <a:gd name="connsiteX63" fmla="*/ 81929 w 111429"/>
                  <a:gd name="connsiteY63" fmla="*/ 74586 h 198226"/>
                  <a:gd name="connsiteX64" fmla="*/ 29531 w 111429"/>
                  <a:gd name="connsiteY64" fmla="*/ 74586 h 198226"/>
                  <a:gd name="connsiteX65" fmla="*/ 22604 w 111429"/>
                  <a:gd name="connsiteY65" fmla="*/ 120431 h 198226"/>
                  <a:gd name="connsiteX66" fmla="*/ 11826 w 111429"/>
                  <a:gd name="connsiteY66" fmla="*/ 109653 h 198226"/>
                  <a:gd name="connsiteX67" fmla="*/ 14193 w 111429"/>
                  <a:gd name="connsiteY67" fmla="*/ 102911 h 198226"/>
                  <a:gd name="connsiteX68" fmla="*/ 36207 w 111429"/>
                  <a:gd name="connsiteY68" fmla="*/ 78494 h 198226"/>
                  <a:gd name="connsiteX69" fmla="*/ 75218 w 111429"/>
                  <a:gd name="connsiteY69" fmla="*/ 78494 h 198226"/>
                  <a:gd name="connsiteX70" fmla="*/ 97231 w 111429"/>
                  <a:gd name="connsiteY70" fmla="*/ 102911 h 198226"/>
                  <a:gd name="connsiteX71" fmla="*/ 99599 w 111429"/>
                  <a:gd name="connsiteY71" fmla="*/ 109653 h 198226"/>
                  <a:gd name="connsiteX72" fmla="*/ 88820 w 111429"/>
                  <a:gd name="connsiteY72" fmla="*/ 120431 h 198226"/>
                  <a:gd name="connsiteX73" fmla="*/ 22604 w 111429"/>
                  <a:gd name="connsiteY73" fmla="*/ 120431 h 198226"/>
                  <a:gd name="connsiteX74" fmla="*/ 63833 w 111429"/>
                  <a:gd name="connsiteY74" fmla="*/ 194304 h 198226"/>
                  <a:gd name="connsiteX75" fmla="*/ 47627 w 111429"/>
                  <a:gd name="connsiteY75" fmla="*/ 194304 h 198226"/>
                  <a:gd name="connsiteX76" fmla="*/ 47627 w 111429"/>
                  <a:gd name="connsiteY76" fmla="*/ 178097 h 198226"/>
                  <a:gd name="connsiteX77" fmla="*/ 63833 w 111429"/>
                  <a:gd name="connsiteY77" fmla="*/ 178097 h 198226"/>
                  <a:gd name="connsiteX78" fmla="*/ 63833 w 111429"/>
                  <a:gd name="connsiteY78" fmla="*/ 194304 h 198226"/>
                  <a:gd name="connsiteX79" fmla="*/ 94541 w 111429"/>
                  <a:gd name="connsiteY79" fmla="*/ 174185 h 198226"/>
                  <a:gd name="connsiteX80" fmla="*/ 16894 w 111429"/>
                  <a:gd name="connsiteY80" fmla="*/ 174185 h 198226"/>
                  <a:gd name="connsiteX81" fmla="*/ 3918 w 111429"/>
                  <a:gd name="connsiteY81" fmla="*/ 161208 h 198226"/>
                  <a:gd name="connsiteX82" fmla="*/ 6778 w 111429"/>
                  <a:gd name="connsiteY82" fmla="*/ 153085 h 198226"/>
                  <a:gd name="connsiteX83" fmla="*/ 32700 w 111429"/>
                  <a:gd name="connsiteY83" fmla="*/ 124339 h 198226"/>
                  <a:gd name="connsiteX84" fmla="*/ 78740 w 111429"/>
                  <a:gd name="connsiteY84" fmla="*/ 124339 h 198226"/>
                  <a:gd name="connsiteX85" fmla="*/ 104662 w 111429"/>
                  <a:gd name="connsiteY85" fmla="*/ 153085 h 198226"/>
                  <a:gd name="connsiteX86" fmla="*/ 107517 w 111429"/>
                  <a:gd name="connsiteY86" fmla="*/ 161208 h 198226"/>
                  <a:gd name="connsiteX87" fmla="*/ 94541 w 111429"/>
                  <a:gd name="connsiteY87" fmla="*/ 174185 h 19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11429" h="198226">
                    <a:moveTo>
                      <a:pt x="107681" y="150605"/>
                    </a:moveTo>
                    <a:cubicBezTo>
                      <a:pt x="107681" y="150605"/>
                      <a:pt x="107645" y="150574"/>
                      <a:pt x="107630" y="150553"/>
                    </a:cubicBezTo>
                    <a:cubicBezTo>
                      <a:pt x="107614" y="150523"/>
                      <a:pt x="84009" y="124349"/>
                      <a:pt x="84009" y="124349"/>
                    </a:cubicBezTo>
                    <a:lnTo>
                      <a:pt x="88830" y="124349"/>
                    </a:lnTo>
                    <a:cubicBezTo>
                      <a:pt x="96933" y="124349"/>
                      <a:pt x="103522" y="117761"/>
                      <a:pt x="103522" y="109658"/>
                    </a:cubicBezTo>
                    <a:cubicBezTo>
                      <a:pt x="103522" y="106305"/>
                      <a:pt x="102361" y="103029"/>
                      <a:pt x="100261" y="100425"/>
                    </a:cubicBezTo>
                    <a:cubicBezTo>
                      <a:pt x="100246" y="100405"/>
                      <a:pt x="100225" y="100395"/>
                      <a:pt x="100210" y="100374"/>
                    </a:cubicBezTo>
                    <a:cubicBezTo>
                      <a:pt x="100194" y="100343"/>
                      <a:pt x="80496" y="78499"/>
                      <a:pt x="80496" y="78499"/>
                    </a:cubicBezTo>
                    <a:lnTo>
                      <a:pt x="81934" y="78499"/>
                    </a:lnTo>
                    <a:cubicBezTo>
                      <a:pt x="88569" y="78499"/>
                      <a:pt x="93965" y="73102"/>
                      <a:pt x="93965" y="66468"/>
                    </a:cubicBezTo>
                    <a:cubicBezTo>
                      <a:pt x="93965" y="63720"/>
                      <a:pt x="93015" y="61040"/>
                      <a:pt x="91290" y="58909"/>
                    </a:cubicBezTo>
                    <a:cubicBezTo>
                      <a:pt x="91275" y="58888"/>
                      <a:pt x="91254" y="58878"/>
                      <a:pt x="91239" y="58857"/>
                    </a:cubicBezTo>
                    <a:cubicBezTo>
                      <a:pt x="91223" y="58827"/>
                      <a:pt x="76234" y="42205"/>
                      <a:pt x="76234" y="42205"/>
                    </a:cubicBezTo>
                    <a:cubicBezTo>
                      <a:pt x="81405" y="41999"/>
                      <a:pt x="85549" y="37742"/>
                      <a:pt x="85549" y="32525"/>
                    </a:cubicBezTo>
                    <a:cubicBezTo>
                      <a:pt x="85549" y="30312"/>
                      <a:pt x="84784" y="28150"/>
                      <a:pt x="83398" y="26430"/>
                    </a:cubicBezTo>
                    <a:cubicBezTo>
                      <a:pt x="83382" y="26409"/>
                      <a:pt x="83362" y="26399"/>
                      <a:pt x="83346" y="26379"/>
                    </a:cubicBezTo>
                    <a:cubicBezTo>
                      <a:pt x="83331" y="26348"/>
                      <a:pt x="63659" y="4534"/>
                      <a:pt x="63659" y="4534"/>
                    </a:cubicBezTo>
                    <a:cubicBezTo>
                      <a:pt x="61697" y="2285"/>
                      <a:pt x="59222" y="0"/>
                      <a:pt x="55735" y="0"/>
                    </a:cubicBezTo>
                    <a:cubicBezTo>
                      <a:pt x="52249" y="0"/>
                      <a:pt x="49758" y="2285"/>
                      <a:pt x="47797" y="4534"/>
                    </a:cubicBezTo>
                    <a:cubicBezTo>
                      <a:pt x="47797" y="4534"/>
                      <a:pt x="28124" y="26348"/>
                      <a:pt x="28124" y="26348"/>
                    </a:cubicBezTo>
                    <a:cubicBezTo>
                      <a:pt x="28088" y="26394"/>
                      <a:pt x="28073" y="26409"/>
                      <a:pt x="28058" y="26430"/>
                    </a:cubicBezTo>
                    <a:cubicBezTo>
                      <a:pt x="26666" y="28145"/>
                      <a:pt x="25901" y="30312"/>
                      <a:pt x="25901" y="32525"/>
                    </a:cubicBezTo>
                    <a:cubicBezTo>
                      <a:pt x="25901" y="37747"/>
                      <a:pt x="30055" y="42009"/>
                      <a:pt x="35231" y="42205"/>
                    </a:cubicBezTo>
                    <a:lnTo>
                      <a:pt x="20242" y="58827"/>
                    </a:lnTo>
                    <a:cubicBezTo>
                      <a:pt x="20206" y="58873"/>
                      <a:pt x="20191" y="58888"/>
                      <a:pt x="20175" y="58909"/>
                    </a:cubicBezTo>
                    <a:cubicBezTo>
                      <a:pt x="18450" y="61040"/>
                      <a:pt x="17500" y="63725"/>
                      <a:pt x="17500" y="66468"/>
                    </a:cubicBezTo>
                    <a:cubicBezTo>
                      <a:pt x="17500" y="73102"/>
                      <a:pt x="22897" y="78499"/>
                      <a:pt x="29531" y="78499"/>
                    </a:cubicBezTo>
                    <a:lnTo>
                      <a:pt x="30938" y="78499"/>
                    </a:lnTo>
                    <a:lnTo>
                      <a:pt x="11241" y="100343"/>
                    </a:lnTo>
                    <a:cubicBezTo>
                      <a:pt x="11210" y="100389"/>
                      <a:pt x="11189" y="100405"/>
                      <a:pt x="11174" y="100425"/>
                    </a:cubicBezTo>
                    <a:cubicBezTo>
                      <a:pt x="9068" y="103024"/>
                      <a:pt x="7913" y="106305"/>
                      <a:pt x="7913" y="109658"/>
                    </a:cubicBezTo>
                    <a:cubicBezTo>
                      <a:pt x="7913" y="117761"/>
                      <a:pt x="14501" y="124349"/>
                      <a:pt x="22604" y="124349"/>
                    </a:cubicBezTo>
                    <a:lnTo>
                      <a:pt x="27426" y="124349"/>
                    </a:lnTo>
                    <a:lnTo>
                      <a:pt x="3820" y="150523"/>
                    </a:lnTo>
                    <a:cubicBezTo>
                      <a:pt x="3790" y="150569"/>
                      <a:pt x="3769" y="150584"/>
                      <a:pt x="3754" y="150605"/>
                    </a:cubicBezTo>
                    <a:cubicBezTo>
                      <a:pt x="1335" y="153593"/>
                      <a:pt x="0" y="157362"/>
                      <a:pt x="0" y="161219"/>
                    </a:cubicBezTo>
                    <a:cubicBezTo>
                      <a:pt x="0" y="170528"/>
                      <a:pt x="7574" y="178108"/>
                      <a:pt x="16889" y="178108"/>
                    </a:cubicBezTo>
                    <a:lnTo>
                      <a:pt x="43714" y="178108"/>
                    </a:lnTo>
                    <a:lnTo>
                      <a:pt x="43714" y="196270"/>
                    </a:lnTo>
                    <a:cubicBezTo>
                      <a:pt x="43714" y="197349"/>
                      <a:pt x="44592" y="198227"/>
                      <a:pt x="45671" y="198227"/>
                    </a:cubicBezTo>
                    <a:lnTo>
                      <a:pt x="65790" y="198227"/>
                    </a:lnTo>
                    <a:cubicBezTo>
                      <a:pt x="66868" y="198227"/>
                      <a:pt x="67746" y="197349"/>
                      <a:pt x="67746" y="196270"/>
                    </a:cubicBezTo>
                    <a:lnTo>
                      <a:pt x="67746" y="178108"/>
                    </a:lnTo>
                    <a:lnTo>
                      <a:pt x="94541" y="178108"/>
                    </a:lnTo>
                    <a:cubicBezTo>
                      <a:pt x="103850" y="178108"/>
                      <a:pt x="111430" y="170534"/>
                      <a:pt x="111430" y="161219"/>
                    </a:cubicBezTo>
                    <a:cubicBezTo>
                      <a:pt x="111430" y="157367"/>
                      <a:pt x="110100" y="153598"/>
                      <a:pt x="107681" y="150605"/>
                    </a:cubicBezTo>
                    <a:close/>
                    <a:moveTo>
                      <a:pt x="29809" y="32525"/>
                    </a:moveTo>
                    <a:cubicBezTo>
                      <a:pt x="29809" y="31195"/>
                      <a:pt x="30250" y="29947"/>
                      <a:pt x="31077" y="28910"/>
                    </a:cubicBezTo>
                    <a:lnTo>
                      <a:pt x="50693" y="7158"/>
                    </a:lnTo>
                    <a:cubicBezTo>
                      <a:pt x="52706" y="4847"/>
                      <a:pt x="54154" y="3913"/>
                      <a:pt x="55715" y="3913"/>
                    </a:cubicBezTo>
                    <a:cubicBezTo>
                      <a:pt x="57276" y="3913"/>
                      <a:pt x="58734" y="4847"/>
                      <a:pt x="60727" y="7133"/>
                    </a:cubicBezTo>
                    <a:cubicBezTo>
                      <a:pt x="60747" y="7158"/>
                      <a:pt x="80363" y="28910"/>
                      <a:pt x="80363" y="28910"/>
                    </a:cubicBezTo>
                    <a:cubicBezTo>
                      <a:pt x="81195" y="29947"/>
                      <a:pt x="81631" y="31195"/>
                      <a:pt x="81631" y="32525"/>
                    </a:cubicBezTo>
                    <a:cubicBezTo>
                      <a:pt x="81631" y="35714"/>
                      <a:pt x="79033" y="38312"/>
                      <a:pt x="75844" y="38312"/>
                    </a:cubicBezTo>
                    <a:lnTo>
                      <a:pt x="35596" y="38312"/>
                    </a:lnTo>
                    <a:cubicBezTo>
                      <a:pt x="32407" y="38312"/>
                      <a:pt x="29809" y="35714"/>
                      <a:pt x="29809" y="32525"/>
                    </a:cubicBezTo>
                    <a:close/>
                    <a:moveTo>
                      <a:pt x="29531" y="74586"/>
                    </a:moveTo>
                    <a:cubicBezTo>
                      <a:pt x="25054" y="74586"/>
                      <a:pt x="21413" y="70945"/>
                      <a:pt x="21413" y="66468"/>
                    </a:cubicBezTo>
                    <a:cubicBezTo>
                      <a:pt x="21413" y="64598"/>
                      <a:pt x="22029" y="62842"/>
                      <a:pt x="23200" y="61389"/>
                    </a:cubicBezTo>
                    <a:lnTo>
                      <a:pt x="40479" y="42225"/>
                    </a:lnTo>
                    <a:lnTo>
                      <a:pt x="70981" y="42225"/>
                    </a:lnTo>
                    <a:lnTo>
                      <a:pt x="88260" y="61389"/>
                    </a:lnTo>
                    <a:cubicBezTo>
                      <a:pt x="89431" y="62842"/>
                      <a:pt x="90047" y="64598"/>
                      <a:pt x="90047" y="66468"/>
                    </a:cubicBezTo>
                    <a:cubicBezTo>
                      <a:pt x="90047" y="70945"/>
                      <a:pt x="86407" y="74586"/>
                      <a:pt x="81929" y="74586"/>
                    </a:cubicBezTo>
                    <a:lnTo>
                      <a:pt x="29531" y="74586"/>
                    </a:lnTo>
                    <a:close/>
                    <a:moveTo>
                      <a:pt x="22604" y="120431"/>
                    </a:moveTo>
                    <a:cubicBezTo>
                      <a:pt x="16658" y="120431"/>
                      <a:pt x="11826" y="115594"/>
                      <a:pt x="11826" y="109653"/>
                    </a:cubicBezTo>
                    <a:cubicBezTo>
                      <a:pt x="11826" y="107168"/>
                      <a:pt x="12648" y="104841"/>
                      <a:pt x="14193" y="102911"/>
                    </a:cubicBezTo>
                    <a:lnTo>
                      <a:pt x="36207" y="78494"/>
                    </a:lnTo>
                    <a:lnTo>
                      <a:pt x="75218" y="78494"/>
                    </a:lnTo>
                    <a:lnTo>
                      <a:pt x="97231" y="102911"/>
                    </a:lnTo>
                    <a:cubicBezTo>
                      <a:pt x="98782" y="104841"/>
                      <a:pt x="99599" y="107168"/>
                      <a:pt x="99599" y="109653"/>
                    </a:cubicBezTo>
                    <a:cubicBezTo>
                      <a:pt x="99599" y="115599"/>
                      <a:pt x="94761" y="120431"/>
                      <a:pt x="88820" y="120431"/>
                    </a:cubicBezTo>
                    <a:lnTo>
                      <a:pt x="22604" y="120431"/>
                    </a:lnTo>
                    <a:close/>
                    <a:moveTo>
                      <a:pt x="63833" y="194304"/>
                    </a:moveTo>
                    <a:lnTo>
                      <a:pt x="47627" y="194304"/>
                    </a:lnTo>
                    <a:lnTo>
                      <a:pt x="47627" y="178097"/>
                    </a:lnTo>
                    <a:lnTo>
                      <a:pt x="63833" y="178097"/>
                    </a:lnTo>
                    <a:lnTo>
                      <a:pt x="63833" y="194304"/>
                    </a:lnTo>
                    <a:close/>
                    <a:moveTo>
                      <a:pt x="94541" y="174185"/>
                    </a:moveTo>
                    <a:lnTo>
                      <a:pt x="16894" y="174185"/>
                    </a:lnTo>
                    <a:cubicBezTo>
                      <a:pt x="9741" y="174185"/>
                      <a:pt x="3918" y="168362"/>
                      <a:pt x="3918" y="161208"/>
                    </a:cubicBezTo>
                    <a:cubicBezTo>
                      <a:pt x="3918" y="158220"/>
                      <a:pt x="4909" y="155411"/>
                      <a:pt x="6778" y="153085"/>
                    </a:cubicBezTo>
                    <a:lnTo>
                      <a:pt x="32700" y="124339"/>
                    </a:lnTo>
                    <a:lnTo>
                      <a:pt x="78740" y="124339"/>
                    </a:lnTo>
                    <a:lnTo>
                      <a:pt x="104662" y="153085"/>
                    </a:lnTo>
                    <a:cubicBezTo>
                      <a:pt x="106531" y="155406"/>
                      <a:pt x="107517" y="158215"/>
                      <a:pt x="107517" y="161208"/>
                    </a:cubicBezTo>
                    <a:cubicBezTo>
                      <a:pt x="107517" y="168362"/>
                      <a:pt x="101694" y="174185"/>
                      <a:pt x="94541" y="174185"/>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29" name="Freeform: Shape 528">
                <a:extLst>
                  <a:ext uri="{FF2B5EF4-FFF2-40B4-BE49-F238E27FC236}">
                    <a16:creationId xmlns:a16="http://schemas.microsoft.com/office/drawing/2014/main" id="{86E52CA7-695F-4668-84F1-1CEDF4DC1F77}"/>
                  </a:ext>
                </a:extLst>
              </p:cNvPr>
              <p:cNvSpPr/>
              <p:nvPr/>
            </p:nvSpPr>
            <p:spPr>
              <a:xfrm>
                <a:off x="1688327" y="4536677"/>
                <a:ext cx="66970" cy="363461"/>
              </a:xfrm>
              <a:custGeom>
                <a:avLst/>
                <a:gdLst>
                  <a:gd name="connsiteX0" fmla="*/ 31529 w 66970"/>
                  <a:gd name="connsiteY0" fmla="*/ 218566 h 363461"/>
                  <a:gd name="connsiteX1" fmla="*/ 7184 w 66970"/>
                  <a:gd name="connsiteY1" fmla="*/ 193307 h 363461"/>
                  <a:gd name="connsiteX2" fmla="*/ 0 w 66970"/>
                  <a:gd name="connsiteY2" fmla="*/ 136103 h 363461"/>
                  <a:gd name="connsiteX3" fmla="*/ 33485 w 66970"/>
                  <a:gd name="connsiteY3" fmla="*/ 0 h 363461"/>
                  <a:gd name="connsiteX4" fmla="*/ 66971 w 66970"/>
                  <a:gd name="connsiteY4" fmla="*/ 136103 h 363461"/>
                  <a:gd name="connsiteX5" fmla="*/ 59797 w 66970"/>
                  <a:gd name="connsiteY5" fmla="*/ 193307 h 363461"/>
                  <a:gd name="connsiteX6" fmla="*/ 35442 w 66970"/>
                  <a:gd name="connsiteY6" fmla="*/ 218566 h 363461"/>
                  <a:gd name="connsiteX7" fmla="*/ 35442 w 66970"/>
                  <a:gd name="connsiteY7" fmla="*/ 361505 h 363461"/>
                  <a:gd name="connsiteX8" fmla="*/ 33485 w 66970"/>
                  <a:gd name="connsiteY8" fmla="*/ 363461 h 363461"/>
                  <a:gd name="connsiteX9" fmla="*/ 31529 w 66970"/>
                  <a:gd name="connsiteY9" fmla="*/ 361505 h 363461"/>
                  <a:gd name="connsiteX10" fmla="*/ 31529 w 66970"/>
                  <a:gd name="connsiteY10" fmla="*/ 218566 h 363461"/>
                  <a:gd name="connsiteX11" fmla="*/ 23796 w 66970"/>
                  <a:gd name="connsiteY11" fmla="*/ 162836 h 363461"/>
                  <a:gd name="connsiteX12" fmla="*/ 31529 w 66970"/>
                  <a:gd name="connsiteY12" fmla="*/ 171509 h 363461"/>
                  <a:gd name="connsiteX13" fmla="*/ 31529 w 66970"/>
                  <a:gd name="connsiteY13" fmla="*/ 141244 h 363461"/>
                  <a:gd name="connsiteX14" fmla="*/ 16257 w 66970"/>
                  <a:gd name="connsiteY14" fmla="*/ 124123 h 363461"/>
                  <a:gd name="connsiteX15" fmla="*/ 16427 w 66970"/>
                  <a:gd name="connsiteY15" fmla="*/ 121371 h 363461"/>
                  <a:gd name="connsiteX16" fmla="*/ 19179 w 66970"/>
                  <a:gd name="connsiteY16" fmla="*/ 121525 h 363461"/>
                  <a:gd name="connsiteX17" fmla="*/ 31529 w 66970"/>
                  <a:gd name="connsiteY17" fmla="*/ 135374 h 363461"/>
                  <a:gd name="connsiteX18" fmla="*/ 31529 w 66970"/>
                  <a:gd name="connsiteY18" fmla="*/ 102787 h 363461"/>
                  <a:gd name="connsiteX19" fmla="*/ 20889 w 66970"/>
                  <a:gd name="connsiteY19" fmla="*/ 90843 h 363461"/>
                  <a:gd name="connsiteX20" fmla="*/ 21043 w 66970"/>
                  <a:gd name="connsiteY20" fmla="*/ 88081 h 363461"/>
                  <a:gd name="connsiteX21" fmla="*/ 23796 w 66970"/>
                  <a:gd name="connsiteY21" fmla="*/ 88235 h 363461"/>
                  <a:gd name="connsiteX22" fmla="*/ 31529 w 66970"/>
                  <a:gd name="connsiteY22" fmla="*/ 96908 h 363461"/>
                  <a:gd name="connsiteX23" fmla="*/ 31529 w 66970"/>
                  <a:gd name="connsiteY23" fmla="*/ 65964 h 363461"/>
                  <a:gd name="connsiteX24" fmla="*/ 33485 w 66970"/>
                  <a:gd name="connsiteY24" fmla="*/ 64008 h 363461"/>
                  <a:gd name="connsiteX25" fmla="*/ 35442 w 66970"/>
                  <a:gd name="connsiteY25" fmla="*/ 65964 h 363461"/>
                  <a:gd name="connsiteX26" fmla="*/ 35442 w 66970"/>
                  <a:gd name="connsiteY26" fmla="*/ 113453 h 363461"/>
                  <a:gd name="connsiteX27" fmla="*/ 48988 w 66970"/>
                  <a:gd name="connsiteY27" fmla="*/ 98264 h 363461"/>
                  <a:gd name="connsiteX28" fmla="*/ 51751 w 66970"/>
                  <a:gd name="connsiteY28" fmla="*/ 98109 h 363461"/>
                  <a:gd name="connsiteX29" fmla="*/ 51905 w 66970"/>
                  <a:gd name="connsiteY29" fmla="*/ 100862 h 363461"/>
                  <a:gd name="connsiteX30" fmla="*/ 35437 w 66970"/>
                  <a:gd name="connsiteY30" fmla="*/ 119327 h 363461"/>
                  <a:gd name="connsiteX31" fmla="*/ 35437 w 66970"/>
                  <a:gd name="connsiteY31" fmla="*/ 153203 h 363461"/>
                  <a:gd name="connsiteX32" fmla="*/ 47930 w 66970"/>
                  <a:gd name="connsiteY32" fmla="*/ 139200 h 363461"/>
                  <a:gd name="connsiteX33" fmla="*/ 50693 w 66970"/>
                  <a:gd name="connsiteY33" fmla="*/ 139046 h 363461"/>
                  <a:gd name="connsiteX34" fmla="*/ 50847 w 66970"/>
                  <a:gd name="connsiteY34" fmla="*/ 141808 h 363461"/>
                  <a:gd name="connsiteX35" fmla="*/ 35437 w 66970"/>
                  <a:gd name="connsiteY35" fmla="*/ 159088 h 363461"/>
                  <a:gd name="connsiteX36" fmla="*/ 35437 w 66970"/>
                  <a:gd name="connsiteY36" fmla="*/ 214648 h 363461"/>
                  <a:gd name="connsiteX37" fmla="*/ 56090 w 66970"/>
                  <a:gd name="connsiteY37" fmla="*/ 192065 h 363461"/>
                  <a:gd name="connsiteX38" fmla="*/ 63053 w 66970"/>
                  <a:gd name="connsiteY38" fmla="*/ 136114 h 363461"/>
                  <a:gd name="connsiteX39" fmla="*/ 33480 w 66970"/>
                  <a:gd name="connsiteY39" fmla="*/ 3923 h 363461"/>
                  <a:gd name="connsiteX40" fmla="*/ 3908 w 66970"/>
                  <a:gd name="connsiteY40" fmla="*/ 136114 h 363461"/>
                  <a:gd name="connsiteX41" fmla="*/ 10886 w 66970"/>
                  <a:gd name="connsiteY41" fmla="*/ 192065 h 363461"/>
                  <a:gd name="connsiteX42" fmla="*/ 31529 w 66970"/>
                  <a:gd name="connsiteY42" fmla="*/ 214648 h 363461"/>
                  <a:gd name="connsiteX43" fmla="*/ 31529 w 66970"/>
                  <a:gd name="connsiteY43" fmla="*/ 177384 h 363461"/>
                  <a:gd name="connsiteX44" fmla="*/ 20889 w 66970"/>
                  <a:gd name="connsiteY44" fmla="*/ 165440 h 363461"/>
                  <a:gd name="connsiteX45" fmla="*/ 21043 w 66970"/>
                  <a:gd name="connsiteY45" fmla="*/ 162687 h 363461"/>
                  <a:gd name="connsiteX46" fmla="*/ 23796 w 66970"/>
                  <a:gd name="connsiteY46" fmla="*/ 162841 h 363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6970" h="363461">
                    <a:moveTo>
                      <a:pt x="31529" y="218566"/>
                    </a:moveTo>
                    <a:cubicBezTo>
                      <a:pt x="20745" y="217668"/>
                      <a:pt x="12555" y="209190"/>
                      <a:pt x="7184" y="193307"/>
                    </a:cubicBezTo>
                    <a:cubicBezTo>
                      <a:pt x="2490" y="179448"/>
                      <a:pt x="0" y="159668"/>
                      <a:pt x="0" y="136103"/>
                    </a:cubicBezTo>
                    <a:cubicBezTo>
                      <a:pt x="0" y="76111"/>
                      <a:pt x="15764" y="0"/>
                      <a:pt x="33485" y="0"/>
                    </a:cubicBezTo>
                    <a:cubicBezTo>
                      <a:pt x="51206" y="0"/>
                      <a:pt x="66971" y="76111"/>
                      <a:pt x="66971" y="136103"/>
                    </a:cubicBezTo>
                    <a:cubicBezTo>
                      <a:pt x="66971" y="159668"/>
                      <a:pt x="64496" y="179448"/>
                      <a:pt x="59797" y="193307"/>
                    </a:cubicBezTo>
                    <a:cubicBezTo>
                      <a:pt x="54426" y="209190"/>
                      <a:pt x="46236" y="217663"/>
                      <a:pt x="35442" y="218566"/>
                    </a:cubicBezTo>
                    <a:lnTo>
                      <a:pt x="35442" y="361505"/>
                    </a:lnTo>
                    <a:cubicBezTo>
                      <a:pt x="35442" y="362588"/>
                      <a:pt x="34569" y="363461"/>
                      <a:pt x="33485" y="363461"/>
                    </a:cubicBezTo>
                    <a:cubicBezTo>
                      <a:pt x="32402" y="363461"/>
                      <a:pt x="31529" y="362588"/>
                      <a:pt x="31529" y="361505"/>
                    </a:cubicBezTo>
                    <a:lnTo>
                      <a:pt x="31529" y="218566"/>
                    </a:lnTo>
                    <a:close/>
                    <a:moveTo>
                      <a:pt x="23796" y="162836"/>
                    </a:moveTo>
                    <a:lnTo>
                      <a:pt x="31529" y="171509"/>
                    </a:lnTo>
                    <a:lnTo>
                      <a:pt x="31529" y="141244"/>
                    </a:lnTo>
                    <a:lnTo>
                      <a:pt x="16257" y="124123"/>
                    </a:lnTo>
                    <a:cubicBezTo>
                      <a:pt x="15539" y="123327"/>
                      <a:pt x="15621" y="122090"/>
                      <a:pt x="16427" y="121371"/>
                    </a:cubicBezTo>
                    <a:cubicBezTo>
                      <a:pt x="17223" y="120642"/>
                      <a:pt x="18460" y="120719"/>
                      <a:pt x="19179" y="121525"/>
                    </a:cubicBezTo>
                    <a:lnTo>
                      <a:pt x="31529" y="135374"/>
                    </a:lnTo>
                    <a:lnTo>
                      <a:pt x="31529" y="102787"/>
                    </a:lnTo>
                    <a:lnTo>
                      <a:pt x="20889" y="90843"/>
                    </a:lnTo>
                    <a:cubicBezTo>
                      <a:pt x="20160" y="90037"/>
                      <a:pt x="20237" y="88795"/>
                      <a:pt x="21043" y="88081"/>
                    </a:cubicBezTo>
                    <a:cubicBezTo>
                      <a:pt x="21839" y="87362"/>
                      <a:pt x="23077" y="87444"/>
                      <a:pt x="23796" y="88235"/>
                    </a:cubicBezTo>
                    <a:lnTo>
                      <a:pt x="31529" y="96908"/>
                    </a:lnTo>
                    <a:lnTo>
                      <a:pt x="31529" y="65964"/>
                    </a:lnTo>
                    <a:cubicBezTo>
                      <a:pt x="31529" y="64896"/>
                      <a:pt x="32417" y="64008"/>
                      <a:pt x="33485" y="64008"/>
                    </a:cubicBezTo>
                    <a:cubicBezTo>
                      <a:pt x="34553" y="64008"/>
                      <a:pt x="35442" y="64896"/>
                      <a:pt x="35442" y="65964"/>
                    </a:cubicBezTo>
                    <a:lnTo>
                      <a:pt x="35442" y="113453"/>
                    </a:lnTo>
                    <a:lnTo>
                      <a:pt x="48988" y="98264"/>
                    </a:lnTo>
                    <a:cubicBezTo>
                      <a:pt x="49707" y="97457"/>
                      <a:pt x="50944" y="97375"/>
                      <a:pt x="51751" y="98109"/>
                    </a:cubicBezTo>
                    <a:cubicBezTo>
                      <a:pt x="52557" y="98828"/>
                      <a:pt x="52624" y="100066"/>
                      <a:pt x="51905" y="100862"/>
                    </a:cubicBezTo>
                    <a:lnTo>
                      <a:pt x="35437" y="119327"/>
                    </a:lnTo>
                    <a:lnTo>
                      <a:pt x="35437" y="153203"/>
                    </a:lnTo>
                    <a:lnTo>
                      <a:pt x="47930" y="139200"/>
                    </a:lnTo>
                    <a:cubicBezTo>
                      <a:pt x="48649" y="138404"/>
                      <a:pt x="49887" y="138327"/>
                      <a:pt x="50693" y="139046"/>
                    </a:cubicBezTo>
                    <a:cubicBezTo>
                      <a:pt x="51489" y="139765"/>
                      <a:pt x="51566" y="141002"/>
                      <a:pt x="50847" y="141808"/>
                    </a:cubicBezTo>
                    <a:lnTo>
                      <a:pt x="35437" y="159088"/>
                    </a:lnTo>
                    <a:lnTo>
                      <a:pt x="35437" y="214648"/>
                    </a:lnTo>
                    <a:cubicBezTo>
                      <a:pt x="44392" y="213699"/>
                      <a:pt x="51330" y="206109"/>
                      <a:pt x="56090" y="192065"/>
                    </a:cubicBezTo>
                    <a:cubicBezTo>
                      <a:pt x="60655" y="178596"/>
                      <a:pt x="63053" y="159257"/>
                      <a:pt x="63053" y="136114"/>
                    </a:cubicBezTo>
                    <a:cubicBezTo>
                      <a:pt x="63053" y="72286"/>
                      <a:pt x="45696" y="3923"/>
                      <a:pt x="33480" y="3923"/>
                    </a:cubicBezTo>
                    <a:cubicBezTo>
                      <a:pt x="21264" y="3923"/>
                      <a:pt x="3908" y="72291"/>
                      <a:pt x="3908" y="136114"/>
                    </a:cubicBezTo>
                    <a:cubicBezTo>
                      <a:pt x="3908" y="159257"/>
                      <a:pt x="6321" y="178596"/>
                      <a:pt x="10886" y="192065"/>
                    </a:cubicBezTo>
                    <a:cubicBezTo>
                      <a:pt x="15646" y="206109"/>
                      <a:pt x="22584" y="213699"/>
                      <a:pt x="31529" y="214648"/>
                    </a:cubicBezTo>
                    <a:lnTo>
                      <a:pt x="31529" y="177384"/>
                    </a:lnTo>
                    <a:lnTo>
                      <a:pt x="20889" y="165440"/>
                    </a:lnTo>
                    <a:cubicBezTo>
                      <a:pt x="20160" y="164633"/>
                      <a:pt x="20237" y="163406"/>
                      <a:pt x="21043" y="162687"/>
                    </a:cubicBezTo>
                    <a:cubicBezTo>
                      <a:pt x="21849" y="161958"/>
                      <a:pt x="23077" y="162035"/>
                      <a:pt x="23796" y="162841"/>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30" name="Freeform: Shape 529">
                <a:extLst>
                  <a:ext uri="{FF2B5EF4-FFF2-40B4-BE49-F238E27FC236}">
                    <a16:creationId xmlns:a16="http://schemas.microsoft.com/office/drawing/2014/main" id="{2BF3AF36-705A-4365-9D0F-AD18E27A834F}"/>
                  </a:ext>
                </a:extLst>
              </p:cNvPr>
              <p:cNvSpPr/>
              <p:nvPr/>
            </p:nvSpPr>
            <p:spPr>
              <a:xfrm>
                <a:off x="2400074" y="4597183"/>
                <a:ext cx="92815" cy="31128"/>
              </a:xfrm>
              <a:custGeom>
                <a:avLst/>
                <a:gdLst>
                  <a:gd name="connsiteX0" fmla="*/ 83136 w 92815"/>
                  <a:gd name="connsiteY0" fmla="*/ 17546 h 31128"/>
                  <a:gd name="connsiteX1" fmla="*/ 78617 w 92815"/>
                  <a:gd name="connsiteY1" fmla="*/ 18768 h 31128"/>
                  <a:gd name="connsiteX2" fmla="*/ 67459 w 92815"/>
                  <a:gd name="connsiteY2" fmla="*/ 9407 h 31128"/>
                  <a:gd name="connsiteX3" fmla="*/ 60578 w 92815"/>
                  <a:gd name="connsiteY3" fmla="*/ 11769 h 31128"/>
                  <a:gd name="connsiteX4" fmla="*/ 46307 w 92815"/>
                  <a:gd name="connsiteY4" fmla="*/ 0 h 31128"/>
                  <a:gd name="connsiteX5" fmla="*/ 32037 w 92815"/>
                  <a:gd name="connsiteY5" fmla="*/ 11769 h 31128"/>
                  <a:gd name="connsiteX6" fmla="*/ 25162 w 92815"/>
                  <a:gd name="connsiteY6" fmla="*/ 9407 h 31128"/>
                  <a:gd name="connsiteX7" fmla="*/ 14301 w 92815"/>
                  <a:gd name="connsiteY7" fmla="*/ 18820 h 31128"/>
                  <a:gd name="connsiteX8" fmla="*/ 9685 w 92815"/>
                  <a:gd name="connsiteY8" fmla="*/ 17541 h 31128"/>
                  <a:gd name="connsiteX9" fmla="*/ 0 w 92815"/>
                  <a:gd name="connsiteY9" fmla="*/ 29172 h 31128"/>
                  <a:gd name="connsiteX10" fmla="*/ 1956 w 92815"/>
                  <a:gd name="connsiteY10" fmla="*/ 31128 h 31128"/>
                  <a:gd name="connsiteX11" fmla="*/ 90859 w 92815"/>
                  <a:gd name="connsiteY11" fmla="*/ 31128 h 31128"/>
                  <a:gd name="connsiteX12" fmla="*/ 92815 w 92815"/>
                  <a:gd name="connsiteY12" fmla="*/ 29172 h 31128"/>
                  <a:gd name="connsiteX13" fmla="*/ 83131 w 92815"/>
                  <a:gd name="connsiteY13" fmla="*/ 17541 h 31128"/>
                  <a:gd name="connsiteX14" fmla="*/ 4149 w 92815"/>
                  <a:gd name="connsiteY14" fmla="*/ 27221 h 31128"/>
                  <a:gd name="connsiteX15" fmla="*/ 9685 w 92815"/>
                  <a:gd name="connsiteY15" fmla="*/ 21454 h 31128"/>
                  <a:gd name="connsiteX16" fmla="*/ 13772 w 92815"/>
                  <a:gd name="connsiteY16" fmla="*/ 23400 h 31128"/>
                  <a:gd name="connsiteX17" fmla="*/ 15261 w 92815"/>
                  <a:gd name="connsiteY17" fmla="*/ 24489 h 31128"/>
                  <a:gd name="connsiteX18" fmla="*/ 15533 w 92815"/>
                  <a:gd name="connsiteY18" fmla="*/ 24509 h 31128"/>
                  <a:gd name="connsiteX19" fmla="*/ 17469 w 92815"/>
                  <a:gd name="connsiteY19" fmla="*/ 22825 h 31128"/>
                  <a:gd name="connsiteX20" fmla="*/ 25162 w 92815"/>
                  <a:gd name="connsiteY20" fmla="*/ 13320 h 31128"/>
                  <a:gd name="connsiteX21" fmla="*/ 31765 w 92815"/>
                  <a:gd name="connsiteY21" fmla="*/ 17223 h 31128"/>
                  <a:gd name="connsiteX22" fmla="*/ 34456 w 92815"/>
                  <a:gd name="connsiteY22" fmla="*/ 17865 h 31128"/>
                  <a:gd name="connsiteX23" fmla="*/ 35380 w 92815"/>
                  <a:gd name="connsiteY23" fmla="*/ 16180 h 31128"/>
                  <a:gd name="connsiteX24" fmla="*/ 35385 w 92815"/>
                  <a:gd name="connsiteY24" fmla="*/ 16114 h 31128"/>
                  <a:gd name="connsiteX25" fmla="*/ 46307 w 92815"/>
                  <a:gd name="connsiteY25" fmla="*/ 3908 h 31128"/>
                  <a:gd name="connsiteX26" fmla="*/ 57230 w 92815"/>
                  <a:gd name="connsiteY26" fmla="*/ 16114 h 31128"/>
                  <a:gd name="connsiteX27" fmla="*/ 57235 w 92815"/>
                  <a:gd name="connsiteY27" fmla="*/ 16180 h 31128"/>
                  <a:gd name="connsiteX28" fmla="*/ 58159 w 92815"/>
                  <a:gd name="connsiteY28" fmla="*/ 17865 h 31128"/>
                  <a:gd name="connsiteX29" fmla="*/ 60850 w 92815"/>
                  <a:gd name="connsiteY29" fmla="*/ 17223 h 31128"/>
                  <a:gd name="connsiteX30" fmla="*/ 67453 w 92815"/>
                  <a:gd name="connsiteY30" fmla="*/ 13320 h 31128"/>
                  <a:gd name="connsiteX31" fmla="*/ 75264 w 92815"/>
                  <a:gd name="connsiteY31" fmla="*/ 22378 h 31128"/>
                  <a:gd name="connsiteX32" fmla="*/ 76537 w 92815"/>
                  <a:gd name="connsiteY32" fmla="*/ 24001 h 31128"/>
                  <a:gd name="connsiteX33" fmla="*/ 78930 w 92815"/>
                  <a:gd name="connsiteY33" fmla="*/ 23513 h 31128"/>
                  <a:gd name="connsiteX34" fmla="*/ 83131 w 92815"/>
                  <a:gd name="connsiteY34" fmla="*/ 21454 h 31128"/>
                  <a:gd name="connsiteX35" fmla="*/ 88666 w 92815"/>
                  <a:gd name="connsiteY35" fmla="*/ 27221 h 31128"/>
                  <a:gd name="connsiteX36" fmla="*/ 4144 w 92815"/>
                  <a:gd name="connsiteY36" fmla="*/ 27221 h 3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2815" h="31128">
                    <a:moveTo>
                      <a:pt x="83136" y="17546"/>
                    </a:moveTo>
                    <a:cubicBezTo>
                      <a:pt x="81544" y="17546"/>
                      <a:pt x="79998" y="17983"/>
                      <a:pt x="78617" y="18768"/>
                    </a:cubicBezTo>
                    <a:cubicBezTo>
                      <a:pt x="77133" y="12560"/>
                      <a:pt x="73395" y="9407"/>
                      <a:pt x="67459" y="9407"/>
                    </a:cubicBezTo>
                    <a:cubicBezTo>
                      <a:pt x="64953" y="9407"/>
                      <a:pt x="62565" y="10249"/>
                      <a:pt x="60578" y="11769"/>
                    </a:cubicBezTo>
                    <a:cubicBezTo>
                      <a:pt x="58827" y="4991"/>
                      <a:pt x="53101" y="0"/>
                      <a:pt x="46307" y="0"/>
                    </a:cubicBezTo>
                    <a:cubicBezTo>
                      <a:pt x="39514" y="0"/>
                      <a:pt x="33788" y="4991"/>
                      <a:pt x="32037" y="11769"/>
                    </a:cubicBezTo>
                    <a:cubicBezTo>
                      <a:pt x="30055" y="10255"/>
                      <a:pt x="27662" y="9407"/>
                      <a:pt x="25162" y="9407"/>
                    </a:cubicBezTo>
                    <a:cubicBezTo>
                      <a:pt x="21238" y="9407"/>
                      <a:pt x="16417" y="11143"/>
                      <a:pt x="14301" y="18820"/>
                    </a:cubicBezTo>
                    <a:cubicBezTo>
                      <a:pt x="12899" y="17998"/>
                      <a:pt x="11312" y="17541"/>
                      <a:pt x="9685" y="17541"/>
                    </a:cubicBezTo>
                    <a:cubicBezTo>
                      <a:pt x="4144" y="17541"/>
                      <a:pt x="0" y="23683"/>
                      <a:pt x="0" y="29172"/>
                    </a:cubicBezTo>
                    <a:cubicBezTo>
                      <a:pt x="0" y="30250"/>
                      <a:pt x="878" y="31128"/>
                      <a:pt x="1956" y="31128"/>
                    </a:cubicBezTo>
                    <a:lnTo>
                      <a:pt x="90859" y="31128"/>
                    </a:lnTo>
                    <a:cubicBezTo>
                      <a:pt x="91937" y="31128"/>
                      <a:pt x="92815" y="30250"/>
                      <a:pt x="92815" y="29172"/>
                    </a:cubicBezTo>
                    <a:cubicBezTo>
                      <a:pt x="92815" y="23683"/>
                      <a:pt x="88676" y="17541"/>
                      <a:pt x="83131" y="17541"/>
                    </a:cubicBezTo>
                    <a:close/>
                    <a:moveTo>
                      <a:pt x="4149" y="27221"/>
                    </a:moveTo>
                    <a:cubicBezTo>
                      <a:pt x="4889" y="24093"/>
                      <a:pt x="7266" y="21454"/>
                      <a:pt x="9685" y="21454"/>
                    </a:cubicBezTo>
                    <a:cubicBezTo>
                      <a:pt x="11241" y="21454"/>
                      <a:pt x="12678" y="22152"/>
                      <a:pt x="13772" y="23400"/>
                    </a:cubicBezTo>
                    <a:cubicBezTo>
                      <a:pt x="14049" y="23970"/>
                      <a:pt x="14589" y="24396"/>
                      <a:pt x="15261" y="24489"/>
                    </a:cubicBezTo>
                    <a:cubicBezTo>
                      <a:pt x="15354" y="24499"/>
                      <a:pt x="15441" y="24509"/>
                      <a:pt x="15533" y="24509"/>
                    </a:cubicBezTo>
                    <a:cubicBezTo>
                      <a:pt x="16494" y="24509"/>
                      <a:pt x="17331" y="23801"/>
                      <a:pt x="17469" y="22825"/>
                    </a:cubicBezTo>
                    <a:cubicBezTo>
                      <a:pt x="18794" y="13320"/>
                      <a:pt x="23585" y="13320"/>
                      <a:pt x="25162" y="13320"/>
                    </a:cubicBezTo>
                    <a:cubicBezTo>
                      <a:pt x="27796" y="13320"/>
                      <a:pt x="30261" y="14779"/>
                      <a:pt x="31765" y="17223"/>
                    </a:cubicBezTo>
                    <a:cubicBezTo>
                      <a:pt x="32330" y="18147"/>
                      <a:pt x="33537" y="18430"/>
                      <a:pt x="34456" y="17865"/>
                    </a:cubicBezTo>
                    <a:cubicBezTo>
                      <a:pt x="35062" y="17495"/>
                      <a:pt x="35385" y="16843"/>
                      <a:pt x="35380" y="16180"/>
                    </a:cubicBezTo>
                    <a:cubicBezTo>
                      <a:pt x="35380" y="16160"/>
                      <a:pt x="35385" y="16139"/>
                      <a:pt x="35385" y="16114"/>
                    </a:cubicBezTo>
                    <a:cubicBezTo>
                      <a:pt x="35385" y="9382"/>
                      <a:pt x="40284" y="3908"/>
                      <a:pt x="46307" y="3908"/>
                    </a:cubicBezTo>
                    <a:cubicBezTo>
                      <a:pt x="52331" y="3908"/>
                      <a:pt x="57230" y="9382"/>
                      <a:pt x="57230" y="16114"/>
                    </a:cubicBezTo>
                    <a:cubicBezTo>
                      <a:pt x="57230" y="16134"/>
                      <a:pt x="57235" y="16160"/>
                      <a:pt x="57235" y="16180"/>
                    </a:cubicBezTo>
                    <a:cubicBezTo>
                      <a:pt x="57235" y="16843"/>
                      <a:pt x="57553" y="17490"/>
                      <a:pt x="58159" y="17865"/>
                    </a:cubicBezTo>
                    <a:cubicBezTo>
                      <a:pt x="59078" y="18430"/>
                      <a:pt x="60285" y="18142"/>
                      <a:pt x="60850" y="17223"/>
                    </a:cubicBezTo>
                    <a:cubicBezTo>
                      <a:pt x="62354" y="14779"/>
                      <a:pt x="64819" y="13320"/>
                      <a:pt x="67453" y="13320"/>
                    </a:cubicBezTo>
                    <a:cubicBezTo>
                      <a:pt x="72188" y="13320"/>
                      <a:pt x="74601" y="16114"/>
                      <a:pt x="75264" y="22378"/>
                    </a:cubicBezTo>
                    <a:cubicBezTo>
                      <a:pt x="75346" y="23143"/>
                      <a:pt x="75859" y="23755"/>
                      <a:pt x="76537" y="24001"/>
                    </a:cubicBezTo>
                    <a:cubicBezTo>
                      <a:pt x="77333" y="24412"/>
                      <a:pt x="78334" y="24232"/>
                      <a:pt x="78930" y="23513"/>
                    </a:cubicBezTo>
                    <a:cubicBezTo>
                      <a:pt x="80034" y="22188"/>
                      <a:pt x="81523" y="21454"/>
                      <a:pt x="83131" y="21454"/>
                    </a:cubicBezTo>
                    <a:cubicBezTo>
                      <a:pt x="85549" y="21454"/>
                      <a:pt x="87932" y="24093"/>
                      <a:pt x="88666" y="27221"/>
                    </a:cubicBezTo>
                    <a:lnTo>
                      <a:pt x="4144" y="27221"/>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nvGrpSpPr>
              <p:cNvPr id="531" name="Graphic 6">
                <a:extLst>
                  <a:ext uri="{FF2B5EF4-FFF2-40B4-BE49-F238E27FC236}">
                    <a16:creationId xmlns:a16="http://schemas.microsoft.com/office/drawing/2014/main" id="{42C059A3-57E9-4F8E-B64D-78203F38E52C}"/>
                  </a:ext>
                </a:extLst>
              </p:cNvPr>
              <p:cNvGrpSpPr/>
              <p:nvPr/>
            </p:nvGrpSpPr>
            <p:grpSpPr>
              <a:xfrm>
                <a:off x="2659543" y="4624188"/>
                <a:ext cx="27082" cy="124457"/>
                <a:chOff x="2659583" y="4624280"/>
                <a:chExt cx="27082" cy="124457"/>
              </a:xfrm>
              <a:solidFill>
                <a:srgbClr val="069688"/>
              </a:solidFill>
            </p:grpSpPr>
            <p:sp>
              <p:nvSpPr>
                <p:cNvPr id="580" name="Freeform: Shape 579">
                  <a:extLst>
                    <a:ext uri="{FF2B5EF4-FFF2-40B4-BE49-F238E27FC236}">
                      <a16:creationId xmlns:a16="http://schemas.microsoft.com/office/drawing/2014/main" id="{05261D1F-2382-40ED-B176-5E3247C06DDB}"/>
                    </a:ext>
                  </a:extLst>
                </p:cNvPr>
                <p:cNvSpPr/>
                <p:nvPr/>
              </p:nvSpPr>
              <p:spPr>
                <a:xfrm>
                  <a:off x="2659583" y="4624280"/>
                  <a:ext cx="27082" cy="124457"/>
                </a:xfrm>
                <a:custGeom>
                  <a:avLst/>
                  <a:gdLst>
                    <a:gd name="connsiteX0" fmla="*/ 26052 w 27082"/>
                    <a:gd name="connsiteY0" fmla="*/ 40741 h 124457"/>
                    <a:gd name="connsiteX1" fmla="*/ 15264 w 27082"/>
                    <a:gd name="connsiteY1" fmla="*/ 416 h 124457"/>
                    <a:gd name="connsiteX2" fmla="*/ 14072 w 27082"/>
                    <a:gd name="connsiteY2" fmla="*/ 0 h 124457"/>
                    <a:gd name="connsiteX3" fmla="*/ 13605 w 27082"/>
                    <a:gd name="connsiteY3" fmla="*/ 15 h 124457"/>
                    <a:gd name="connsiteX4" fmla="*/ 13138 w 27082"/>
                    <a:gd name="connsiteY4" fmla="*/ 0 h 124457"/>
                    <a:gd name="connsiteX5" fmla="*/ 11947 w 27082"/>
                    <a:gd name="connsiteY5" fmla="*/ 416 h 124457"/>
                    <a:gd name="connsiteX6" fmla="*/ 1158 w 27082"/>
                    <a:gd name="connsiteY6" fmla="*/ 40741 h 124457"/>
                    <a:gd name="connsiteX7" fmla="*/ 6858 w 27082"/>
                    <a:gd name="connsiteY7" fmla="*/ 100102 h 124457"/>
                    <a:gd name="connsiteX8" fmla="*/ 11269 w 27082"/>
                    <a:gd name="connsiteY8" fmla="*/ 102818 h 124457"/>
                    <a:gd name="connsiteX9" fmla="*/ 11269 w 27082"/>
                    <a:gd name="connsiteY9" fmla="*/ 122501 h 124457"/>
                    <a:gd name="connsiteX10" fmla="*/ 13225 w 27082"/>
                    <a:gd name="connsiteY10" fmla="*/ 124457 h 124457"/>
                    <a:gd name="connsiteX11" fmla="*/ 15182 w 27082"/>
                    <a:gd name="connsiteY11" fmla="*/ 122501 h 124457"/>
                    <a:gd name="connsiteX12" fmla="*/ 15182 w 27082"/>
                    <a:gd name="connsiteY12" fmla="*/ 102787 h 124457"/>
                    <a:gd name="connsiteX13" fmla="*/ 19675 w 27082"/>
                    <a:gd name="connsiteY13" fmla="*/ 99994 h 124457"/>
                    <a:gd name="connsiteX14" fmla="*/ 26047 w 27082"/>
                    <a:gd name="connsiteY14" fmla="*/ 40741 h 124457"/>
                    <a:gd name="connsiteX15" fmla="*/ 15192 w 27082"/>
                    <a:gd name="connsiteY15" fmla="*/ 98613 h 124457"/>
                    <a:gd name="connsiteX16" fmla="*/ 15192 w 27082"/>
                    <a:gd name="connsiteY16" fmla="*/ 73364 h 124457"/>
                    <a:gd name="connsiteX17" fmla="*/ 13235 w 27082"/>
                    <a:gd name="connsiteY17" fmla="*/ 71407 h 124457"/>
                    <a:gd name="connsiteX18" fmla="*/ 11279 w 27082"/>
                    <a:gd name="connsiteY18" fmla="*/ 73364 h 124457"/>
                    <a:gd name="connsiteX19" fmla="*/ 11279 w 27082"/>
                    <a:gd name="connsiteY19" fmla="*/ 98649 h 124457"/>
                    <a:gd name="connsiteX20" fmla="*/ 9749 w 27082"/>
                    <a:gd name="connsiteY20" fmla="*/ 97452 h 124457"/>
                    <a:gd name="connsiteX21" fmla="*/ 5066 w 27082"/>
                    <a:gd name="connsiteY21" fmla="*/ 41065 h 124457"/>
                    <a:gd name="connsiteX22" fmla="*/ 13610 w 27082"/>
                    <a:gd name="connsiteY22" fmla="*/ 4021 h 124457"/>
                    <a:gd name="connsiteX23" fmla="*/ 22155 w 27082"/>
                    <a:gd name="connsiteY23" fmla="*/ 41065 h 124457"/>
                    <a:gd name="connsiteX24" fmla="*/ 16804 w 27082"/>
                    <a:gd name="connsiteY24" fmla="*/ 97344 h 124457"/>
                    <a:gd name="connsiteX25" fmla="*/ 15192 w 27082"/>
                    <a:gd name="connsiteY25" fmla="*/ 98613 h 12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082" h="124457">
                      <a:moveTo>
                        <a:pt x="26052" y="40741"/>
                      </a:moveTo>
                      <a:cubicBezTo>
                        <a:pt x="23480" y="10193"/>
                        <a:pt x="19331" y="2141"/>
                        <a:pt x="15264" y="416"/>
                      </a:cubicBezTo>
                      <a:cubicBezTo>
                        <a:pt x="14935" y="159"/>
                        <a:pt x="14524" y="0"/>
                        <a:pt x="14072" y="0"/>
                      </a:cubicBezTo>
                      <a:cubicBezTo>
                        <a:pt x="13918" y="0"/>
                        <a:pt x="13764" y="5"/>
                        <a:pt x="13605" y="15"/>
                      </a:cubicBezTo>
                      <a:cubicBezTo>
                        <a:pt x="13451" y="5"/>
                        <a:pt x="13292" y="0"/>
                        <a:pt x="13138" y="0"/>
                      </a:cubicBezTo>
                      <a:cubicBezTo>
                        <a:pt x="12686" y="0"/>
                        <a:pt x="12280" y="159"/>
                        <a:pt x="11947" y="416"/>
                      </a:cubicBezTo>
                      <a:cubicBezTo>
                        <a:pt x="7880" y="2141"/>
                        <a:pt x="3731" y="10193"/>
                        <a:pt x="1158" y="40741"/>
                      </a:cubicBezTo>
                      <a:cubicBezTo>
                        <a:pt x="-711" y="62960"/>
                        <a:pt x="-1240" y="91295"/>
                        <a:pt x="6858" y="100102"/>
                      </a:cubicBezTo>
                      <a:cubicBezTo>
                        <a:pt x="8157" y="101514"/>
                        <a:pt x="9636" y="102423"/>
                        <a:pt x="11269" y="102818"/>
                      </a:cubicBezTo>
                      <a:lnTo>
                        <a:pt x="11269" y="122501"/>
                      </a:lnTo>
                      <a:cubicBezTo>
                        <a:pt x="11269" y="123579"/>
                        <a:pt x="12147" y="124457"/>
                        <a:pt x="13225" y="124457"/>
                      </a:cubicBezTo>
                      <a:cubicBezTo>
                        <a:pt x="14304" y="124457"/>
                        <a:pt x="15182" y="123579"/>
                        <a:pt x="15182" y="122501"/>
                      </a:cubicBezTo>
                      <a:lnTo>
                        <a:pt x="15182" y="102787"/>
                      </a:lnTo>
                      <a:cubicBezTo>
                        <a:pt x="16835" y="102372"/>
                        <a:pt x="18340" y="101442"/>
                        <a:pt x="19675" y="99994"/>
                      </a:cubicBezTo>
                      <a:cubicBezTo>
                        <a:pt x="28728" y="90150"/>
                        <a:pt x="27552" y="58642"/>
                        <a:pt x="26047" y="40741"/>
                      </a:cubicBezTo>
                      <a:close/>
                      <a:moveTo>
                        <a:pt x="15192" y="98613"/>
                      </a:moveTo>
                      <a:lnTo>
                        <a:pt x="15192" y="73364"/>
                      </a:lnTo>
                      <a:cubicBezTo>
                        <a:pt x="15192" y="72286"/>
                        <a:pt x="14314" y="71407"/>
                        <a:pt x="13235" y="71407"/>
                      </a:cubicBezTo>
                      <a:cubicBezTo>
                        <a:pt x="12157" y="71407"/>
                        <a:pt x="11279" y="72286"/>
                        <a:pt x="11279" y="73364"/>
                      </a:cubicBezTo>
                      <a:lnTo>
                        <a:pt x="11279" y="98649"/>
                      </a:lnTo>
                      <a:cubicBezTo>
                        <a:pt x="10745" y="98371"/>
                        <a:pt x="10231" y="97981"/>
                        <a:pt x="9749" y="97452"/>
                      </a:cubicBezTo>
                      <a:cubicBezTo>
                        <a:pt x="4259" y="91480"/>
                        <a:pt x="2555" y="70930"/>
                        <a:pt x="5066" y="41065"/>
                      </a:cubicBezTo>
                      <a:cubicBezTo>
                        <a:pt x="7715" y="9587"/>
                        <a:pt x="12003" y="4714"/>
                        <a:pt x="13610" y="4021"/>
                      </a:cubicBezTo>
                      <a:cubicBezTo>
                        <a:pt x="15212" y="4714"/>
                        <a:pt x="19505" y="9587"/>
                        <a:pt x="22155" y="41065"/>
                      </a:cubicBezTo>
                      <a:cubicBezTo>
                        <a:pt x="24589" y="70011"/>
                        <a:pt x="22591" y="91049"/>
                        <a:pt x="16804" y="97344"/>
                      </a:cubicBezTo>
                      <a:cubicBezTo>
                        <a:pt x="16291" y="97904"/>
                        <a:pt x="15752" y="98315"/>
                        <a:pt x="15192" y="9861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81" name="Freeform: Shape 580">
                  <a:extLst>
                    <a:ext uri="{FF2B5EF4-FFF2-40B4-BE49-F238E27FC236}">
                      <a16:creationId xmlns:a16="http://schemas.microsoft.com/office/drawing/2014/main" id="{E0D50852-6400-455A-B484-45BE26EDD2B1}"/>
                    </a:ext>
                  </a:extLst>
                </p:cNvPr>
                <p:cNvSpPr/>
                <p:nvPr/>
              </p:nvSpPr>
              <p:spPr>
                <a:xfrm>
                  <a:off x="2670857" y="4662089"/>
                  <a:ext cx="3912" cy="27436"/>
                </a:xfrm>
                <a:custGeom>
                  <a:avLst/>
                  <a:gdLst>
                    <a:gd name="connsiteX0" fmla="*/ 1956 w 3912"/>
                    <a:gd name="connsiteY0" fmla="*/ 0 h 27436"/>
                    <a:gd name="connsiteX1" fmla="*/ 0 w 3912"/>
                    <a:gd name="connsiteY1" fmla="*/ 1956 h 27436"/>
                    <a:gd name="connsiteX2" fmla="*/ 0 w 3912"/>
                    <a:gd name="connsiteY2" fmla="*/ 25480 h 27436"/>
                    <a:gd name="connsiteX3" fmla="*/ 1956 w 3912"/>
                    <a:gd name="connsiteY3" fmla="*/ 27436 h 27436"/>
                    <a:gd name="connsiteX4" fmla="*/ 3913 w 3912"/>
                    <a:gd name="connsiteY4" fmla="*/ 25480 h 27436"/>
                    <a:gd name="connsiteX5" fmla="*/ 3913 w 3912"/>
                    <a:gd name="connsiteY5" fmla="*/ 1956 h 27436"/>
                    <a:gd name="connsiteX6" fmla="*/ 1956 w 3912"/>
                    <a:gd name="connsiteY6" fmla="*/ 0 h 2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12" h="27436">
                      <a:moveTo>
                        <a:pt x="1956" y="0"/>
                      </a:moveTo>
                      <a:cubicBezTo>
                        <a:pt x="878" y="0"/>
                        <a:pt x="0" y="878"/>
                        <a:pt x="0" y="1956"/>
                      </a:cubicBezTo>
                      <a:lnTo>
                        <a:pt x="0" y="25480"/>
                      </a:lnTo>
                      <a:cubicBezTo>
                        <a:pt x="0" y="26558"/>
                        <a:pt x="878" y="27436"/>
                        <a:pt x="1956" y="27436"/>
                      </a:cubicBezTo>
                      <a:cubicBezTo>
                        <a:pt x="3035" y="27436"/>
                        <a:pt x="3913" y="26558"/>
                        <a:pt x="3913" y="25480"/>
                      </a:cubicBezTo>
                      <a:lnTo>
                        <a:pt x="3913" y="1956"/>
                      </a:lnTo>
                      <a:cubicBezTo>
                        <a:pt x="3913" y="878"/>
                        <a:pt x="3035" y="0"/>
                        <a:pt x="1956"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532" name="Graphic 6">
                <a:extLst>
                  <a:ext uri="{FF2B5EF4-FFF2-40B4-BE49-F238E27FC236}">
                    <a16:creationId xmlns:a16="http://schemas.microsoft.com/office/drawing/2014/main" id="{BE31888B-2F93-4A8B-AA46-C98DAF0557C3}"/>
                  </a:ext>
                </a:extLst>
              </p:cNvPr>
              <p:cNvGrpSpPr/>
              <p:nvPr/>
            </p:nvGrpSpPr>
            <p:grpSpPr>
              <a:xfrm>
                <a:off x="2713633" y="4588032"/>
                <a:ext cx="34038" cy="160612"/>
                <a:chOff x="2713673" y="4588124"/>
                <a:chExt cx="34038" cy="160612"/>
              </a:xfrm>
              <a:solidFill>
                <a:srgbClr val="069688"/>
              </a:solidFill>
            </p:grpSpPr>
            <p:sp>
              <p:nvSpPr>
                <p:cNvPr id="578" name="Freeform: Shape 577">
                  <a:extLst>
                    <a:ext uri="{FF2B5EF4-FFF2-40B4-BE49-F238E27FC236}">
                      <a16:creationId xmlns:a16="http://schemas.microsoft.com/office/drawing/2014/main" id="{F8577133-BF2D-4B3A-A6BF-C6274E39253A}"/>
                    </a:ext>
                  </a:extLst>
                </p:cNvPr>
                <p:cNvSpPr/>
                <p:nvPr/>
              </p:nvSpPr>
              <p:spPr>
                <a:xfrm>
                  <a:off x="2713673" y="4588124"/>
                  <a:ext cx="34038" cy="160612"/>
                </a:xfrm>
                <a:custGeom>
                  <a:avLst/>
                  <a:gdLst>
                    <a:gd name="connsiteX0" fmla="*/ 32689 w 34038"/>
                    <a:gd name="connsiteY0" fmla="*/ 52418 h 160612"/>
                    <a:gd name="connsiteX1" fmla="*/ 19020 w 34038"/>
                    <a:gd name="connsiteY1" fmla="*/ 519 h 160612"/>
                    <a:gd name="connsiteX2" fmla="*/ 17705 w 34038"/>
                    <a:gd name="connsiteY2" fmla="*/ 0 h 160612"/>
                    <a:gd name="connsiteX3" fmla="*/ 17099 w 34038"/>
                    <a:gd name="connsiteY3" fmla="*/ 31 h 160612"/>
                    <a:gd name="connsiteX4" fmla="*/ 16494 w 34038"/>
                    <a:gd name="connsiteY4" fmla="*/ 0 h 160612"/>
                    <a:gd name="connsiteX5" fmla="*/ 15179 w 34038"/>
                    <a:gd name="connsiteY5" fmla="*/ 519 h 160612"/>
                    <a:gd name="connsiteX6" fmla="*/ 1510 w 34038"/>
                    <a:gd name="connsiteY6" fmla="*/ 52418 h 160612"/>
                    <a:gd name="connsiteX7" fmla="*/ 8765 w 34038"/>
                    <a:gd name="connsiteY7" fmla="*/ 129140 h 160612"/>
                    <a:gd name="connsiteX8" fmla="*/ 14655 w 34038"/>
                    <a:gd name="connsiteY8" fmla="*/ 132596 h 160612"/>
                    <a:gd name="connsiteX9" fmla="*/ 14655 w 34038"/>
                    <a:gd name="connsiteY9" fmla="*/ 158656 h 160612"/>
                    <a:gd name="connsiteX10" fmla="*/ 16612 w 34038"/>
                    <a:gd name="connsiteY10" fmla="*/ 160613 h 160612"/>
                    <a:gd name="connsiteX11" fmla="*/ 18568 w 34038"/>
                    <a:gd name="connsiteY11" fmla="*/ 158656 h 160612"/>
                    <a:gd name="connsiteX12" fmla="*/ 18568 w 34038"/>
                    <a:gd name="connsiteY12" fmla="*/ 132565 h 160612"/>
                    <a:gd name="connsiteX13" fmla="*/ 24561 w 34038"/>
                    <a:gd name="connsiteY13" fmla="*/ 128997 h 160612"/>
                    <a:gd name="connsiteX14" fmla="*/ 32689 w 34038"/>
                    <a:gd name="connsiteY14" fmla="*/ 52418 h 160612"/>
                    <a:gd name="connsiteX15" fmla="*/ 18568 w 34038"/>
                    <a:gd name="connsiteY15" fmla="*/ 128519 h 160612"/>
                    <a:gd name="connsiteX16" fmla="*/ 18568 w 34038"/>
                    <a:gd name="connsiteY16" fmla="*/ 94782 h 160612"/>
                    <a:gd name="connsiteX17" fmla="*/ 16612 w 34038"/>
                    <a:gd name="connsiteY17" fmla="*/ 92826 h 160612"/>
                    <a:gd name="connsiteX18" fmla="*/ 14655 w 34038"/>
                    <a:gd name="connsiteY18" fmla="*/ 94782 h 160612"/>
                    <a:gd name="connsiteX19" fmla="*/ 14655 w 34038"/>
                    <a:gd name="connsiteY19" fmla="*/ 128550 h 160612"/>
                    <a:gd name="connsiteX20" fmla="*/ 11646 w 34038"/>
                    <a:gd name="connsiteY20" fmla="*/ 126491 h 160612"/>
                    <a:gd name="connsiteX21" fmla="*/ 5412 w 34038"/>
                    <a:gd name="connsiteY21" fmla="*/ 52747 h 160612"/>
                    <a:gd name="connsiteX22" fmla="*/ 17105 w 34038"/>
                    <a:gd name="connsiteY22" fmla="*/ 4021 h 160612"/>
                    <a:gd name="connsiteX23" fmla="*/ 28797 w 34038"/>
                    <a:gd name="connsiteY23" fmla="*/ 52747 h 160612"/>
                    <a:gd name="connsiteX24" fmla="*/ 21690 w 34038"/>
                    <a:gd name="connsiteY24" fmla="*/ 126352 h 160612"/>
                    <a:gd name="connsiteX25" fmla="*/ 18578 w 34038"/>
                    <a:gd name="connsiteY25" fmla="*/ 128519 h 16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038" h="160612">
                      <a:moveTo>
                        <a:pt x="32689" y="52418"/>
                      </a:moveTo>
                      <a:cubicBezTo>
                        <a:pt x="29362" y="12879"/>
                        <a:pt x="23944" y="2680"/>
                        <a:pt x="19020" y="519"/>
                      </a:cubicBezTo>
                      <a:cubicBezTo>
                        <a:pt x="18671" y="200"/>
                        <a:pt x="18214" y="0"/>
                        <a:pt x="17705" y="0"/>
                      </a:cubicBezTo>
                      <a:cubicBezTo>
                        <a:pt x="17505" y="0"/>
                        <a:pt x="17305" y="10"/>
                        <a:pt x="17099" y="31"/>
                      </a:cubicBezTo>
                      <a:cubicBezTo>
                        <a:pt x="16894" y="15"/>
                        <a:pt x="16694" y="0"/>
                        <a:pt x="16494" y="0"/>
                      </a:cubicBezTo>
                      <a:cubicBezTo>
                        <a:pt x="15985" y="0"/>
                        <a:pt x="15528" y="200"/>
                        <a:pt x="15179" y="519"/>
                      </a:cubicBezTo>
                      <a:cubicBezTo>
                        <a:pt x="10255" y="2680"/>
                        <a:pt x="4837" y="12879"/>
                        <a:pt x="1510" y="52418"/>
                      </a:cubicBezTo>
                      <a:cubicBezTo>
                        <a:pt x="-909" y="81184"/>
                        <a:pt x="-1618" y="117848"/>
                        <a:pt x="8765" y="129140"/>
                      </a:cubicBezTo>
                      <a:cubicBezTo>
                        <a:pt x="10486" y="131015"/>
                        <a:pt x="12463" y="132170"/>
                        <a:pt x="14655" y="132596"/>
                      </a:cubicBezTo>
                      <a:lnTo>
                        <a:pt x="14655" y="158656"/>
                      </a:lnTo>
                      <a:cubicBezTo>
                        <a:pt x="14655" y="159735"/>
                        <a:pt x="15533" y="160613"/>
                        <a:pt x="16612" y="160613"/>
                      </a:cubicBezTo>
                      <a:cubicBezTo>
                        <a:pt x="17690" y="160613"/>
                        <a:pt x="18568" y="159735"/>
                        <a:pt x="18568" y="158656"/>
                      </a:cubicBezTo>
                      <a:lnTo>
                        <a:pt x="18568" y="132565"/>
                      </a:lnTo>
                      <a:cubicBezTo>
                        <a:pt x="20781" y="132113"/>
                        <a:pt x="22794" y="130922"/>
                        <a:pt x="24561" y="128997"/>
                      </a:cubicBezTo>
                      <a:cubicBezTo>
                        <a:pt x="36176" y="116364"/>
                        <a:pt x="34636" y="75592"/>
                        <a:pt x="32689" y="52418"/>
                      </a:cubicBezTo>
                      <a:close/>
                      <a:moveTo>
                        <a:pt x="18568" y="128519"/>
                      </a:moveTo>
                      <a:lnTo>
                        <a:pt x="18568" y="94782"/>
                      </a:lnTo>
                      <a:cubicBezTo>
                        <a:pt x="18568" y="93704"/>
                        <a:pt x="17690" y="92826"/>
                        <a:pt x="16612" y="92826"/>
                      </a:cubicBezTo>
                      <a:cubicBezTo>
                        <a:pt x="15533" y="92826"/>
                        <a:pt x="14655" y="93704"/>
                        <a:pt x="14655" y="94782"/>
                      </a:cubicBezTo>
                      <a:lnTo>
                        <a:pt x="14655" y="128550"/>
                      </a:lnTo>
                      <a:cubicBezTo>
                        <a:pt x="13572" y="128185"/>
                        <a:pt x="12576" y="127507"/>
                        <a:pt x="11646" y="126491"/>
                      </a:cubicBezTo>
                      <a:cubicBezTo>
                        <a:pt x="4293" y="118495"/>
                        <a:pt x="2080" y="92307"/>
                        <a:pt x="5412" y="52747"/>
                      </a:cubicBezTo>
                      <a:cubicBezTo>
                        <a:pt x="8894" y="11389"/>
                        <a:pt x="14660" y="4847"/>
                        <a:pt x="17105" y="4021"/>
                      </a:cubicBezTo>
                      <a:cubicBezTo>
                        <a:pt x="19544" y="4847"/>
                        <a:pt x="25315" y="11384"/>
                        <a:pt x="28797" y="52747"/>
                      </a:cubicBezTo>
                      <a:cubicBezTo>
                        <a:pt x="31976" y="90535"/>
                        <a:pt x="29321" y="118049"/>
                        <a:pt x="21690" y="126352"/>
                      </a:cubicBezTo>
                      <a:cubicBezTo>
                        <a:pt x="20715" y="127415"/>
                        <a:pt x="19688" y="128129"/>
                        <a:pt x="18578" y="128519"/>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79" name="Freeform: Shape 578">
                  <a:extLst>
                    <a:ext uri="{FF2B5EF4-FFF2-40B4-BE49-F238E27FC236}">
                      <a16:creationId xmlns:a16="http://schemas.microsoft.com/office/drawing/2014/main" id="{9B691A5E-3E8E-4F2F-804D-C6D497C890E2}"/>
                    </a:ext>
                  </a:extLst>
                </p:cNvPr>
                <p:cNvSpPr/>
                <p:nvPr/>
              </p:nvSpPr>
              <p:spPr>
                <a:xfrm>
                  <a:off x="2728328" y="4637272"/>
                  <a:ext cx="3912" cy="34491"/>
                </a:xfrm>
                <a:custGeom>
                  <a:avLst/>
                  <a:gdLst>
                    <a:gd name="connsiteX0" fmla="*/ 1956 w 3912"/>
                    <a:gd name="connsiteY0" fmla="*/ 0 h 34491"/>
                    <a:gd name="connsiteX1" fmla="*/ 0 w 3912"/>
                    <a:gd name="connsiteY1" fmla="*/ 1956 h 34491"/>
                    <a:gd name="connsiteX2" fmla="*/ 0 w 3912"/>
                    <a:gd name="connsiteY2" fmla="*/ 32535 h 34491"/>
                    <a:gd name="connsiteX3" fmla="*/ 1956 w 3912"/>
                    <a:gd name="connsiteY3" fmla="*/ 34492 h 34491"/>
                    <a:gd name="connsiteX4" fmla="*/ 3913 w 3912"/>
                    <a:gd name="connsiteY4" fmla="*/ 32535 h 34491"/>
                    <a:gd name="connsiteX5" fmla="*/ 3913 w 3912"/>
                    <a:gd name="connsiteY5" fmla="*/ 1956 h 34491"/>
                    <a:gd name="connsiteX6" fmla="*/ 1956 w 3912"/>
                    <a:gd name="connsiteY6" fmla="*/ 0 h 3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12" h="34491">
                      <a:moveTo>
                        <a:pt x="1956" y="0"/>
                      </a:moveTo>
                      <a:cubicBezTo>
                        <a:pt x="878" y="0"/>
                        <a:pt x="0" y="878"/>
                        <a:pt x="0" y="1956"/>
                      </a:cubicBezTo>
                      <a:lnTo>
                        <a:pt x="0" y="32535"/>
                      </a:lnTo>
                      <a:cubicBezTo>
                        <a:pt x="0" y="33614"/>
                        <a:pt x="878" y="34492"/>
                        <a:pt x="1956" y="34492"/>
                      </a:cubicBezTo>
                      <a:cubicBezTo>
                        <a:pt x="3035" y="34492"/>
                        <a:pt x="3913" y="33614"/>
                        <a:pt x="3913" y="32535"/>
                      </a:cubicBezTo>
                      <a:lnTo>
                        <a:pt x="3913" y="1956"/>
                      </a:lnTo>
                      <a:cubicBezTo>
                        <a:pt x="3913" y="878"/>
                        <a:pt x="3035" y="0"/>
                        <a:pt x="1956"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533" name="Graphic 6">
                <a:extLst>
                  <a:ext uri="{FF2B5EF4-FFF2-40B4-BE49-F238E27FC236}">
                    <a16:creationId xmlns:a16="http://schemas.microsoft.com/office/drawing/2014/main" id="{D1F7B164-B7F6-4CF3-80FA-CF666BB02E3A}"/>
                  </a:ext>
                </a:extLst>
              </p:cNvPr>
              <p:cNvGrpSpPr/>
              <p:nvPr/>
            </p:nvGrpSpPr>
            <p:grpSpPr>
              <a:xfrm>
                <a:off x="1913697" y="4442188"/>
                <a:ext cx="29700" cy="142167"/>
                <a:chOff x="1913737" y="4442280"/>
                <a:chExt cx="29700" cy="142167"/>
              </a:xfrm>
              <a:solidFill>
                <a:srgbClr val="069688"/>
              </a:solidFill>
            </p:grpSpPr>
            <p:sp>
              <p:nvSpPr>
                <p:cNvPr id="576" name="Freeform: Shape 575">
                  <a:extLst>
                    <a:ext uri="{FF2B5EF4-FFF2-40B4-BE49-F238E27FC236}">
                      <a16:creationId xmlns:a16="http://schemas.microsoft.com/office/drawing/2014/main" id="{53B9A5AE-291A-4AB6-998D-D0284568F855}"/>
                    </a:ext>
                  </a:extLst>
                </p:cNvPr>
                <p:cNvSpPr/>
                <p:nvPr/>
              </p:nvSpPr>
              <p:spPr>
                <a:xfrm>
                  <a:off x="1913737" y="4442280"/>
                  <a:ext cx="29700" cy="142167"/>
                </a:xfrm>
                <a:custGeom>
                  <a:avLst/>
                  <a:gdLst>
                    <a:gd name="connsiteX0" fmla="*/ 28535 w 29700"/>
                    <a:gd name="connsiteY0" fmla="*/ 45132 h 142167"/>
                    <a:gd name="connsiteX1" fmla="*/ 16699 w 29700"/>
                    <a:gd name="connsiteY1" fmla="*/ 483 h 142167"/>
                    <a:gd name="connsiteX2" fmla="*/ 15431 w 29700"/>
                    <a:gd name="connsiteY2" fmla="*/ 0 h 142167"/>
                    <a:gd name="connsiteX3" fmla="*/ 14912 w 29700"/>
                    <a:gd name="connsiteY3" fmla="*/ 21 h 142167"/>
                    <a:gd name="connsiteX4" fmla="*/ 14394 w 29700"/>
                    <a:gd name="connsiteY4" fmla="*/ 0 h 142167"/>
                    <a:gd name="connsiteX5" fmla="*/ 13125 w 29700"/>
                    <a:gd name="connsiteY5" fmla="*/ 483 h 142167"/>
                    <a:gd name="connsiteX6" fmla="*/ 1289 w 29700"/>
                    <a:gd name="connsiteY6" fmla="*/ 45132 h 142167"/>
                    <a:gd name="connsiteX7" fmla="*/ 7574 w 29700"/>
                    <a:gd name="connsiteY7" fmla="*/ 111024 h 142167"/>
                    <a:gd name="connsiteX8" fmla="*/ 12545 w 29700"/>
                    <a:gd name="connsiteY8" fmla="*/ 114018 h 142167"/>
                    <a:gd name="connsiteX9" fmla="*/ 12545 w 29700"/>
                    <a:gd name="connsiteY9" fmla="*/ 140211 h 142167"/>
                    <a:gd name="connsiteX10" fmla="*/ 14501 w 29700"/>
                    <a:gd name="connsiteY10" fmla="*/ 142168 h 142167"/>
                    <a:gd name="connsiteX11" fmla="*/ 16458 w 29700"/>
                    <a:gd name="connsiteY11" fmla="*/ 140211 h 142167"/>
                    <a:gd name="connsiteX12" fmla="*/ 16458 w 29700"/>
                    <a:gd name="connsiteY12" fmla="*/ 113992 h 142167"/>
                    <a:gd name="connsiteX13" fmla="*/ 21516 w 29700"/>
                    <a:gd name="connsiteY13" fmla="*/ 110901 h 142167"/>
                    <a:gd name="connsiteX14" fmla="*/ 28546 w 29700"/>
                    <a:gd name="connsiteY14" fmla="*/ 45132 h 142167"/>
                    <a:gd name="connsiteX15" fmla="*/ 16448 w 29700"/>
                    <a:gd name="connsiteY15" fmla="*/ 109869 h 142167"/>
                    <a:gd name="connsiteX16" fmla="*/ 16448 w 29700"/>
                    <a:gd name="connsiteY16" fmla="*/ 81426 h 142167"/>
                    <a:gd name="connsiteX17" fmla="*/ 14491 w 29700"/>
                    <a:gd name="connsiteY17" fmla="*/ 79469 h 142167"/>
                    <a:gd name="connsiteX18" fmla="*/ 12535 w 29700"/>
                    <a:gd name="connsiteY18" fmla="*/ 81426 h 142167"/>
                    <a:gd name="connsiteX19" fmla="*/ 12535 w 29700"/>
                    <a:gd name="connsiteY19" fmla="*/ 109905 h 142167"/>
                    <a:gd name="connsiteX20" fmla="*/ 10445 w 29700"/>
                    <a:gd name="connsiteY20" fmla="*/ 108379 h 142167"/>
                    <a:gd name="connsiteX21" fmla="*/ 5181 w 29700"/>
                    <a:gd name="connsiteY21" fmla="*/ 45465 h 142167"/>
                    <a:gd name="connsiteX22" fmla="*/ 14907 w 29700"/>
                    <a:gd name="connsiteY22" fmla="*/ 4021 h 142167"/>
                    <a:gd name="connsiteX23" fmla="*/ 24633 w 29700"/>
                    <a:gd name="connsiteY23" fmla="*/ 45465 h 142167"/>
                    <a:gd name="connsiteX24" fmla="*/ 18620 w 29700"/>
                    <a:gd name="connsiteY24" fmla="*/ 108261 h 142167"/>
                    <a:gd name="connsiteX25" fmla="*/ 16443 w 29700"/>
                    <a:gd name="connsiteY25" fmla="*/ 109874 h 14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700" h="142167">
                      <a:moveTo>
                        <a:pt x="28535" y="45132"/>
                      </a:moveTo>
                      <a:cubicBezTo>
                        <a:pt x="25691" y="11328"/>
                        <a:pt x="20992" y="2429"/>
                        <a:pt x="16699" y="483"/>
                      </a:cubicBezTo>
                      <a:cubicBezTo>
                        <a:pt x="16355" y="185"/>
                        <a:pt x="15914" y="0"/>
                        <a:pt x="15431" y="0"/>
                      </a:cubicBezTo>
                      <a:cubicBezTo>
                        <a:pt x="15261" y="0"/>
                        <a:pt x="15087" y="10"/>
                        <a:pt x="14912" y="21"/>
                      </a:cubicBezTo>
                      <a:cubicBezTo>
                        <a:pt x="14738" y="5"/>
                        <a:pt x="14568" y="0"/>
                        <a:pt x="14394" y="0"/>
                      </a:cubicBezTo>
                      <a:cubicBezTo>
                        <a:pt x="13906" y="0"/>
                        <a:pt x="13464" y="185"/>
                        <a:pt x="13125" y="483"/>
                      </a:cubicBezTo>
                      <a:cubicBezTo>
                        <a:pt x="8832" y="2429"/>
                        <a:pt x="4134" y="11323"/>
                        <a:pt x="1289" y="45132"/>
                      </a:cubicBezTo>
                      <a:cubicBezTo>
                        <a:pt x="-785" y="69816"/>
                        <a:pt x="-1381" y="101283"/>
                        <a:pt x="7574" y="111024"/>
                      </a:cubicBezTo>
                      <a:cubicBezTo>
                        <a:pt x="9033" y="112611"/>
                        <a:pt x="10696" y="113612"/>
                        <a:pt x="12545" y="114018"/>
                      </a:cubicBezTo>
                      <a:lnTo>
                        <a:pt x="12545" y="140211"/>
                      </a:lnTo>
                      <a:cubicBezTo>
                        <a:pt x="12545" y="141290"/>
                        <a:pt x="13423" y="142168"/>
                        <a:pt x="14501" y="142168"/>
                      </a:cubicBezTo>
                      <a:cubicBezTo>
                        <a:pt x="15580" y="142168"/>
                        <a:pt x="16458" y="141290"/>
                        <a:pt x="16458" y="140211"/>
                      </a:cubicBezTo>
                      <a:lnTo>
                        <a:pt x="16458" y="113992"/>
                      </a:lnTo>
                      <a:cubicBezTo>
                        <a:pt x="18322" y="113561"/>
                        <a:pt x="20016" y="112529"/>
                        <a:pt x="21516" y="110901"/>
                      </a:cubicBezTo>
                      <a:cubicBezTo>
                        <a:pt x="31529" y="100009"/>
                        <a:pt x="30220" y="65019"/>
                        <a:pt x="28546" y="45132"/>
                      </a:cubicBezTo>
                      <a:close/>
                      <a:moveTo>
                        <a:pt x="16448" y="109869"/>
                      </a:moveTo>
                      <a:lnTo>
                        <a:pt x="16448" y="81426"/>
                      </a:lnTo>
                      <a:cubicBezTo>
                        <a:pt x="16448" y="80347"/>
                        <a:pt x="15570" y="79469"/>
                        <a:pt x="14491" y="79469"/>
                      </a:cubicBezTo>
                      <a:cubicBezTo>
                        <a:pt x="13413" y="79469"/>
                        <a:pt x="12535" y="80347"/>
                        <a:pt x="12535" y="81426"/>
                      </a:cubicBezTo>
                      <a:lnTo>
                        <a:pt x="12535" y="109905"/>
                      </a:lnTo>
                      <a:cubicBezTo>
                        <a:pt x="11795" y="109586"/>
                        <a:pt x="11102" y="109093"/>
                        <a:pt x="10445" y="108379"/>
                      </a:cubicBezTo>
                      <a:cubicBezTo>
                        <a:pt x="4206" y="101596"/>
                        <a:pt x="2337" y="79249"/>
                        <a:pt x="5181" y="45465"/>
                      </a:cubicBezTo>
                      <a:cubicBezTo>
                        <a:pt x="8134" y="10388"/>
                        <a:pt x="12884" y="4750"/>
                        <a:pt x="14907" y="4021"/>
                      </a:cubicBezTo>
                      <a:cubicBezTo>
                        <a:pt x="16930" y="4750"/>
                        <a:pt x="21680" y="10388"/>
                        <a:pt x="24633" y="45465"/>
                      </a:cubicBezTo>
                      <a:cubicBezTo>
                        <a:pt x="27349" y="77739"/>
                        <a:pt x="25100" y="101211"/>
                        <a:pt x="18620" y="108261"/>
                      </a:cubicBezTo>
                      <a:cubicBezTo>
                        <a:pt x="17932" y="109011"/>
                        <a:pt x="17208" y="109535"/>
                        <a:pt x="16443" y="109874"/>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77" name="Freeform: Shape 576">
                  <a:extLst>
                    <a:ext uri="{FF2B5EF4-FFF2-40B4-BE49-F238E27FC236}">
                      <a16:creationId xmlns:a16="http://schemas.microsoft.com/office/drawing/2014/main" id="{EC6C0056-5BF7-43F9-997C-D62EBCA60F23}"/>
                    </a:ext>
                  </a:extLst>
                </p:cNvPr>
                <p:cNvSpPr/>
                <p:nvPr/>
              </p:nvSpPr>
              <p:spPr>
                <a:xfrm>
                  <a:off x="1926277" y="4484351"/>
                  <a:ext cx="3912" cy="30091"/>
                </a:xfrm>
                <a:custGeom>
                  <a:avLst/>
                  <a:gdLst>
                    <a:gd name="connsiteX0" fmla="*/ 1956 w 3912"/>
                    <a:gd name="connsiteY0" fmla="*/ 0 h 30091"/>
                    <a:gd name="connsiteX1" fmla="*/ 0 w 3912"/>
                    <a:gd name="connsiteY1" fmla="*/ 1956 h 30091"/>
                    <a:gd name="connsiteX2" fmla="*/ 0 w 3912"/>
                    <a:gd name="connsiteY2" fmla="*/ 28135 h 30091"/>
                    <a:gd name="connsiteX3" fmla="*/ 1956 w 3912"/>
                    <a:gd name="connsiteY3" fmla="*/ 30091 h 30091"/>
                    <a:gd name="connsiteX4" fmla="*/ 3913 w 3912"/>
                    <a:gd name="connsiteY4" fmla="*/ 28135 h 30091"/>
                    <a:gd name="connsiteX5" fmla="*/ 3913 w 3912"/>
                    <a:gd name="connsiteY5" fmla="*/ 1956 h 30091"/>
                    <a:gd name="connsiteX6" fmla="*/ 1956 w 3912"/>
                    <a:gd name="connsiteY6" fmla="*/ 0 h 3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12" h="30091">
                      <a:moveTo>
                        <a:pt x="1956" y="0"/>
                      </a:moveTo>
                      <a:cubicBezTo>
                        <a:pt x="878" y="0"/>
                        <a:pt x="0" y="878"/>
                        <a:pt x="0" y="1956"/>
                      </a:cubicBezTo>
                      <a:lnTo>
                        <a:pt x="0" y="28135"/>
                      </a:lnTo>
                      <a:cubicBezTo>
                        <a:pt x="0" y="29213"/>
                        <a:pt x="878" y="30091"/>
                        <a:pt x="1956" y="30091"/>
                      </a:cubicBezTo>
                      <a:cubicBezTo>
                        <a:pt x="3035" y="30091"/>
                        <a:pt x="3913" y="29213"/>
                        <a:pt x="3913" y="28135"/>
                      </a:cubicBezTo>
                      <a:lnTo>
                        <a:pt x="3913" y="1956"/>
                      </a:lnTo>
                      <a:cubicBezTo>
                        <a:pt x="3913" y="878"/>
                        <a:pt x="3035" y="0"/>
                        <a:pt x="1956"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534" name="Graphic 6">
                <a:extLst>
                  <a:ext uri="{FF2B5EF4-FFF2-40B4-BE49-F238E27FC236}">
                    <a16:creationId xmlns:a16="http://schemas.microsoft.com/office/drawing/2014/main" id="{1BEC6B9C-E2E8-44E9-A481-078CFE11DC70}"/>
                  </a:ext>
                </a:extLst>
              </p:cNvPr>
              <p:cNvGrpSpPr/>
              <p:nvPr/>
            </p:nvGrpSpPr>
            <p:grpSpPr>
              <a:xfrm>
                <a:off x="1914554" y="4560031"/>
                <a:ext cx="30440" cy="24334"/>
                <a:chOff x="1914594" y="4560123"/>
                <a:chExt cx="30440" cy="24334"/>
              </a:xfrm>
            </p:grpSpPr>
            <p:sp>
              <p:nvSpPr>
                <p:cNvPr id="574" name="Freeform: Shape 573">
                  <a:extLst>
                    <a:ext uri="{FF2B5EF4-FFF2-40B4-BE49-F238E27FC236}">
                      <a16:creationId xmlns:a16="http://schemas.microsoft.com/office/drawing/2014/main" id="{BE96C3E8-D540-4461-A25B-AA685AC30ACA}"/>
                    </a:ext>
                  </a:extLst>
                </p:cNvPr>
                <p:cNvSpPr/>
                <p:nvPr/>
              </p:nvSpPr>
              <p:spPr>
                <a:xfrm>
                  <a:off x="1918502" y="4564036"/>
                  <a:ext cx="22624" cy="16493"/>
                </a:xfrm>
                <a:custGeom>
                  <a:avLst/>
                  <a:gdLst>
                    <a:gd name="connsiteX0" fmla="*/ 11318 w 22624"/>
                    <a:gd name="connsiteY0" fmla="*/ 0 h 16493"/>
                    <a:gd name="connsiteX1" fmla="*/ 22625 w 22624"/>
                    <a:gd name="connsiteY1" fmla="*/ 11318 h 16493"/>
                    <a:gd name="connsiteX2" fmla="*/ 21372 w 22624"/>
                    <a:gd name="connsiteY2" fmla="*/ 16494 h 16493"/>
                    <a:gd name="connsiteX3" fmla="*/ 1186 w 22624"/>
                    <a:gd name="connsiteY3" fmla="*/ 16350 h 16493"/>
                    <a:gd name="connsiteX4" fmla="*/ 0 w 22624"/>
                    <a:gd name="connsiteY4" fmla="*/ 11318 h 16493"/>
                    <a:gd name="connsiteX5" fmla="*/ 11318 w 22624"/>
                    <a:gd name="connsiteY5" fmla="*/ 0 h 16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4" h="16493">
                      <a:moveTo>
                        <a:pt x="11318" y="0"/>
                      </a:moveTo>
                      <a:cubicBezTo>
                        <a:pt x="17551" y="0"/>
                        <a:pt x="22625" y="5073"/>
                        <a:pt x="22625" y="11318"/>
                      </a:cubicBezTo>
                      <a:cubicBezTo>
                        <a:pt x="22625" y="13130"/>
                        <a:pt x="22194" y="14902"/>
                        <a:pt x="21372" y="16494"/>
                      </a:cubicBezTo>
                      <a:lnTo>
                        <a:pt x="1186" y="16350"/>
                      </a:lnTo>
                      <a:cubicBezTo>
                        <a:pt x="406" y="14799"/>
                        <a:pt x="0" y="13079"/>
                        <a:pt x="0" y="11318"/>
                      </a:cubicBezTo>
                      <a:cubicBezTo>
                        <a:pt x="0" y="5073"/>
                        <a:pt x="5073" y="0"/>
                        <a:pt x="11318" y="0"/>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75" name="Freeform: Shape 574">
                  <a:extLst>
                    <a:ext uri="{FF2B5EF4-FFF2-40B4-BE49-F238E27FC236}">
                      <a16:creationId xmlns:a16="http://schemas.microsoft.com/office/drawing/2014/main" id="{2225D9E8-8596-4B57-9584-89DB674B9738}"/>
                    </a:ext>
                  </a:extLst>
                </p:cNvPr>
                <p:cNvSpPr/>
                <p:nvPr/>
              </p:nvSpPr>
              <p:spPr>
                <a:xfrm>
                  <a:off x="1914594" y="4560123"/>
                  <a:ext cx="30440" cy="24334"/>
                </a:xfrm>
                <a:custGeom>
                  <a:avLst/>
                  <a:gdLst>
                    <a:gd name="connsiteX0" fmla="*/ 25280 w 30440"/>
                    <a:gd name="connsiteY0" fmla="*/ 20407 h 24334"/>
                    <a:gd name="connsiteX1" fmla="*/ 26533 w 30440"/>
                    <a:gd name="connsiteY1" fmla="*/ 15230 h 24334"/>
                    <a:gd name="connsiteX2" fmla="*/ 15225 w 30440"/>
                    <a:gd name="connsiteY2" fmla="*/ 3913 h 24334"/>
                    <a:gd name="connsiteX3" fmla="*/ 3908 w 30440"/>
                    <a:gd name="connsiteY3" fmla="*/ 15230 h 24334"/>
                    <a:gd name="connsiteX4" fmla="*/ 5094 w 30440"/>
                    <a:gd name="connsiteY4" fmla="*/ 20263 h 24334"/>
                    <a:gd name="connsiteX5" fmla="*/ 25280 w 30440"/>
                    <a:gd name="connsiteY5" fmla="*/ 20407 h 24334"/>
                    <a:gd name="connsiteX6" fmla="*/ 15225 w 30440"/>
                    <a:gd name="connsiteY6" fmla="*/ 0 h 24334"/>
                    <a:gd name="connsiteX7" fmla="*/ 30440 w 30440"/>
                    <a:gd name="connsiteY7" fmla="*/ 15230 h 24334"/>
                    <a:gd name="connsiteX8" fmla="*/ 28042 w 30440"/>
                    <a:gd name="connsiteY8" fmla="*/ 23421 h 24334"/>
                    <a:gd name="connsiteX9" fmla="*/ 26399 w 30440"/>
                    <a:gd name="connsiteY9" fmla="*/ 24335 h 24334"/>
                    <a:gd name="connsiteX10" fmla="*/ 3933 w 30440"/>
                    <a:gd name="connsiteY10" fmla="*/ 24181 h 24334"/>
                    <a:gd name="connsiteX11" fmla="*/ 2280 w 30440"/>
                    <a:gd name="connsiteY11" fmla="*/ 23256 h 24334"/>
                    <a:gd name="connsiteX12" fmla="*/ 0 w 30440"/>
                    <a:gd name="connsiteY12" fmla="*/ 15236 h 24334"/>
                    <a:gd name="connsiteX13" fmla="*/ 15230 w 30440"/>
                    <a:gd name="connsiteY13" fmla="*/ 5 h 2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440" h="24334">
                      <a:moveTo>
                        <a:pt x="25280" y="20407"/>
                      </a:moveTo>
                      <a:cubicBezTo>
                        <a:pt x="26101" y="18815"/>
                        <a:pt x="26533" y="17043"/>
                        <a:pt x="26533" y="15230"/>
                      </a:cubicBezTo>
                      <a:cubicBezTo>
                        <a:pt x="26533" y="8986"/>
                        <a:pt x="21459" y="3913"/>
                        <a:pt x="15225" y="3913"/>
                      </a:cubicBezTo>
                      <a:cubicBezTo>
                        <a:pt x="8991" y="3913"/>
                        <a:pt x="3908" y="8986"/>
                        <a:pt x="3908" y="15230"/>
                      </a:cubicBezTo>
                      <a:cubicBezTo>
                        <a:pt x="3908" y="16992"/>
                        <a:pt x="4313" y="18712"/>
                        <a:pt x="5094" y="20263"/>
                      </a:cubicBezTo>
                      <a:lnTo>
                        <a:pt x="25280" y="20407"/>
                      </a:lnTo>
                      <a:close/>
                      <a:moveTo>
                        <a:pt x="15225" y="0"/>
                      </a:moveTo>
                      <a:cubicBezTo>
                        <a:pt x="23611" y="0"/>
                        <a:pt x="30440" y="6835"/>
                        <a:pt x="30440" y="15230"/>
                      </a:cubicBezTo>
                      <a:cubicBezTo>
                        <a:pt x="30440" y="18137"/>
                        <a:pt x="29603" y="20982"/>
                        <a:pt x="28042" y="23421"/>
                      </a:cubicBezTo>
                      <a:cubicBezTo>
                        <a:pt x="27688" y="23996"/>
                        <a:pt x="27067" y="24335"/>
                        <a:pt x="26399" y="24335"/>
                      </a:cubicBezTo>
                      <a:cubicBezTo>
                        <a:pt x="26384" y="24335"/>
                        <a:pt x="3933" y="24181"/>
                        <a:pt x="3933" y="24181"/>
                      </a:cubicBezTo>
                      <a:cubicBezTo>
                        <a:pt x="3256" y="24165"/>
                        <a:pt x="2629" y="23816"/>
                        <a:pt x="2280" y="23256"/>
                      </a:cubicBezTo>
                      <a:cubicBezTo>
                        <a:pt x="796" y="20843"/>
                        <a:pt x="0" y="18080"/>
                        <a:pt x="0" y="15236"/>
                      </a:cubicBezTo>
                      <a:cubicBezTo>
                        <a:pt x="0" y="6840"/>
                        <a:pt x="6835" y="5"/>
                        <a:pt x="15230" y="5"/>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535" name="Graphic 6">
                <a:extLst>
                  <a:ext uri="{FF2B5EF4-FFF2-40B4-BE49-F238E27FC236}">
                    <a16:creationId xmlns:a16="http://schemas.microsoft.com/office/drawing/2014/main" id="{12B5625E-16FA-40BA-A3C5-CABFEB849690}"/>
                  </a:ext>
                </a:extLst>
              </p:cNvPr>
              <p:cNvGrpSpPr/>
              <p:nvPr/>
            </p:nvGrpSpPr>
            <p:grpSpPr>
              <a:xfrm>
                <a:off x="2526832" y="4718744"/>
                <a:ext cx="30445" cy="24314"/>
                <a:chOff x="2526872" y="4718836"/>
                <a:chExt cx="30445" cy="24314"/>
              </a:xfrm>
            </p:grpSpPr>
            <p:sp>
              <p:nvSpPr>
                <p:cNvPr id="572" name="Freeform: Shape 571">
                  <a:extLst>
                    <a:ext uri="{FF2B5EF4-FFF2-40B4-BE49-F238E27FC236}">
                      <a16:creationId xmlns:a16="http://schemas.microsoft.com/office/drawing/2014/main" id="{07C845DA-FE4E-4AD1-BC74-3C0549B77E1C}"/>
                    </a:ext>
                  </a:extLst>
                </p:cNvPr>
                <p:cNvSpPr/>
                <p:nvPr/>
              </p:nvSpPr>
              <p:spPr>
                <a:xfrm>
                  <a:off x="2530774" y="4722749"/>
                  <a:ext cx="22624" cy="16498"/>
                </a:xfrm>
                <a:custGeom>
                  <a:avLst/>
                  <a:gdLst>
                    <a:gd name="connsiteX0" fmla="*/ 11318 w 22624"/>
                    <a:gd name="connsiteY0" fmla="*/ 0 h 16498"/>
                    <a:gd name="connsiteX1" fmla="*/ 22625 w 22624"/>
                    <a:gd name="connsiteY1" fmla="*/ 11307 h 16498"/>
                    <a:gd name="connsiteX2" fmla="*/ 21372 w 22624"/>
                    <a:gd name="connsiteY2" fmla="*/ 16499 h 16498"/>
                    <a:gd name="connsiteX3" fmla="*/ 1186 w 22624"/>
                    <a:gd name="connsiteY3" fmla="*/ 16355 h 16498"/>
                    <a:gd name="connsiteX4" fmla="*/ 0 w 22624"/>
                    <a:gd name="connsiteY4" fmla="*/ 11307 h 16498"/>
                    <a:gd name="connsiteX5" fmla="*/ 11318 w 22624"/>
                    <a:gd name="connsiteY5" fmla="*/ 0 h 1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4" h="16498">
                      <a:moveTo>
                        <a:pt x="11318" y="0"/>
                      </a:moveTo>
                      <a:cubicBezTo>
                        <a:pt x="17552" y="0"/>
                        <a:pt x="22625" y="5073"/>
                        <a:pt x="22625" y="11307"/>
                      </a:cubicBezTo>
                      <a:cubicBezTo>
                        <a:pt x="22625" y="13135"/>
                        <a:pt x="22194" y="14892"/>
                        <a:pt x="21372" y="16499"/>
                      </a:cubicBezTo>
                      <a:lnTo>
                        <a:pt x="1186" y="16355"/>
                      </a:lnTo>
                      <a:cubicBezTo>
                        <a:pt x="406" y="14789"/>
                        <a:pt x="0" y="13069"/>
                        <a:pt x="0" y="11307"/>
                      </a:cubicBezTo>
                      <a:cubicBezTo>
                        <a:pt x="0" y="5073"/>
                        <a:pt x="5073" y="0"/>
                        <a:pt x="11318" y="0"/>
                      </a:cubicBez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73" name="Freeform: Shape 572">
                  <a:extLst>
                    <a:ext uri="{FF2B5EF4-FFF2-40B4-BE49-F238E27FC236}">
                      <a16:creationId xmlns:a16="http://schemas.microsoft.com/office/drawing/2014/main" id="{B5FEEC8A-4258-455A-A010-D5CE01D4902F}"/>
                    </a:ext>
                  </a:extLst>
                </p:cNvPr>
                <p:cNvSpPr/>
                <p:nvPr/>
              </p:nvSpPr>
              <p:spPr>
                <a:xfrm>
                  <a:off x="2526872" y="4718836"/>
                  <a:ext cx="30445" cy="24314"/>
                </a:xfrm>
                <a:custGeom>
                  <a:avLst/>
                  <a:gdLst>
                    <a:gd name="connsiteX0" fmla="*/ 25274 w 30445"/>
                    <a:gd name="connsiteY0" fmla="*/ 20407 h 24314"/>
                    <a:gd name="connsiteX1" fmla="*/ 26527 w 30445"/>
                    <a:gd name="connsiteY1" fmla="*/ 15215 h 24314"/>
                    <a:gd name="connsiteX2" fmla="*/ 15220 w 30445"/>
                    <a:gd name="connsiteY2" fmla="*/ 3908 h 24314"/>
                    <a:gd name="connsiteX3" fmla="*/ 3903 w 30445"/>
                    <a:gd name="connsiteY3" fmla="*/ 15215 h 24314"/>
                    <a:gd name="connsiteX4" fmla="*/ 5089 w 30445"/>
                    <a:gd name="connsiteY4" fmla="*/ 20263 h 24314"/>
                    <a:gd name="connsiteX5" fmla="*/ 25274 w 30445"/>
                    <a:gd name="connsiteY5" fmla="*/ 20407 h 24314"/>
                    <a:gd name="connsiteX6" fmla="*/ 30440 w 30445"/>
                    <a:gd name="connsiteY6" fmla="*/ 15215 h 24314"/>
                    <a:gd name="connsiteX7" fmla="*/ 28042 w 30445"/>
                    <a:gd name="connsiteY7" fmla="*/ 23416 h 24314"/>
                    <a:gd name="connsiteX8" fmla="*/ 26399 w 30445"/>
                    <a:gd name="connsiteY8" fmla="*/ 24314 h 24314"/>
                    <a:gd name="connsiteX9" fmla="*/ 3933 w 30445"/>
                    <a:gd name="connsiteY9" fmla="*/ 24160 h 24314"/>
                    <a:gd name="connsiteX10" fmla="*/ 2280 w 30445"/>
                    <a:gd name="connsiteY10" fmla="*/ 23236 h 24314"/>
                    <a:gd name="connsiteX11" fmla="*/ 0 w 30445"/>
                    <a:gd name="connsiteY11" fmla="*/ 15215 h 24314"/>
                    <a:gd name="connsiteX12" fmla="*/ 15230 w 30445"/>
                    <a:gd name="connsiteY12" fmla="*/ 0 h 24314"/>
                    <a:gd name="connsiteX13" fmla="*/ 30445 w 30445"/>
                    <a:gd name="connsiteY13" fmla="*/ 15215 h 24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445" h="24314">
                      <a:moveTo>
                        <a:pt x="25274" y="20407"/>
                      </a:moveTo>
                      <a:cubicBezTo>
                        <a:pt x="26096" y="18804"/>
                        <a:pt x="26527" y="17043"/>
                        <a:pt x="26527" y="15215"/>
                      </a:cubicBezTo>
                      <a:cubicBezTo>
                        <a:pt x="26527" y="8981"/>
                        <a:pt x="21454" y="3908"/>
                        <a:pt x="15220" y="3908"/>
                      </a:cubicBezTo>
                      <a:cubicBezTo>
                        <a:pt x="8986" y="3908"/>
                        <a:pt x="3903" y="8981"/>
                        <a:pt x="3903" y="15215"/>
                      </a:cubicBezTo>
                      <a:cubicBezTo>
                        <a:pt x="3903" y="16976"/>
                        <a:pt x="4308" y="18697"/>
                        <a:pt x="5089" y="20263"/>
                      </a:cubicBezTo>
                      <a:lnTo>
                        <a:pt x="25274" y="20407"/>
                      </a:lnTo>
                      <a:close/>
                      <a:moveTo>
                        <a:pt x="30440" y="15215"/>
                      </a:moveTo>
                      <a:cubicBezTo>
                        <a:pt x="30440" y="18137"/>
                        <a:pt x="29619" y="20977"/>
                        <a:pt x="28042" y="23416"/>
                      </a:cubicBezTo>
                      <a:cubicBezTo>
                        <a:pt x="27688" y="23975"/>
                        <a:pt x="27067" y="24314"/>
                        <a:pt x="26399" y="24314"/>
                      </a:cubicBezTo>
                      <a:cubicBezTo>
                        <a:pt x="26384" y="24314"/>
                        <a:pt x="3933" y="24160"/>
                        <a:pt x="3933" y="24160"/>
                      </a:cubicBezTo>
                      <a:cubicBezTo>
                        <a:pt x="3256" y="24160"/>
                        <a:pt x="2644" y="23806"/>
                        <a:pt x="2280" y="23236"/>
                      </a:cubicBezTo>
                      <a:cubicBezTo>
                        <a:pt x="796" y="20838"/>
                        <a:pt x="0" y="18060"/>
                        <a:pt x="0" y="15215"/>
                      </a:cubicBezTo>
                      <a:cubicBezTo>
                        <a:pt x="0" y="6830"/>
                        <a:pt x="6835" y="0"/>
                        <a:pt x="15230" y="0"/>
                      </a:cubicBezTo>
                      <a:cubicBezTo>
                        <a:pt x="23626" y="0"/>
                        <a:pt x="30445" y="6835"/>
                        <a:pt x="30445" y="15215"/>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536" name="Graphic 6">
                <a:extLst>
                  <a:ext uri="{FF2B5EF4-FFF2-40B4-BE49-F238E27FC236}">
                    <a16:creationId xmlns:a16="http://schemas.microsoft.com/office/drawing/2014/main" id="{667243A9-728F-4FB9-9D5F-28B66F3458CE}"/>
                  </a:ext>
                </a:extLst>
              </p:cNvPr>
              <p:cNvGrpSpPr/>
              <p:nvPr/>
            </p:nvGrpSpPr>
            <p:grpSpPr>
              <a:xfrm>
                <a:off x="2393732" y="4602642"/>
                <a:ext cx="32206" cy="25675"/>
                <a:chOff x="2393772" y="4602734"/>
                <a:chExt cx="32206" cy="25675"/>
              </a:xfrm>
            </p:grpSpPr>
            <p:sp>
              <p:nvSpPr>
                <p:cNvPr id="570" name="Freeform: Shape 569">
                  <a:extLst>
                    <a:ext uri="{FF2B5EF4-FFF2-40B4-BE49-F238E27FC236}">
                      <a16:creationId xmlns:a16="http://schemas.microsoft.com/office/drawing/2014/main" id="{91F55104-5A70-490F-8733-E53FBAD9E125}"/>
                    </a:ext>
                  </a:extLst>
                </p:cNvPr>
                <p:cNvSpPr/>
                <p:nvPr/>
              </p:nvSpPr>
              <p:spPr>
                <a:xfrm>
                  <a:off x="2397685" y="4606646"/>
                  <a:ext cx="24380" cy="17849"/>
                </a:xfrm>
                <a:custGeom>
                  <a:avLst/>
                  <a:gdLst>
                    <a:gd name="connsiteX0" fmla="*/ 12190 w 24380"/>
                    <a:gd name="connsiteY0" fmla="*/ 0 h 17849"/>
                    <a:gd name="connsiteX1" fmla="*/ 24381 w 24380"/>
                    <a:gd name="connsiteY1" fmla="*/ 12191 h 17849"/>
                    <a:gd name="connsiteX2" fmla="*/ 22984 w 24380"/>
                    <a:gd name="connsiteY2" fmla="*/ 17849 h 17849"/>
                    <a:gd name="connsiteX3" fmla="*/ 1315 w 24380"/>
                    <a:gd name="connsiteY3" fmla="*/ 17695 h 17849"/>
                    <a:gd name="connsiteX4" fmla="*/ 0 w 24380"/>
                    <a:gd name="connsiteY4" fmla="*/ 12191 h 17849"/>
                    <a:gd name="connsiteX5" fmla="*/ 12190 w 24380"/>
                    <a:gd name="connsiteY5" fmla="*/ 0 h 1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380" h="17849">
                      <a:moveTo>
                        <a:pt x="12190" y="0"/>
                      </a:moveTo>
                      <a:cubicBezTo>
                        <a:pt x="18907" y="0"/>
                        <a:pt x="24381" y="5479"/>
                        <a:pt x="24381" y="12191"/>
                      </a:cubicBezTo>
                      <a:cubicBezTo>
                        <a:pt x="24381" y="14173"/>
                        <a:pt x="23898" y="16103"/>
                        <a:pt x="22984" y="17849"/>
                      </a:cubicBezTo>
                      <a:lnTo>
                        <a:pt x="1315" y="17695"/>
                      </a:lnTo>
                      <a:cubicBezTo>
                        <a:pt x="452" y="16001"/>
                        <a:pt x="0" y="14111"/>
                        <a:pt x="0" y="12191"/>
                      </a:cubicBezTo>
                      <a:cubicBezTo>
                        <a:pt x="0" y="5474"/>
                        <a:pt x="5464" y="0"/>
                        <a:pt x="12190" y="0"/>
                      </a:cubicBez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71" name="Freeform: Shape 570">
                  <a:extLst>
                    <a:ext uri="{FF2B5EF4-FFF2-40B4-BE49-F238E27FC236}">
                      <a16:creationId xmlns:a16="http://schemas.microsoft.com/office/drawing/2014/main" id="{CBAAA43B-5623-4E44-B671-854FF0A2D930}"/>
                    </a:ext>
                  </a:extLst>
                </p:cNvPr>
                <p:cNvSpPr/>
                <p:nvPr/>
              </p:nvSpPr>
              <p:spPr>
                <a:xfrm>
                  <a:off x="2393772" y="4602734"/>
                  <a:ext cx="32206" cy="25675"/>
                </a:xfrm>
                <a:custGeom>
                  <a:avLst/>
                  <a:gdLst>
                    <a:gd name="connsiteX0" fmla="*/ 0 w 32206"/>
                    <a:gd name="connsiteY0" fmla="*/ 16103 h 25675"/>
                    <a:gd name="connsiteX1" fmla="*/ 16103 w 32206"/>
                    <a:gd name="connsiteY1" fmla="*/ 0 h 25675"/>
                    <a:gd name="connsiteX2" fmla="*/ 32207 w 32206"/>
                    <a:gd name="connsiteY2" fmla="*/ 16103 h 25675"/>
                    <a:gd name="connsiteX3" fmla="*/ 29665 w 32206"/>
                    <a:gd name="connsiteY3" fmla="*/ 24776 h 25675"/>
                    <a:gd name="connsiteX4" fmla="*/ 28022 w 32206"/>
                    <a:gd name="connsiteY4" fmla="*/ 25675 h 25675"/>
                    <a:gd name="connsiteX5" fmla="*/ 4067 w 32206"/>
                    <a:gd name="connsiteY5" fmla="*/ 25521 h 25675"/>
                    <a:gd name="connsiteX6" fmla="*/ 2413 w 32206"/>
                    <a:gd name="connsiteY6" fmla="*/ 24597 h 25675"/>
                    <a:gd name="connsiteX7" fmla="*/ 0 w 32206"/>
                    <a:gd name="connsiteY7" fmla="*/ 16109 h 25675"/>
                    <a:gd name="connsiteX8" fmla="*/ 26902 w 32206"/>
                    <a:gd name="connsiteY8" fmla="*/ 21762 h 25675"/>
                    <a:gd name="connsiteX9" fmla="*/ 28299 w 32206"/>
                    <a:gd name="connsiteY9" fmla="*/ 16103 h 25675"/>
                    <a:gd name="connsiteX10" fmla="*/ 16109 w 32206"/>
                    <a:gd name="connsiteY10" fmla="*/ 3913 h 25675"/>
                    <a:gd name="connsiteX11" fmla="*/ 3918 w 32206"/>
                    <a:gd name="connsiteY11" fmla="*/ 16103 h 25675"/>
                    <a:gd name="connsiteX12" fmla="*/ 5233 w 32206"/>
                    <a:gd name="connsiteY12" fmla="*/ 21608 h 25675"/>
                    <a:gd name="connsiteX13" fmla="*/ 26902 w 32206"/>
                    <a:gd name="connsiteY13" fmla="*/ 21762 h 25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206" h="25675">
                      <a:moveTo>
                        <a:pt x="0" y="16103"/>
                      </a:moveTo>
                      <a:cubicBezTo>
                        <a:pt x="0" y="7225"/>
                        <a:pt x="7225" y="0"/>
                        <a:pt x="16103" y="0"/>
                      </a:cubicBezTo>
                      <a:cubicBezTo>
                        <a:pt x="24982" y="0"/>
                        <a:pt x="32207" y="7225"/>
                        <a:pt x="32207" y="16103"/>
                      </a:cubicBezTo>
                      <a:cubicBezTo>
                        <a:pt x="32207" y="19195"/>
                        <a:pt x="31334" y="22193"/>
                        <a:pt x="29665" y="24776"/>
                      </a:cubicBezTo>
                      <a:cubicBezTo>
                        <a:pt x="29311" y="25336"/>
                        <a:pt x="28689" y="25675"/>
                        <a:pt x="28022" y="25675"/>
                      </a:cubicBezTo>
                      <a:cubicBezTo>
                        <a:pt x="28006" y="25675"/>
                        <a:pt x="4067" y="25521"/>
                        <a:pt x="4067" y="25521"/>
                      </a:cubicBezTo>
                      <a:cubicBezTo>
                        <a:pt x="3389" y="25506"/>
                        <a:pt x="2778" y="25156"/>
                        <a:pt x="2413" y="24597"/>
                      </a:cubicBezTo>
                      <a:cubicBezTo>
                        <a:pt x="837" y="22055"/>
                        <a:pt x="0" y="19118"/>
                        <a:pt x="0" y="16109"/>
                      </a:cubicBezTo>
                      <a:close/>
                      <a:moveTo>
                        <a:pt x="26902" y="21762"/>
                      </a:moveTo>
                      <a:cubicBezTo>
                        <a:pt x="27816" y="20016"/>
                        <a:pt x="28299" y="18085"/>
                        <a:pt x="28299" y="16103"/>
                      </a:cubicBezTo>
                      <a:cubicBezTo>
                        <a:pt x="28299" y="9387"/>
                        <a:pt x="22820" y="3913"/>
                        <a:pt x="16109" y="3913"/>
                      </a:cubicBezTo>
                      <a:cubicBezTo>
                        <a:pt x="9397" y="3913"/>
                        <a:pt x="3918" y="9392"/>
                        <a:pt x="3918" y="16103"/>
                      </a:cubicBezTo>
                      <a:cubicBezTo>
                        <a:pt x="3918" y="18019"/>
                        <a:pt x="4375" y="19908"/>
                        <a:pt x="5233" y="21608"/>
                      </a:cubicBezTo>
                      <a:lnTo>
                        <a:pt x="26902" y="21762"/>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537" name="Graphic 6">
                <a:extLst>
                  <a:ext uri="{FF2B5EF4-FFF2-40B4-BE49-F238E27FC236}">
                    <a16:creationId xmlns:a16="http://schemas.microsoft.com/office/drawing/2014/main" id="{09E8552E-018E-489B-99EA-F4590254F712}"/>
                  </a:ext>
                </a:extLst>
              </p:cNvPr>
              <p:cNvGrpSpPr/>
              <p:nvPr/>
            </p:nvGrpSpPr>
            <p:grpSpPr>
              <a:xfrm>
                <a:off x="2435665" y="4502776"/>
                <a:ext cx="27081" cy="124462"/>
                <a:chOff x="2435705" y="4502868"/>
                <a:chExt cx="27081" cy="124462"/>
              </a:xfrm>
            </p:grpSpPr>
            <p:sp>
              <p:nvSpPr>
                <p:cNvPr id="568" name="Freeform: Shape 567">
                  <a:extLst>
                    <a:ext uri="{FF2B5EF4-FFF2-40B4-BE49-F238E27FC236}">
                      <a16:creationId xmlns:a16="http://schemas.microsoft.com/office/drawing/2014/main" id="{26A73DAC-1795-4051-9C57-5CF130FDC396}"/>
                    </a:ext>
                  </a:extLst>
                </p:cNvPr>
                <p:cNvSpPr/>
                <p:nvPr/>
              </p:nvSpPr>
              <p:spPr>
                <a:xfrm>
                  <a:off x="2446981" y="4540667"/>
                  <a:ext cx="3912" cy="27436"/>
                </a:xfrm>
                <a:custGeom>
                  <a:avLst/>
                  <a:gdLst>
                    <a:gd name="connsiteX0" fmla="*/ 3913 w 3912"/>
                    <a:gd name="connsiteY0" fmla="*/ 1956 h 27436"/>
                    <a:gd name="connsiteX1" fmla="*/ 3913 w 3912"/>
                    <a:gd name="connsiteY1" fmla="*/ 25480 h 27436"/>
                    <a:gd name="connsiteX2" fmla="*/ 1956 w 3912"/>
                    <a:gd name="connsiteY2" fmla="*/ 27436 h 27436"/>
                    <a:gd name="connsiteX3" fmla="*/ 0 w 3912"/>
                    <a:gd name="connsiteY3" fmla="*/ 25480 h 27436"/>
                    <a:gd name="connsiteX4" fmla="*/ 0 w 3912"/>
                    <a:gd name="connsiteY4" fmla="*/ 1956 h 27436"/>
                    <a:gd name="connsiteX5" fmla="*/ 1956 w 3912"/>
                    <a:gd name="connsiteY5" fmla="*/ 0 h 27436"/>
                    <a:gd name="connsiteX6" fmla="*/ 3913 w 3912"/>
                    <a:gd name="connsiteY6" fmla="*/ 1956 h 27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12" h="27436">
                      <a:moveTo>
                        <a:pt x="3913" y="1956"/>
                      </a:moveTo>
                      <a:lnTo>
                        <a:pt x="3913" y="25480"/>
                      </a:lnTo>
                      <a:cubicBezTo>
                        <a:pt x="3913" y="26563"/>
                        <a:pt x="3040" y="27436"/>
                        <a:pt x="1956" y="27436"/>
                      </a:cubicBezTo>
                      <a:cubicBezTo>
                        <a:pt x="873" y="27436"/>
                        <a:pt x="0" y="26563"/>
                        <a:pt x="0" y="25480"/>
                      </a:cubicBezTo>
                      <a:lnTo>
                        <a:pt x="0" y="1956"/>
                      </a:lnTo>
                      <a:cubicBezTo>
                        <a:pt x="0" y="873"/>
                        <a:pt x="873" y="0"/>
                        <a:pt x="1956" y="0"/>
                      </a:cubicBezTo>
                      <a:cubicBezTo>
                        <a:pt x="3040" y="0"/>
                        <a:pt x="3913" y="873"/>
                        <a:pt x="3913" y="1956"/>
                      </a:cubicBez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69" name="Freeform: Shape 568">
                  <a:extLst>
                    <a:ext uri="{FF2B5EF4-FFF2-40B4-BE49-F238E27FC236}">
                      <a16:creationId xmlns:a16="http://schemas.microsoft.com/office/drawing/2014/main" id="{CFE5219B-1F7F-4433-B62A-1CF5A40D52A3}"/>
                    </a:ext>
                  </a:extLst>
                </p:cNvPr>
                <p:cNvSpPr/>
                <p:nvPr/>
              </p:nvSpPr>
              <p:spPr>
                <a:xfrm>
                  <a:off x="2435705" y="4502868"/>
                  <a:ext cx="27081" cy="124462"/>
                </a:xfrm>
                <a:custGeom>
                  <a:avLst/>
                  <a:gdLst>
                    <a:gd name="connsiteX0" fmla="*/ 11277 w 27081"/>
                    <a:gd name="connsiteY0" fmla="*/ 102813 h 124462"/>
                    <a:gd name="connsiteX1" fmla="*/ 6856 w 27081"/>
                    <a:gd name="connsiteY1" fmla="*/ 100102 h 124462"/>
                    <a:gd name="connsiteX2" fmla="*/ 1156 w 27081"/>
                    <a:gd name="connsiteY2" fmla="*/ 40736 h 124462"/>
                    <a:gd name="connsiteX3" fmla="*/ 11955 w 27081"/>
                    <a:gd name="connsiteY3" fmla="*/ 416 h 124462"/>
                    <a:gd name="connsiteX4" fmla="*/ 13141 w 27081"/>
                    <a:gd name="connsiteY4" fmla="*/ 0 h 124462"/>
                    <a:gd name="connsiteX5" fmla="*/ 13598 w 27081"/>
                    <a:gd name="connsiteY5" fmla="*/ 15 h 124462"/>
                    <a:gd name="connsiteX6" fmla="*/ 14065 w 27081"/>
                    <a:gd name="connsiteY6" fmla="*/ 0 h 124462"/>
                    <a:gd name="connsiteX7" fmla="*/ 15251 w 27081"/>
                    <a:gd name="connsiteY7" fmla="*/ 416 h 124462"/>
                    <a:gd name="connsiteX8" fmla="*/ 26050 w 27081"/>
                    <a:gd name="connsiteY8" fmla="*/ 40736 h 124462"/>
                    <a:gd name="connsiteX9" fmla="*/ 19672 w 27081"/>
                    <a:gd name="connsiteY9" fmla="*/ 99989 h 124462"/>
                    <a:gd name="connsiteX10" fmla="*/ 15184 w 27081"/>
                    <a:gd name="connsiteY10" fmla="*/ 102793 h 124462"/>
                    <a:gd name="connsiteX11" fmla="*/ 15184 w 27081"/>
                    <a:gd name="connsiteY11" fmla="*/ 122506 h 124462"/>
                    <a:gd name="connsiteX12" fmla="*/ 13228 w 27081"/>
                    <a:gd name="connsiteY12" fmla="*/ 124462 h 124462"/>
                    <a:gd name="connsiteX13" fmla="*/ 11272 w 27081"/>
                    <a:gd name="connsiteY13" fmla="*/ 122506 h 124462"/>
                    <a:gd name="connsiteX14" fmla="*/ 11272 w 27081"/>
                    <a:gd name="connsiteY14" fmla="*/ 102818 h 124462"/>
                    <a:gd name="connsiteX15" fmla="*/ 5058 w 27081"/>
                    <a:gd name="connsiteY15" fmla="*/ 41060 h 124462"/>
                    <a:gd name="connsiteX16" fmla="*/ 9741 w 27081"/>
                    <a:gd name="connsiteY16" fmla="*/ 97452 h 124462"/>
                    <a:gd name="connsiteX17" fmla="*/ 11282 w 27081"/>
                    <a:gd name="connsiteY17" fmla="*/ 98638 h 124462"/>
                    <a:gd name="connsiteX18" fmla="*/ 11282 w 27081"/>
                    <a:gd name="connsiteY18" fmla="*/ 73354 h 124462"/>
                    <a:gd name="connsiteX19" fmla="*/ 13238 w 27081"/>
                    <a:gd name="connsiteY19" fmla="*/ 71397 h 124462"/>
                    <a:gd name="connsiteX20" fmla="*/ 15195 w 27081"/>
                    <a:gd name="connsiteY20" fmla="*/ 73354 h 124462"/>
                    <a:gd name="connsiteX21" fmla="*/ 15195 w 27081"/>
                    <a:gd name="connsiteY21" fmla="*/ 98597 h 124462"/>
                    <a:gd name="connsiteX22" fmla="*/ 16797 w 27081"/>
                    <a:gd name="connsiteY22" fmla="*/ 97334 h 124462"/>
                    <a:gd name="connsiteX23" fmla="*/ 22158 w 27081"/>
                    <a:gd name="connsiteY23" fmla="*/ 41054 h 124462"/>
                    <a:gd name="connsiteX24" fmla="*/ 13603 w 27081"/>
                    <a:gd name="connsiteY24" fmla="*/ 4010 h 124462"/>
                    <a:gd name="connsiteX25" fmla="*/ 5063 w 27081"/>
                    <a:gd name="connsiteY25" fmla="*/ 41054 h 12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7081" h="124462">
                      <a:moveTo>
                        <a:pt x="11277" y="102813"/>
                      </a:moveTo>
                      <a:cubicBezTo>
                        <a:pt x="9634" y="102423"/>
                        <a:pt x="8160" y="101509"/>
                        <a:pt x="6856" y="100102"/>
                      </a:cubicBezTo>
                      <a:cubicBezTo>
                        <a:pt x="-1242" y="91285"/>
                        <a:pt x="-708" y="62955"/>
                        <a:pt x="1156" y="40736"/>
                      </a:cubicBezTo>
                      <a:cubicBezTo>
                        <a:pt x="3723" y="10183"/>
                        <a:pt x="7883" y="2141"/>
                        <a:pt x="11955" y="416"/>
                      </a:cubicBezTo>
                      <a:cubicBezTo>
                        <a:pt x="12278" y="154"/>
                        <a:pt x="12684" y="0"/>
                        <a:pt x="13141" y="0"/>
                      </a:cubicBezTo>
                      <a:cubicBezTo>
                        <a:pt x="13295" y="0"/>
                        <a:pt x="13454" y="0"/>
                        <a:pt x="13598" y="15"/>
                      </a:cubicBezTo>
                      <a:cubicBezTo>
                        <a:pt x="13752" y="0"/>
                        <a:pt x="13911" y="0"/>
                        <a:pt x="14065" y="0"/>
                      </a:cubicBezTo>
                      <a:cubicBezTo>
                        <a:pt x="14522" y="0"/>
                        <a:pt x="14928" y="154"/>
                        <a:pt x="15251" y="416"/>
                      </a:cubicBezTo>
                      <a:cubicBezTo>
                        <a:pt x="19318" y="2136"/>
                        <a:pt x="23467" y="10183"/>
                        <a:pt x="26050" y="40736"/>
                      </a:cubicBezTo>
                      <a:cubicBezTo>
                        <a:pt x="27550" y="58637"/>
                        <a:pt x="28725" y="90140"/>
                        <a:pt x="19672" y="99989"/>
                      </a:cubicBezTo>
                      <a:cubicBezTo>
                        <a:pt x="18343" y="101437"/>
                        <a:pt x="16828" y="102377"/>
                        <a:pt x="15184" y="102793"/>
                      </a:cubicBezTo>
                      <a:lnTo>
                        <a:pt x="15184" y="122506"/>
                      </a:lnTo>
                      <a:cubicBezTo>
                        <a:pt x="15184" y="123574"/>
                        <a:pt x="14312" y="124462"/>
                        <a:pt x="13228" y="124462"/>
                      </a:cubicBezTo>
                      <a:cubicBezTo>
                        <a:pt x="12145" y="124462"/>
                        <a:pt x="11272" y="123574"/>
                        <a:pt x="11272" y="122506"/>
                      </a:cubicBezTo>
                      <a:lnTo>
                        <a:pt x="11272" y="102818"/>
                      </a:lnTo>
                      <a:close/>
                      <a:moveTo>
                        <a:pt x="5058" y="41060"/>
                      </a:moveTo>
                      <a:cubicBezTo>
                        <a:pt x="2542" y="70935"/>
                        <a:pt x="4252" y="91480"/>
                        <a:pt x="9741" y="97452"/>
                      </a:cubicBezTo>
                      <a:cubicBezTo>
                        <a:pt x="10224" y="97976"/>
                        <a:pt x="10748" y="98366"/>
                        <a:pt x="11282" y="98638"/>
                      </a:cubicBezTo>
                      <a:lnTo>
                        <a:pt x="11282" y="73354"/>
                      </a:lnTo>
                      <a:cubicBezTo>
                        <a:pt x="11282" y="72286"/>
                        <a:pt x="12155" y="71397"/>
                        <a:pt x="13238" y="71397"/>
                      </a:cubicBezTo>
                      <a:cubicBezTo>
                        <a:pt x="14322" y="71397"/>
                        <a:pt x="15195" y="72286"/>
                        <a:pt x="15195" y="73354"/>
                      </a:cubicBezTo>
                      <a:lnTo>
                        <a:pt x="15195" y="98597"/>
                      </a:lnTo>
                      <a:cubicBezTo>
                        <a:pt x="15754" y="98310"/>
                        <a:pt x="16289" y="97894"/>
                        <a:pt x="16797" y="97334"/>
                      </a:cubicBezTo>
                      <a:cubicBezTo>
                        <a:pt x="22584" y="91049"/>
                        <a:pt x="24582" y="70006"/>
                        <a:pt x="22158" y="41054"/>
                      </a:cubicBezTo>
                      <a:cubicBezTo>
                        <a:pt x="19513" y="9577"/>
                        <a:pt x="15210" y="4699"/>
                        <a:pt x="13603" y="4010"/>
                      </a:cubicBezTo>
                      <a:cubicBezTo>
                        <a:pt x="12001" y="4704"/>
                        <a:pt x="7708" y="9577"/>
                        <a:pt x="5063" y="41054"/>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sp>
            <p:nvSpPr>
              <p:cNvPr id="538" name="Freeform: Shape 537">
                <a:extLst>
                  <a:ext uri="{FF2B5EF4-FFF2-40B4-BE49-F238E27FC236}">
                    <a16:creationId xmlns:a16="http://schemas.microsoft.com/office/drawing/2014/main" id="{D00DB102-720E-4FDE-A096-C5FBB33EBF24}"/>
                  </a:ext>
                </a:extLst>
              </p:cNvPr>
              <p:cNvSpPr/>
              <p:nvPr/>
            </p:nvSpPr>
            <p:spPr>
              <a:xfrm>
                <a:off x="2740889" y="4749272"/>
                <a:ext cx="46538" cy="36705"/>
              </a:xfrm>
              <a:custGeom>
                <a:avLst/>
                <a:gdLst>
                  <a:gd name="connsiteX0" fmla="*/ 46539 w 46538"/>
                  <a:gd name="connsiteY0" fmla="*/ 36705 h 36705"/>
                  <a:gd name="connsiteX1" fmla="*/ 36705 w 46538"/>
                  <a:gd name="connsiteY1" fmla="*/ 36705 h 36705"/>
                  <a:gd name="connsiteX2" fmla="*/ 0 w 46538"/>
                  <a:gd name="connsiteY2" fmla="*/ 0 h 36705"/>
                  <a:gd name="connsiteX3" fmla="*/ 9834 w 46538"/>
                  <a:gd name="connsiteY3" fmla="*/ 0 h 36705"/>
                  <a:gd name="connsiteX4" fmla="*/ 46539 w 46538"/>
                  <a:gd name="connsiteY4" fmla="*/ 36705 h 36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38" h="36705">
                    <a:moveTo>
                      <a:pt x="46539" y="36705"/>
                    </a:moveTo>
                    <a:lnTo>
                      <a:pt x="36705" y="36705"/>
                    </a:lnTo>
                    <a:lnTo>
                      <a:pt x="0" y="0"/>
                    </a:lnTo>
                    <a:lnTo>
                      <a:pt x="9834" y="0"/>
                    </a:lnTo>
                    <a:lnTo>
                      <a:pt x="46539" y="36705"/>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39" name="Freeform: Shape 538">
                <a:extLst>
                  <a:ext uri="{FF2B5EF4-FFF2-40B4-BE49-F238E27FC236}">
                    <a16:creationId xmlns:a16="http://schemas.microsoft.com/office/drawing/2014/main" id="{014F6559-B596-4EEE-9224-C6E49771801B}"/>
                  </a:ext>
                </a:extLst>
              </p:cNvPr>
              <p:cNvSpPr/>
              <p:nvPr/>
            </p:nvSpPr>
            <p:spPr>
              <a:xfrm>
                <a:off x="2726065" y="4749272"/>
                <a:ext cx="45989" cy="36705"/>
              </a:xfrm>
              <a:custGeom>
                <a:avLst/>
                <a:gdLst>
                  <a:gd name="connsiteX0" fmla="*/ 45989 w 45989"/>
                  <a:gd name="connsiteY0" fmla="*/ 36705 h 36705"/>
                  <a:gd name="connsiteX1" fmla="*/ 36705 w 45989"/>
                  <a:gd name="connsiteY1" fmla="*/ 36705 h 36705"/>
                  <a:gd name="connsiteX2" fmla="*/ 0 w 45989"/>
                  <a:gd name="connsiteY2" fmla="*/ 0 h 36705"/>
                  <a:gd name="connsiteX3" fmla="*/ 9284 w 45989"/>
                  <a:gd name="connsiteY3" fmla="*/ 0 h 36705"/>
                  <a:gd name="connsiteX4" fmla="*/ 45989 w 45989"/>
                  <a:gd name="connsiteY4" fmla="*/ 36705 h 36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89" h="36705">
                    <a:moveTo>
                      <a:pt x="45989" y="36705"/>
                    </a:moveTo>
                    <a:lnTo>
                      <a:pt x="36705" y="36705"/>
                    </a:lnTo>
                    <a:lnTo>
                      <a:pt x="0" y="0"/>
                    </a:lnTo>
                    <a:lnTo>
                      <a:pt x="9284" y="0"/>
                    </a:lnTo>
                    <a:lnTo>
                      <a:pt x="45989" y="36705"/>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40" name="Freeform: Shape 539">
                <a:extLst>
                  <a:ext uri="{FF2B5EF4-FFF2-40B4-BE49-F238E27FC236}">
                    <a16:creationId xmlns:a16="http://schemas.microsoft.com/office/drawing/2014/main" id="{7930459B-E1DC-4848-AC5A-E9B4369529C9}"/>
                  </a:ext>
                </a:extLst>
              </p:cNvPr>
              <p:cNvSpPr/>
              <p:nvPr/>
            </p:nvSpPr>
            <p:spPr>
              <a:xfrm>
                <a:off x="2711250" y="4749272"/>
                <a:ext cx="45989" cy="36705"/>
              </a:xfrm>
              <a:custGeom>
                <a:avLst/>
                <a:gdLst>
                  <a:gd name="connsiteX0" fmla="*/ 45989 w 45989"/>
                  <a:gd name="connsiteY0" fmla="*/ 36705 h 36705"/>
                  <a:gd name="connsiteX1" fmla="*/ 36705 w 45989"/>
                  <a:gd name="connsiteY1" fmla="*/ 36705 h 36705"/>
                  <a:gd name="connsiteX2" fmla="*/ 0 w 45989"/>
                  <a:gd name="connsiteY2" fmla="*/ 0 h 36705"/>
                  <a:gd name="connsiteX3" fmla="*/ 9284 w 45989"/>
                  <a:gd name="connsiteY3" fmla="*/ 0 h 36705"/>
                  <a:gd name="connsiteX4" fmla="*/ 45989 w 45989"/>
                  <a:gd name="connsiteY4" fmla="*/ 36705 h 36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89" h="36705">
                    <a:moveTo>
                      <a:pt x="45989" y="36705"/>
                    </a:moveTo>
                    <a:lnTo>
                      <a:pt x="36705" y="36705"/>
                    </a:lnTo>
                    <a:lnTo>
                      <a:pt x="0" y="0"/>
                    </a:lnTo>
                    <a:lnTo>
                      <a:pt x="9284" y="0"/>
                    </a:lnTo>
                    <a:lnTo>
                      <a:pt x="45989" y="36705"/>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41" name="Freeform: Shape 540">
                <a:extLst>
                  <a:ext uri="{FF2B5EF4-FFF2-40B4-BE49-F238E27FC236}">
                    <a16:creationId xmlns:a16="http://schemas.microsoft.com/office/drawing/2014/main" id="{3ECB8E86-3D29-4668-A913-125EBC3D560B}"/>
                  </a:ext>
                </a:extLst>
              </p:cNvPr>
              <p:cNvSpPr/>
              <p:nvPr/>
            </p:nvSpPr>
            <p:spPr>
              <a:xfrm>
                <a:off x="2696425" y="4749272"/>
                <a:ext cx="45988" cy="36705"/>
              </a:xfrm>
              <a:custGeom>
                <a:avLst/>
                <a:gdLst>
                  <a:gd name="connsiteX0" fmla="*/ 45989 w 45988"/>
                  <a:gd name="connsiteY0" fmla="*/ 36705 h 36705"/>
                  <a:gd name="connsiteX1" fmla="*/ 36705 w 45988"/>
                  <a:gd name="connsiteY1" fmla="*/ 36705 h 36705"/>
                  <a:gd name="connsiteX2" fmla="*/ 0 w 45988"/>
                  <a:gd name="connsiteY2" fmla="*/ 0 h 36705"/>
                  <a:gd name="connsiteX3" fmla="*/ 9284 w 45988"/>
                  <a:gd name="connsiteY3" fmla="*/ 0 h 36705"/>
                  <a:gd name="connsiteX4" fmla="*/ 45989 w 45988"/>
                  <a:gd name="connsiteY4" fmla="*/ 36705 h 36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88" h="36705">
                    <a:moveTo>
                      <a:pt x="45989" y="36705"/>
                    </a:moveTo>
                    <a:lnTo>
                      <a:pt x="36705" y="36705"/>
                    </a:lnTo>
                    <a:lnTo>
                      <a:pt x="0" y="0"/>
                    </a:lnTo>
                    <a:lnTo>
                      <a:pt x="9284" y="0"/>
                    </a:lnTo>
                    <a:lnTo>
                      <a:pt x="45989" y="36705"/>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42" name="Freeform: Shape 541">
                <a:extLst>
                  <a:ext uri="{FF2B5EF4-FFF2-40B4-BE49-F238E27FC236}">
                    <a16:creationId xmlns:a16="http://schemas.microsoft.com/office/drawing/2014/main" id="{DC7BA5C2-F2E0-442A-80CA-430EF4951DE7}"/>
                  </a:ext>
                </a:extLst>
              </p:cNvPr>
              <p:cNvSpPr/>
              <p:nvPr/>
            </p:nvSpPr>
            <p:spPr>
              <a:xfrm>
                <a:off x="2681601" y="4749272"/>
                <a:ext cx="45999" cy="36705"/>
              </a:xfrm>
              <a:custGeom>
                <a:avLst/>
                <a:gdLst>
                  <a:gd name="connsiteX0" fmla="*/ 45999 w 45999"/>
                  <a:gd name="connsiteY0" fmla="*/ 36705 h 36705"/>
                  <a:gd name="connsiteX1" fmla="*/ 36705 w 45999"/>
                  <a:gd name="connsiteY1" fmla="*/ 36705 h 36705"/>
                  <a:gd name="connsiteX2" fmla="*/ 0 w 45999"/>
                  <a:gd name="connsiteY2" fmla="*/ 0 h 36705"/>
                  <a:gd name="connsiteX3" fmla="*/ 9294 w 45999"/>
                  <a:gd name="connsiteY3" fmla="*/ 0 h 36705"/>
                  <a:gd name="connsiteX4" fmla="*/ 45999 w 45999"/>
                  <a:gd name="connsiteY4" fmla="*/ 36705 h 36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999" h="36705">
                    <a:moveTo>
                      <a:pt x="45999" y="36705"/>
                    </a:moveTo>
                    <a:lnTo>
                      <a:pt x="36705" y="36705"/>
                    </a:lnTo>
                    <a:lnTo>
                      <a:pt x="0" y="0"/>
                    </a:lnTo>
                    <a:lnTo>
                      <a:pt x="9294" y="0"/>
                    </a:lnTo>
                    <a:lnTo>
                      <a:pt x="45999" y="36705"/>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43" name="Freeform: Shape 542">
                <a:extLst>
                  <a:ext uri="{FF2B5EF4-FFF2-40B4-BE49-F238E27FC236}">
                    <a16:creationId xmlns:a16="http://schemas.microsoft.com/office/drawing/2014/main" id="{0D079465-B1C7-4DD9-8DFE-BABAD4D1FB2A}"/>
                  </a:ext>
                </a:extLst>
              </p:cNvPr>
              <p:cNvSpPr/>
              <p:nvPr/>
            </p:nvSpPr>
            <p:spPr>
              <a:xfrm>
                <a:off x="2665133" y="4749272"/>
                <a:ext cx="47642" cy="36705"/>
              </a:xfrm>
              <a:custGeom>
                <a:avLst/>
                <a:gdLst>
                  <a:gd name="connsiteX0" fmla="*/ 47643 w 47642"/>
                  <a:gd name="connsiteY0" fmla="*/ 36705 h 36705"/>
                  <a:gd name="connsiteX1" fmla="*/ 36715 w 47642"/>
                  <a:gd name="connsiteY1" fmla="*/ 36705 h 36705"/>
                  <a:gd name="connsiteX2" fmla="*/ 0 w 47642"/>
                  <a:gd name="connsiteY2" fmla="*/ 0 h 36705"/>
                  <a:gd name="connsiteX3" fmla="*/ 10938 w 47642"/>
                  <a:gd name="connsiteY3" fmla="*/ 0 h 36705"/>
                  <a:gd name="connsiteX4" fmla="*/ 47643 w 47642"/>
                  <a:gd name="connsiteY4" fmla="*/ 36705 h 367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642" h="36705">
                    <a:moveTo>
                      <a:pt x="47643" y="36705"/>
                    </a:moveTo>
                    <a:lnTo>
                      <a:pt x="36715" y="36705"/>
                    </a:lnTo>
                    <a:lnTo>
                      <a:pt x="0" y="0"/>
                    </a:lnTo>
                    <a:lnTo>
                      <a:pt x="10938" y="0"/>
                    </a:lnTo>
                    <a:lnTo>
                      <a:pt x="47643" y="36705"/>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44" name="Freeform: Shape 543">
                <a:extLst>
                  <a:ext uri="{FF2B5EF4-FFF2-40B4-BE49-F238E27FC236}">
                    <a16:creationId xmlns:a16="http://schemas.microsoft.com/office/drawing/2014/main" id="{57ABB772-6C07-4055-883B-932237B87BD7}"/>
                  </a:ext>
                </a:extLst>
              </p:cNvPr>
              <p:cNvSpPr/>
              <p:nvPr/>
            </p:nvSpPr>
            <p:spPr>
              <a:xfrm>
                <a:off x="2671156" y="4795379"/>
                <a:ext cx="10352" cy="15841"/>
              </a:xfrm>
              <a:custGeom>
                <a:avLst/>
                <a:gdLst>
                  <a:gd name="connsiteX0" fmla="*/ 0 w 10352"/>
                  <a:gd name="connsiteY0" fmla="*/ 0 h 15841"/>
                  <a:gd name="connsiteX1" fmla="*/ 10352 w 10352"/>
                  <a:gd name="connsiteY1" fmla="*/ 0 h 15841"/>
                  <a:gd name="connsiteX2" fmla="*/ 10352 w 10352"/>
                  <a:gd name="connsiteY2" fmla="*/ 15842 h 15841"/>
                  <a:gd name="connsiteX3" fmla="*/ 0 w 10352"/>
                  <a:gd name="connsiteY3" fmla="*/ 15842 h 15841"/>
                </a:gdLst>
                <a:ahLst/>
                <a:cxnLst>
                  <a:cxn ang="0">
                    <a:pos x="connsiteX0" y="connsiteY0"/>
                  </a:cxn>
                  <a:cxn ang="0">
                    <a:pos x="connsiteX1" y="connsiteY1"/>
                  </a:cxn>
                  <a:cxn ang="0">
                    <a:pos x="connsiteX2" y="connsiteY2"/>
                  </a:cxn>
                  <a:cxn ang="0">
                    <a:pos x="connsiteX3" y="connsiteY3"/>
                  </a:cxn>
                </a:cxnLst>
                <a:rect l="l" t="t" r="r" b="b"/>
                <a:pathLst>
                  <a:path w="10352" h="15841">
                    <a:moveTo>
                      <a:pt x="0" y="0"/>
                    </a:moveTo>
                    <a:lnTo>
                      <a:pt x="10352" y="0"/>
                    </a:lnTo>
                    <a:lnTo>
                      <a:pt x="10352" y="15842"/>
                    </a:lnTo>
                    <a:lnTo>
                      <a:pt x="0" y="15842"/>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45" name="Freeform: Shape 544">
                <a:extLst>
                  <a:ext uri="{FF2B5EF4-FFF2-40B4-BE49-F238E27FC236}">
                    <a16:creationId xmlns:a16="http://schemas.microsoft.com/office/drawing/2014/main" id="{61AE2962-71B6-4A26-960D-676E759ACBE3}"/>
                  </a:ext>
                </a:extLst>
              </p:cNvPr>
              <p:cNvSpPr/>
              <p:nvPr/>
            </p:nvSpPr>
            <p:spPr>
              <a:xfrm>
                <a:off x="2671156" y="4826656"/>
                <a:ext cx="10352" cy="15856"/>
              </a:xfrm>
              <a:custGeom>
                <a:avLst/>
                <a:gdLst>
                  <a:gd name="connsiteX0" fmla="*/ 0 w 10352"/>
                  <a:gd name="connsiteY0" fmla="*/ 0 h 15856"/>
                  <a:gd name="connsiteX1" fmla="*/ 10352 w 10352"/>
                  <a:gd name="connsiteY1" fmla="*/ 0 h 15856"/>
                  <a:gd name="connsiteX2" fmla="*/ 10352 w 10352"/>
                  <a:gd name="connsiteY2" fmla="*/ 15857 h 15856"/>
                  <a:gd name="connsiteX3" fmla="*/ 0 w 10352"/>
                  <a:gd name="connsiteY3" fmla="*/ 15857 h 15856"/>
                </a:gdLst>
                <a:ahLst/>
                <a:cxnLst>
                  <a:cxn ang="0">
                    <a:pos x="connsiteX0" y="connsiteY0"/>
                  </a:cxn>
                  <a:cxn ang="0">
                    <a:pos x="connsiteX1" y="connsiteY1"/>
                  </a:cxn>
                  <a:cxn ang="0">
                    <a:pos x="connsiteX2" y="connsiteY2"/>
                  </a:cxn>
                  <a:cxn ang="0">
                    <a:pos x="connsiteX3" y="connsiteY3"/>
                  </a:cxn>
                </a:cxnLst>
                <a:rect l="l" t="t" r="r" b="b"/>
                <a:pathLst>
                  <a:path w="10352" h="15856">
                    <a:moveTo>
                      <a:pt x="0" y="0"/>
                    </a:moveTo>
                    <a:lnTo>
                      <a:pt x="10352" y="0"/>
                    </a:lnTo>
                    <a:lnTo>
                      <a:pt x="10352" y="15857"/>
                    </a:lnTo>
                    <a:lnTo>
                      <a:pt x="0" y="15857"/>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46" name="Freeform: Shape 545">
                <a:extLst>
                  <a:ext uri="{FF2B5EF4-FFF2-40B4-BE49-F238E27FC236}">
                    <a16:creationId xmlns:a16="http://schemas.microsoft.com/office/drawing/2014/main" id="{0FCEC3B1-E7E3-406A-9E9A-55A297E68152}"/>
                  </a:ext>
                </a:extLst>
              </p:cNvPr>
              <p:cNvSpPr/>
              <p:nvPr/>
            </p:nvSpPr>
            <p:spPr>
              <a:xfrm>
                <a:off x="2671156" y="4857954"/>
                <a:ext cx="10352" cy="15841"/>
              </a:xfrm>
              <a:custGeom>
                <a:avLst/>
                <a:gdLst>
                  <a:gd name="connsiteX0" fmla="*/ 0 w 10352"/>
                  <a:gd name="connsiteY0" fmla="*/ 0 h 15841"/>
                  <a:gd name="connsiteX1" fmla="*/ 10352 w 10352"/>
                  <a:gd name="connsiteY1" fmla="*/ 0 h 15841"/>
                  <a:gd name="connsiteX2" fmla="*/ 10352 w 10352"/>
                  <a:gd name="connsiteY2" fmla="*/ 15841 h 15841"/>
                  <a:gd name="connsiteX3" fmla="*/ 0 w 10352"/>
                  <a:gd name="connsiteY3" fmla="*/ 15841 h 15841"/>
                </a:gdLst>
                <a:ahLst/>
                <a:cxnLst>
                  <a:cxn ang="0">
                    <a:pos x="connsiteX0" y="connsiteY0"/>
                  </a:cxn>
                  <a:cxn ang="0">
                    <a:pos x="connsiteX1" y="connsiteY1"/>
                  </a:cxn>
                  <a:cxn ang="0">
                    <a:pos x="connsiteX2" y="connsiteY2"/>
                  </a:cxn>
                  <a:cxn ang="0">
                    <a:pos x="connsiteX3" y="connsiteY3"/>
                  </a:cxn>
                </a:cxnLst>
                <a:rect l="l" t="t" r="r" b="b"/>
                <a:pathLst>
                  <a:path w="10352" h="15841">
                    <a:moveTo>
                      <a:pt x="0" y="0"/>
                    </a:moveTo>
                    <a:lnTo>
                      <a:pt x="10352" y="0"/>
                    </a:lnTo>
                    <a:lnTo>
                      <a:pt x="10352" y="15841"/>
                    </a:lnTo>
                    <a:lnTo>
                      <a:pt x="0" y="15841"/>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47" name="Freeform: Shape 546">
                <a:extLst>
                  <a:ext uri="{FF2B5EF4-FFF2-40B4-BE49-F238E27FC236}">
                    <a16:creationId xmlns:a16="http://schemas.microsoft.com/office/drawing/2014/main" id="{45F55756-C996-48E2-B6B8-AAD055F25C0E}"/>
                  </a:ext>
                </a:extLst>
              </p:cNvPr>
              <p:cNvSpPr/>
              <p:nvPr/>
            </p:nvSpPr>
            <p:spPr>
              <a:xfrm>
                <a:off x="2639314" y="4857954"/>
                <a:ext cx="10367" cy="15841"/>
              </a:xfrm>
              <a:custGeom>
                <a:avLst/>
                <a:gdLst>
                  <a:gd name="connsiteX0" fmla="*/ 0 w 10367"/>
                  <a:gd name="connsiteY0" fmla="*/ 0 h 15841"/>
                  <a:gd name="connsiteX1" fmla="*/ 10368 w 10367"/>
                  <a:gd name="connsiteY1" fmla="*/ 0 h 15841"/>
                  <a:gd name="connsiteX2" fmla="*/ 10368 w 10367"/>
                  <a:gd name="connsiteY2" fmla="*/ 15841 h 15841"/>
                  <a:gd name="connsiteX3" fmla="*/ 0 w 10367"/>
                  <a:gd name="connsiteY3" fmla="*/ 15841 h 15841"/>
                </a:gdLst>
                <a:ahLst/>
                <a:cxnLst>
                  <a:cxn ang="0">
                    <a:pos x="connsiteX0" y="connsiteY0"/>
                  </a:cxn>
                  <a:cxn ang="0">
                    <a:pos x="connsiteX1" y="connsiteY1"/>
                  </a:cxn>
                  <a:cxn ang="0">
                    <a:pos x="connsiteX2" y="connsiteY2"/>
                  </a:cxn>
                  <a:cxn ang="0">
                    <a:pos x="connsiteX3" y="connsiteY3"/>
                  </a:cxn>
                </a:cxnLst>
                <a:rect l="l" t="t" r="r" b="b"/>
                <a:pathLst>
                  <a:path w="10367" h="15841">
                    <a:moveTo>
                      <a:pt x="0" y="0"/>
                    </a:moveTo>
                    <a:lnTo>
                      <a:pt x="10368" y="0"/>
                    </a:lnTo>
                    <a:lnTo>
                      <a:pt x="10368" y="15841"/>
                    </a:lnTo>
                    <a:lnTo>
                      <a:pt x="0" y="15841"/>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48" name="Freeform: Shape 547">
                <a:extLst>
                  <a:ext uri="{FF2B5EF4-FFF2-40B4-BE49-F238E27FC236}">
                    <a16:creationId xmlns:a16="http://schemas.microsoft.com/office/drawing/2014/main" id="{BEC04F63-843B-4D92-815A-430E07B095EE}"/>
                  </a:ext>
                </a:extLst>
              </p:cNvPr>
              <p:cNvSpPr/>
              <p:nvPr/>
            </p:nvSpPr>
            <p:spPr>
              <a:xfrm>
                <a:off x="2639314" y="4826656"/>
                <a:ext cx="10367" cy="15856"/>
              </a:xfrm>
              <a:custGeom>
                <a:avLst/>
                <a:gdLst>
                  <a:gd name="connsiteX0" fmla="*/ 0 w 10367"/>
                  <a:gd name="connsiteY0" fmla="*/ 0 h 15856"/>
                  <a:gd name="connsiteX1" fmla="*/ 10368 w 10367"/>
                  <a:gd name="connsiteY1" fmla="*/ 0 h 15856"/>
                  <a:gd name="connsiteX2" fmla="*/ 10368 w 10367"/>
                  <a:gd name="connsiteY2" fmla="*/ 15857 h 15856"/>
                  <a:gd name="connsiteX3" fmla="*/ 0 w 10367"/>
                  <a:gd name="connsiteY3" fmla="*/ 15857 h 15856"/>
                </a:gdLst>
                <a:ahLst/>
                <a:cxnLst>
                  <a:cxn ang="0">
                    <a:pos x="connsiteX0" y="connsiteY0"/>
                  </a:cxn>
                  <a:cxn ang="0">
                    <a:pos x="connsiteX1" y="connsiteY1"/>
                  </a:cxn>
                  <a:cxn ang="0">
                    <a:pos x="connsiteX2" y="connsiteY2"/>
                  </a:cxn>
                  <a:cxn ang="0">
                    <a:pos x="connsiteX3" y="connsiteY3"/>
                  </a:cxn>
                </a:cxnLst>
                <a:rect l="l" t="t" r="r" b="b"/>
                <a:pathLst>
                  <a:path w="10367" h="15856">
                    <a:moveTo>
                      <a:pt x="0" y="0"/>
                    </a:moveTo>
                    <a:lnTo>
                      <a:pt x="10368" y="0"/>
                    </a:lnTo>
                    <a:lnTo>
                      <a:pt x="10368" y="15857"/>
                    </a:lnTo>
                    <a:lnTo>
                      <a:pt x="0" y="15857"/>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49" name="Freeform: Shape 548">
                <a:extLst>
                  <a:ext uri="{FF2B5EF4-FFF2-40B4-BE49-F238E27FC236}">
                    <a16:creationId xmlns:a16="http://schemas.microsoft.com/office/drawing/2014/main" id="{DE67AC73-89DB-4EEA-B4DC-33B82D0DE98A}"/>
                  </a:ext>
                </a:extLst>
              </p:cNvPr>
              <p:cNvSpPr/>
              <p:nvPr/>
            </p:nvSpPr>
            <p:spPr>
              <a:xfrm>
                <a:off x="2639314" y="4795379"/>
                <a:ext cx="10367" cy="15841"/>
              </a:xfrm>
              <a:custGeom>
                <a:avLst/>
                <a:gdLst>
                  <a:gd name="connsiteX0" fmla="*/ 0 w 10367"/>
                  <a:gd name="connsiteY0" fmla="*/ 0 h 15841"/>
                  <a:gd name="connsiteX1" fmla="*/ 10368 w 10367"/>
                  <a:gd name="connsiteY1" fmla="*/ 0 h 15841"/>
                  <a:gd name="connsiteX2" fmla="*/ 10368 w 10367"/>
                  <a:gd name="connsiteY2" fmla="*/ 15842 h 15841"/>
                  <a:gd name="connsiteX3" fmla="*/ 0 w 10367"/>
                  <a:gd name="connsiteY3" fmla="*/ 15842 h 15841"/>
                </a:gdLst>
                <a:ahLst/>
                <a:cxnLst>
                  <a:cxn ang="0">
                    <a:pos x="connsiteX0" y="connsiteY0"/>
                  </a:cxn>
                  <a:cxn ang="0">
                    <a:pos x="connsiteX1" y="connsiteY1"/>
                  </a:cxn>
                  <a:cxn ang="0">
                    <a:pos x="connsiteX2" y="connsiteY2"/>
                  </a:cxn>
                  <a:cxn ang="0">
                    <a:pos x="connsiteX3" y="connsiteY3"/>
                  </a:cxn>
                </a:cxnLst>
                <a:rect l="l" t="t" r="r" b="b"/>
                <a:pathLst>
                  <a:path w="10367" h="15841">
                    <a:moveTo>
                      <a:pt x="0" y="0"/>
                    </a:moveTo>
                    <a:lnTo>
                      <a:pt x="10368" y="0"/>
                    </a:lnTo>
                    <a:lnTo>
                      <a:pt x="10368" y="15842"/>
                    </a:lnTo>
                    <a:lnTo>
                      <a:pt x="0" y="15842"/>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50" name="Freeform: Shape 549">
                <a:extLst>
                  <a:ext uri="{FF2B5EF4-FFF2-40B4-BE49-F238E27FC236}">
                    <a16:creationId xmlns:a16="http://schemas.microsoft.com/office/drawing/2014/main" id="{7F41E68A-A678-4EE2-B76C-EF737024F050}"/>
                  </a:ext>
                </a:extLst>
              </p:cNvPr>
              <p:cNvSpPr/>
              <p:nvPr/>
            </p:nvSpPr>
            <p:spPr>
              <a:xfrm>
                <a:off x="2617839" y="4745354"/>
                <a:ext cx="176264" cy="154522"/>
              </a:xfrm>
              <a:custGeom>
                <a:avLst/>
                <a:gdLst>
                  <a:gd name="connsiteX0" fmla="*/ 176264 w 176264"/>
                  <a:gd name="connsiteY0" fmla="*/ 42580 h 154522"/>
                  <a:gd name="connsiteX1" fmla="*/ 176264 w 176264"/>
                  <a:gd name="connsiteY1" fmla="*/ 152566 h 154522"/>
                  <a:gd name="connsiteX2" fmla="*/ 174308 w 176264"/>
                  <a:gd name="connsiteY2" fmla="*/ 154523 h 154522"/>
                  <a:gd name="connsiteX3" fmla="*/ 1956 w 176264"/>
                  <a:gd name="connsiteY3" fmla="*/ 154523 h 154522"/>
                  <a:gd name="connsiteX4" fmla="*/ 0 w 176264"/>
                  <a:gd name="connsiteY4" fmla="*/ 152566 h 154522"/>
                  <a:gd name="connsiteX5" fmla="*/ 0 w 176264"/>
                  <a:gd name="connsiteY5" fmla="*/ 43884 h 154522"/>
                  <a:gd name="connsiteX6" fmla="*/ 560 w 176264"/>
                  <a:gd name="connsiteY6" fmla="*/ 42513 h 154522"/>
                  <a:gd name="connsiteX7" fmla="*/ 41162 w 176264"/>
                  <a:gd name="connsiteY7" fmla="*/ 606 h 154522"/>
                  <a:gd name="connsiteX8" fmla="*/ 41229 w 176264"/>
                  <a:gd name="connsiteY8" fmla="*/ 539 h 154522"/>
                  <a:gd name="connsiteX9" fmla="*/ 42364 w 176264"/>
                  <a:gd name="connsiteY9" fmla="*/ 15 h 154522"/>
                  <a:gd name="connsiteX10" fmla="*/ 42559 w 176264"/>
                  <a:gd name="connsiteY10" fmla="*/ 0 h 154522"/>
                  <a:gd name="connsiteX11" fmla="*/ 133690 w 176264"/>
                  <a:gd name="connsiteY11" fmla="*/ 0 h 154522"/>
                  <a:gd name="connsiteX12" fmla="*/ 135071 w 176264"/>
                  <a:gd name="connsiteY12" fmla="*/ 575 h 154522"/>
                  <a:gd name="connsiteX13" fmla="*/ 175689 w 176264"/>
                  <a:gd name="connsiteY13" fmla="*/ 41193 h 154522"/>
                  <a:gd name="connsiteX14" fmla="*/ 175935 w 176264"/>
                  <a:gd name="connsiteY14" fmla="*/ 41481 h 154522"/>
                  <a:gd name="connsiteX15" fmla="*/ 175987 w 176264"/>
                  <a:gd name="connsiteY15" fmla="*/ 41573 h 154522"/>
                  <a:gd name="connsiteX16" fmla="*/ 176115 w 176264"/>
                  <a:gd name="connsiteY16" fmla="*/ 41820 h 154522"/>
                  <a:gd name="connsiteX17" fmla="*/ 176156 w 176264"/>
                  <a:gd name="connsiteY17" fmla="*/ 41938 h 154522"/>
                  <a:gd name="connsiteX18" fmla="*/ 176223 w 176264"/>
                  <a:gd name="connsiteY18" fmla="*/ 42184 h 154522"/>
                  <a:gd name="connsiteX19" fmla="*/ 176264 w 176264"/>
                  <a:gd name="connsiteY19" fmla="*/ 42574 h 154522"/>
                  <a:gd name="connsiteX20" fmla="*/ 172351 w 176264"/>
                  <a:gd name="connsiteY20" fmla="*/ 150610 h 154522"/>
                  <a:gd name="connsiteX21" fmla="*/ 172351 w 176264"/>
                  <a:gd name="connsiteY21" fmla="*/ 44536 h 154522"/>
                  <a:gd name="connsiteX22" fmla="*/ 85144 w 176264"/>
                  <a:gd name="connsiteY22" fmla="*/ 44536 h 154522"/>
                  <a:gd name="connsiteX23" fmla="*/ 85144 w 176264"/>
                  <a:gd name="connsiteY23" fmla="*/ 150610 h 154522"/>
                  <a:gd name="connsiteX24" fmla="*/ 101545 w 176264"/>
                  <a:gd name="connsiteY24" fmla="*/ 150610 h 154522"/>
                  <a:gd name="connsiteX25" fmla="*/ 101545 w 176264"/>
                  <a:gd name="connsiteY25" fmla="*/ 96913 h 154522"/>
                  <a:gd name="connsiteX26" fmla="*/ 103501 w 176264"/>
                  <a:gd name="connsiteY26" fmla="*/ 94957 h 154522"/>
                  <a:gd name="connsiteX27" fmla="*/ 133140 w 176264"/>
                  <a:gd name="connsiteY27" fmla="*/ 94957 h 154522"/>
                  <a:gd name="connsiteX28" fmla="*/ 135097 w 176264"/>
                  <a:gd name="connsiteY28" fmla="*/ 96913 h 154522"/>
                  <a:gd name="connsiteX29" fmla="*/ 135097 w 176264"/>
                  <a:gd name="connsiteY29" fmla="*/ 150610 h 154522"/>
                  <a:gd name="connsiteX30" fmla="*/ 172351 w 176264"/>
                  <a:gd name="connsiteY30" fmla="*/ 150610 h 154522"/>
                  <a:gd name="connsiteX31" fmla="*/ 159755 w 176264"/>
                  <a:gd name="connsiteY31" fmla="*/ 40623 h 154522"/>
                  <a:gd name="connsiteX32" fmla="*/ 169589 w 176264"/>
                  <a:gd name="connsiteY32" fmla="*/ 40623 h 154522"/>
                  <a:gd name="connsiteX33" fmla="*/ 132884 w 176264"/>
                  <a:gd name="connsiteY33" fmla="*/ 3918 h 154522"/>
                  <a:gd name="connsiteX34" fmla="*/ 123050 w 176264"/>
                  <a:gd name="connsiteY34" fmla="*/ 3918 h 154522"/>
                  <a:gd name="connsiteX35" fmla="*/ 159755 w 176264"/>
                  <a:gd name="connsiteY35" fmla="*/ 40623 h 154522"/>
                  <a:gd name="connsiteX36" fmla="*/ 144930 w 176264"/>
                  <a:gd name="connsiteY36" fmla="*/ 40623 h 154522"/>
                  <a:gd name="connsiteX37" fmla="*/ 154214 w 176264"/>
                  <a:gd name="connsiteY37" fmla="*/ 40623 h 154522"/>
                  <a:gd name="connsiteX38" fmla="*/ 117509 w 176264"/>
                  <a:gd name="connsiteY38" fmla="*/ 3918 h 154522"/>
                  <a:gd name="connsiteX39" fmla="*/ 108225 w 176264"/>
                  <a:gd name="connsiteY39" fmla="*/ 3918 h 154522"/>
                  <a:gd name="connsiteX40" fmla="*/ 144930 w 176264"/>
                  <a:gd name="connsiteY40" fmla="*/ 40623 h 154522"/>
                  <a:gd name="connsiteX41" fmla="*/ 130116 w 176264"/>
                  <a:gd name="connsiteY41" fmla="*/ 40623 h 154522"/>
                  <a:gd name="connsiteX42" fmla="*/ 139400 w 176264"/>
                  <a:gd name="connsiteY42" fmla="*/ 40623 h 154522"/>
                  <a:gd name="connsiteX43" fmla="*/ 102695 w 176264"/>
                  <a:gd name="connsiteY43" fmla="*/ 3918 h 154522"/>
                  <a:gd name="connsiteX44" fmla="*/ 93411 w 176264"/>
                  <a:gd name="connsiteY44" fmla="*/ 3918 h 154522"/>
                  <a:gd name="connsiteX45" fmla="*/ 130116 w 176264"/>
                  <a:gd name="connsiteY45" fmla="*/ 40623 h 154522"/>
                  <a:gd name="connsiteX46" fmla="*/ 131184 w 176264"/>
                  <a:gd name="connsiteY46" fmla="*/ 150610 h 154522"/>
                  <a:gd name="connsiteX47" fmla="*/ 131184 w 176264"/>
                  <a:gd name="connsiteY47" fmla="*/ 98869 h 154522"/>
                  <a:gd name="connsiteX48" fmla="*/ 105457 w 176264"/>
                  <a:gd name="connsiteY48" fmla="*/ 98869 h 154522"/>
                  <a:gd name="connsiteX49" fmla="*/ 105457 w 176264"/>
                  <a:gd name="connsiteY49" fmla="*/ 150610 h 154522"/>
                  <a:gd name="connsiteX50" fmla="*/ 131184 w 176264"/>
                  <a:gd name="connsiteY50" fmla="*/ 150610 h 154522"/>
                  <a:gd name="connsiteX51" fmla="*/ 115291 w 176264"/>
                  <a:gd name="connsiteY51" fmla="*/ 40623 h 154522"/>
                  <a:gd name="connsiteX52" fmla="*/ 124575 w 176264"/>
                  <a:gd name="connsiteY52" fmla="*/ 40623 h 154522"/>
                  <a:gd name="connsiteX53" fmla="*/ 87870 w 176264"/>
                  <a:gd name="connsiteY53" fmla="*/ 3918 h 154522"/>
                  <a:gd name="connsiteX54" fmla="*/ 78586 w 176264"/>
                  <a:gd name="connsiteY54" fmla="*/ 3918 h 154522"/>
                  <a:gd name="connsiteX55" fmla="*/ 115291 w 176264"/>
                  <a:gd name="connsiteY55" fmla="*/ 40623 h 154522"/>
                  <a:gd name="connsiteX56" fmla="*/ 100466 w 176264"/>
                  <a:gd name="connsiteY56" fmla="*/ 40623 h 154522"/>
                  <a:gd name="connsiteX57" fmla="*/ 109766 w 176264"/>
                  <a:gd name="connsiteY57" fmla="*/ 40623 h 154522"/>
                  <a:gd name="connsiteX58" fmla="*/ 73061 w 176264"/>
                  <a:gd name="connsiteY58" fmla="*/ 3918 h 154522"/>
                  <a:gd name="connsiteX59" fmla="*/ 63761 w 176264"/>
                  <a:gd name="connsiteY59" fmla="*/ 3918 h 154522"/>
                  <a:gd name="connsiteX60" fmla="*/ 100466 w 176264"/>
                  <a:gd name="connsiteY60" fmla="*/ 40623 h 154522"/>
                  <a:gd name="connsiteX61" fmla="*/ 84009 w 176264"/>
                  <a:gd name="connsiteY61" fmla="*/ 40623 h 154522"/>
                  <a:gd name="connsiteX62" fmla="*/ 94936 w 176264"/>
                  <a:gd name="connsiteY62" fmla="*/ 40623 h 154522"/>
                  <a:gd name="connsiteX63" fmla="*/ 58231 w 176264"/>
                  <a:gd name="connsiteY63" fmla="*/ 3918 h 154522"/>
                  <a:gd name="connsiteX64" fmla="*/ 47293 w 176264"/>
                  <a:gd name="connsiteY64" fmla="*/ 3918 h 154522"/>
                  <a:gd name="connsiteX65" fmla="*/ 84014 w 176264"/>
                  <a:gd name="connsiteY65" fmla="*/ 40623 h 154522"/>
                  <a:gd name="connsiteX66" fmla="*/ 81231 w 176264"/>
                  <a:gd name="connsiteY66" fmla="*/ 150610 h 154522"/>
                  <a:gd name="connsiteX67" fmla="*/ 81231 w 176264"/>
                  <a:gd name="connsiteY67" fmla="*/ 43386 h 154522"/>
                  <a:gd name="connsiteX68" fmla="*/ 42595 w 176264"/>
                  <a:gd name="connsiteY68" fmla="*/ 4750 h 154522"/>
                  <a:gd name="connsiteX69" fmla="*/ 3908 w 176264"/>
                  <a:gd name="connsiteY69" fmla="*/ 44675 h 154522"/>
                  <a:gd name="connsiteX70" fmla="*/ 3908 w 176264"/>
                  <a:gd name="connsiteY70" fmla="*/ 150605 h 154522"/>
                  <a:gd name="connsiteX71" fmla="*/ 81231 w 176264"/>
                  <a:gd name="connsiteY71" fmla="*/ 150605 h 154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76264" h="154522">
                    <a:moveTo>
                      <a:pt x="176264" y="42580"/>
                    </a:moveTo>
                    <a:lnTo>
                      <a:pt x="176264" y="152566"/>
                    </a:lnTo>
                    <a:cubicBezTo>
                      <a:pt x="176264" y="153650"/>
                      <a:pt x="175391" y="154523"/>
                      <a:pt x="174308" y="154523"/>
                    </a:cubicBezTo>
                    <a:lnTo>
                      <a:pt x="1956" y="154523"/>
                    </a:lnTo>
                    <a:cubicBezTo>
                      <a:pt x="873" y="154523"/>
                      <a:pt x="0" y="153650"/>
                      <a:pt x="0" y="152566"/>
                    </a:cubicBezTo>
                    <a:lnTo>
                      <a:pt x="0" y="43884"/>
                    </a:lnTo>
                    <a:cubicBezTo>
                      <a:pt x="0" y="43375"/>
                      <a:pt x="195" y="42877"/>
                      <a:pt x="560" y="42513"/>
                    </a:cubicBezTo>
                    <a:lnTo>
                      <a:pt x="41162" y="606"/>
                    </a:lnTo>
                    <a:cubicBezTo>
                      <a:pt x="41188" y="580"/>
                      <a:pt x="41203" y="555"/>
                      <a:pt x="41229" y="539"/>
                    </a:cubicBezTo>
                    <a:cubicBezTo>
                      <a:pt x="41552" y="226"/>
                      <a:pt x="41958" y="56"/>
                      <a:pt x="42364" y="15"/>
                    </a:cubicBezTo>
                    <a:cubicBezTo>
                      <a:pt x="42441" y="0"/>
                      <a:pt x="42549" y="15"/>
                      <a:pt x="42559" y="0"/>
                    </a:cubicBezTo>
                    <a:lnTo>
                      <a:pt x="133690" y="0"/>
                    </a:lnTo>
                    <a:cubicBezTo>
                      <a:pt x="134214" y="0"/>
                      <a:pt x="134707" y="211"/>
                      <a:pt x="135071" y="575"/>
                    </a:cubicBezTo>
                    <a:lnTo>
                      <a:pt x="175689" y="41193"/>
                    </a:lnTo>
                    <a:cubicBezTo>
                      <a:pt x="175781" y="41285"/>
                      <a:pt x="175858" y="41378"/>
                      <a:pt x="175935" y="41481"/>
                    </a:cubicBezTo>
                    <a:cubicBezTo>
                      <a:pt x="175951" y="41506"/>
                      <a:pt x="175961" y="41547"/>
                      <a:pt x="175987" y="41573"/>
                    </a:cubicBezTo>
                    <a:cubicBezTo>
                      <a:pt x="176028" y="41650"/>
                      <a:pt x="176079" y="41727"/>
                      <a:pt x="176115" y="41820"/>
                    </a:cubicBezTo>
                    <a:cubicBezTo>
                      <a:pt x="176131" y="41861"/>
                      <a:pt x="176141" y="41897"/>
                      <a:pt x="176156" y="41938"/>
                    </a:cubicBezTo>
                    <a:cubicBezTo>
                      <a:pt x="176182" y="42015"/>
                      <a:pt x="176208" y="42107"/>
                      <a:pt x="176223" y="42184"/>
                    </a:cubicBezTo>
                    <a:cubicBezTo>
                      <a:pt x="176249" y="42312"/>
                      <a:pt x="176264" y="42446"/>
                      <a:pt x="176264" y="42574"/>
                    </a:cubicBezTo>
                    <a:close/>
                    <a:moveTo>
                      <a:pt x="172351" y="150610"/>
                    </a:moveTo>
                    <a:lnTo>
                      <a:pt x="172351" y="44536"/>
                    </a:lnTo>
                    <a:lnTo>
                      <a:pt x="85144" y="44536"/>
                    </a:lnTo>
                    <a:lnTo>
                      <a:pt x="85144" y="150610"/>
                    </a:lnTo>
                    <a:lnTo>
                      <a:pt x="101545" y="150610"/>
                    </a:lnTo>
                    <a:lnTo>
                      <a:pt x="101545" y="96913"/>
                    </a:lnTo>
                    <a:cubicBezTo>
                      <a:pt x="101545" y="95830"/>
                      <a:pt x="102418" y="94957"/>
                      <a:pt x="103501" y="94957"/>
                    </a:cubicBezTo>
                    <a:lnTo>
                      <a:pt x="133140" y="94957"/>
                    </a:lnTo>
                    <a:cubicBezTo>
                      <a:pt x="134224" y="94957"/>
                      <a:pt x="135097" y="95830"/>
                      <a:pt x="135097" y="96913"/>
                    </a:cubicBezTo>
                    <a:lnTo>
                      <a:pt x="135097" y="150610"/>
                    </a:lnTo>
                    <a:lnTo>
                      <a:pt x="172351" y="150610"/>
                    </a:lnTo>
                    <a:close/>
                    <a:moveTo>
                      <a:pt x="159755" y="40623"/>
                    </a:moveTo>
                    <a:lnTo>
                      <a:pt x="169589" y="40623"/>
                    </a:lnTo>
                    <a:lnTo>
                      <a:pt x="132884" y="3918"/>
                    </a:lnTo>
                    <a:lnTo>
                      <a:pt x="123050" y="3918"/>
                    </a:lnTo>
                    <a:lnTo>
                      <a:pt x="159755" y="40623"/>
                    </a:lnTo>
                    <a:close/>
                    <a:moveTo>
                      <a:pt x="144930" y="40623"/>
                    </a:moveTo>
                    <a:lnTo>
                      <a:pt x="154214" y="40623"/>
                    </a:lnTo>
                    <a:lnTo>
                      <a:pt x="117509" y="3918"/>
                    </a:lnTo>
                    <a:lnTo>
                      <a:pt x="108225" y="3918"/>
                    </a:lnTo>
                    <a:lnTo>
                      <a:pt x="144930" y="40623"/>
                    </a:lnTo>
                    <a:close/>
                    <a:moveTo>
                      <a:pt x="130116" y="40623"/>
                    </a:moveTo>
                    <a:lnTo>
                      <a:pt x="139400" y="40623"/>
                    </a:lnTo>
                    <a:lnTo>
                      <a:pt x="102695" y="3918"/>
                    </a:lnTo>
                    <a:lnTo>
                      <a:pt x="93411" y="3918"/>
                    </a:lnTo>
                    <a:lnTo>
                      <a:pt x="130116" y="40623"/>
                    </a:lnTo>
                    <a:close/>
                    <a:moveTo>
                      <a:pt x="131184" y="150610"/>
                    </a:moveTo>
                    <a:lnTo>
                      <a:pt x="131184" y="98869"/>
                    </a:lnTo>
                    <a:lnTo>
                      <a:pt x="105457" y="98869"/>
                    </a:lnTo>
                    <a:lnTo>
                      <a:pt x="105457" y="150610"/>
                    </a:lnTo>
                    <a:lnTo>
                      <a:pt x="131184" y="150610"/>
                    </a:lnTo>
                    <a:close/>
                    <a:moveTo>
                      <a:pt x="115291" y="40623"/>
                    </a:moveTo>
                    <a:lnTo>
                      <a:pt x="124575" y="40623"/>
                    </a:lnTo>
                    <a:lnTo>
                      <a:pt x="87870" y="3918"/>
                    </a:lnTo>
                    <a:lnTo>
                      <a:pt x="78586" y="3918"/>
                    </a:lnTo>
                    <a:lnTo>
                      <a:pt x="115291" y="40623"/>
                    </a:lnTo>
                    <a:close/>
                    <a:moveTo>
                      <a:pt x="100466" y="40623"/>
                    </a:moveTo>
                    <a:lnTo>
                      <a:pt x="109766" y="40623"/>
                    </a:lnTo>
                    <a:lnTo>
                      <a:pt x="73061" y="3918"/>
                    </a:lnTo>
                    <a:lnTo>
                      <a:pt x="63761" y="3918"/>
                    </a:lnTo>
                    <a:lnTo>
                      <a:pt x="100466" y="40623"/>
                    </a:lnTo>
                    <a:close/>
                    <a:moveTo>
                      <a:pt x="84009" y="40623"/>
                    </a:moveTo>
                    <a:lnTo>
                      <a:pt x="94936" y="40623"/>
                    </a:lnTo>
                    <a:lnTo>
                      <a:pt x="58231" y="3918"/>
                    </a:lnTo>
                    <a:lnTo>
                      <a:pt x="47293" y="3918"/>
                    </a:lnTo>
                    <a:lnTo>
                      <a:pt x="84014" y="40623"/>
                    </a:lnTo>
                    <a:close/>
                    <a:moveTo>
                      <a:pt x="81231" y="150610"/>
                    </a:moveTo>
                    <a:lnTo>
                      <a:pt x="81231" y="43386"/>
                    </a:lnTo>
                    <a:lnTo>
                      <a:pt x="42595" y="4750"/>
                    </a:lnTo>
                    <a:lnTo>
                      <a:pt x="3908" y="44675"/>
                    </a:lnTo>
                    <a:lnTo>
                      <a:pt x="3908" y="150605"/>
                    </a:lnTo>
                    <a:lnTo>
                      <a:pt x="81231" y="150605"/>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51" name="Freeform: Shape 550">
                <a:extLst>
                  <a:ext uri="{FF2B5EF4-FFF2-40B4-BE49-F238E27FC236}">
                    <a16:creationId xmlns:a16="http://schemas.microsoft.com/office/drawing/2014/main" id="{1F10C830-DADE-4BBD-8218-9FD8DD8573D0}"/>
                  </a:ext>
                </a:extLst>
              </p:cNvPr>
              <p:cNvSpPr/>
              <p:nvPr/>
            </p:nvSpPr>
            <p:spPr>
              <a:xfrm>
                <a:off x="2667243" y="4854041"/>
                <a:ext cx="18177" cy="23667"/>
              </a:xfrm>
              <a:custGeom>
                <a:avLst/>
                <a:gdLst>
                  <a:gd name="connsiteX0" fmla="*/ 18178 w 18177"/>
                  <a:gd name="connsiteY0" fmla="*/ 1956 h 23667"/>
                  <a:gd name="connsiteX1" fmla="*/ 18178 w 18177"/>
                  <a:gd name="connsiteY1" fmla="*/ 21711 h 23667"/>
                  <a:gd name="connsiteX2" fmla="*/ 16222 w 18177"/>
                  <a:gd name="connsiteY2" fmla="*/ 23667 h 23667"/>
                  <a:gd name="connsiteX3" fmla="*/ 1956 w 18177"/>
                  <a:gd name="connsiteY3" fmla="*/ 23667 h 23667"/>
                  <a:gd name="connsiteX4" fmla="*/ 0 w 18177"/>
                  <a:gd name="connsiteY4" fmla="*/ 21711 h 23667"/>
                  <a:gd name="connsiteX5" fmla="*/ 0 w 18177"/>
                  <a:gd name="connsiteY5" fmla="*/ 1956 h 23667"/>
                  <a:gd name="connsiteX6" fmla="*/ 1956 w 18177"/>
                  <a:gd name="connsiteY6" fmla="*/ 0 h 23667"/>
                  <a:gd name="connsiteX7" fmla="*/ 16222 w 18177"/>
                  <a:gd name="connsiteY7" fmla="*/ 0 h 23667"/>
                  <a:gd name="connsiteX8" fmla="*/ 18178 w 18177"/>
                  <a:gd name="connsiteY8" fmla="*/ 1956 h 23667"/>
                  <a:gd name="connsiteX9" fmla="*/ 14265 w 18177"/>
                  <a:gd name="connsiteY9" fmla="*/ 19754 h 23667"/>
                  <a:gd name="connsiteX10" fmla="*/ 14265 w 18177"/>
                  <a:gd name="connsiteY10" fmla="*/ 3913 h 23667"/>
                  <a:gd name="connsiteX11" fmla="*/ 3913 w 18177"/>
                  <a:gd name="connsiteY11" fmla="*/ 3913 h 23667"/>
                  <a:gd name="connsiteX12" fmla="*/ 3913 w 18177"/>
                  <a:gd name="connsiteY12" fmla="*/ 19754 h 23667"/>
                  <a:gd name="connsiteX13" fmla="*/ 14265 w 18177"/>
                  <a:gd name="connsiteY13" fmla="*/ 19754 h 23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77" h="23667">
                    <a:moveTo>
                      <a:pt x="18178" y="1956"/>
                    </a:moveTo>
                    <a:lnTo>
                      <a:pt x="18178" y="21711"/>
                    </a:lnTo>
                    <a:cubicBezTo>
                      <a:pt x="18178" y="22794"/>
                      <a:pt x="17305" y="23667"/>
                      <a:pt x="16222" y="23667"/>
                    </a:cubicBezTo>
                    <a:lnTo>
                      <a:pt x="1956" y="23667"/>
                    </a:lnTo>
                    <a:cubicBezTo>
                      <a:pt x="873" y="23667"/>
                      <a:pt x="0" y="22794"/>
                      <a:pt x="0" y="21711"/>
                    </a:cubicBezTo>
                    <a:lnTo>
                      <a:pt x="0" y="1956"/>
                    </a:lnTo>
                    <a:cubicBezTo>
                      <a:pt x="0" y="873"/>
                      <a:pt x="873" y="0"/>
                      <a:pt x="1956" y="0"/>
                    </a:cubicBezTo>
                    <a:lnTo>
                      <a:pt x="16222" y="0"/>
                    </a:lnTo>
                    <a:cubicBezTo>
                      <a:pt x="17305" y="0"/>
                      <a:pt x="18178" y="873"/>
                      <a:pt x="18178" y="1956"/>
                    </a:cubicBezTo>
                    <a:close/>
                    <a:moveTo>
                      <a:pt x="14265" y="19754"/>
                    </a:moveTo>
                    <a:lnTo>
                      <a:pt x="14265" y="3913"/>
                    </a:lnTo>
                    <a:lnTo>
                      <a:pt x="3913" y="3913"/>
                    </a:lnTo>
                    <a:lnTo>
                      <a:pt x="3913" y="19754"/>
                    </a:lnTo>
                    <a:lnTo>
                      <a:pt x="14265" y="19754"/>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52" name="Freeform: Shape 551">
                <a:extLst>
                  <a:ext uri="{FF2B5EF4-FFF2-40B4-BE49-F238E27FC236}">
                    <a16:creationId xmlns:a16="http://schemas.microsoft.com/office/drawing/2014/main" id="{D567C197-4C34-48FF-8DAE-83D796843E22}"/>
                  </a:ext>
                </a:extLst>
              </p:cNvPr>
              <p:cNvSpPr/>
              <p:nvPr/>
            </p:nvSpPr>
            <p:spPr>
              <a:xfrm>
                <a:off x="2667243" y="4822743"/>
                <a:ext cx="18177" cy="23682"/>
              </a:xfrm>
              <a:custGeom>
                <a:avLst/>
                <a:gdLst>
                  <a:gd name="connsiteX0" fmla="*/ 18178 w 18177"/>
                  <a:gd name="connsiteY0" fmla="*/ 1956 h 23682"/>
                  <a:gd name="connsiteX1" fmla="*/ 18178 w 18177"/>
                  <a:gd name="connsiteY1" fmla="*/ 21726 h 23682"/>
                  <a:gd name="connsiteX2" fmla="*/ 16222 w 18177"/>
                  <a:gd name="connsiteY2" fmla="*/ 23683 h 23682"/>
                  <a:gd name="connsiteX3" fmla="*/ 1956 w 18177"/>
                  <a:gd name="connsiteY3" fmla="*/ 23683 h 23682"/>
                  <a:gd name="connsiteX4" fmla="*/ 0 w 18177"/>
                  <a:gd name="connsiteY4" fmla="*/ 21726 h 23682"/>
                  <a:gd name="connsiteX5" fmla="*/ 0 w 18177"/>
                  <a:gd name="connsiteY5" fmla="*/ 1956 h 23682"/>
                  <a:gd name="connsiteX6" fmla="*/ 1956 w 18177"/>
                  <a:gd name="connsiteY6" fmla="*/ 0 h 23682"/>
                  <a:gd name="connsiteX7" fmla="*/ 16222 w 18177"/>
                  <a:gd name="connsiteY7" fmla="*/ 0 h 23682"/>
                  <a:gd name="connsiteX8" fmla="*/ 18178 w 18177"/>
                  <a:gd name="connsiteY8" fmla="*/ 1956 h 23682"/>
                  <a:gd name="connsiteX9" fmla="*/ 14265 w 18177"/>
                  <a:gd name="connsiteY9" fmla="*/ 19770 h 23682"/>
                  <a:gd name="connsiteX10" fmla="*/ 14265 w 18177"/>
                  <a:gd name="connsiteY10" fmla="*/ 3913 h 23682"/>
                  <a:gd name="connsiteX11" fmla="*/ 3913 w 18177"/>
                  <a:gd name="connsiteY11" fmla="*/ 3913 h 23682"/>
                  <a:gd name="connsiteX12" fmla="*/ 3913 w 18177"/>
                  <a:gd name="connsiteY12" fmla="*/ 19770 h 23682"/>
                  <a:gd name="connsiteX13" fmla="*/ 14265 w 18177"/>
                  <a:gd name="connsiteY13" fmla="*/ 19770 h 23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77" h="23682">
                    <a:moveTo>
                      <a:pt x="18178" y="1956"/>
                    </a:moveTo>
                    <a:lnTo>
                      <a:pt x="18178" y="21726"/>
                    </a:lnTo>
                    <a:cubicBezTo>
                      <a:pt x="18178" y="22794"/>
                      <a:pt x="17305" y="23683"/>
                      <a:pt x="16222" y="23683"/>
                    </a:cubicBezTo>
                    <a:lnTo>
                      <a:pt x="1956" y="23683"/>
                    </a:lnTo>
                    <a:cubicBezTo>
                      <a:pt x="873" y="23683"/>
                      <a:pt x="0" y="22794"/>
                      <a:pt x="0" y="21726"/>
                    </a:cubicBezTo>
                    <a:lnTo>
                      <a:pt x="0" y="1956"/>
                    </a:lnTo>
                    <a:cubicBezTo>
                      <a:pt x="0" y="873"/>
                      <a:pt x="873" y="0"/>
                      <a:pt x="1956" y="0"/>
                    </a:cubicBezTo>
                    <a:lnTo>
                      <a:pt x="16222" y="0"/>
                    </a:lnTo>
                    <a:cubicBezTo>
                      <a:pt x="17305" y="0"/>
                      <a:pt x="18178" y="873"/>
                      <a:pt x="18178" y="1956"/>
                    </a:cubicBezTo>
                    <a:close/>
                    <a:moveTo>
                      <a:pt x="14265" y="19770"/>
                    </a:moveTo>
                    <a:lnTo>
                      <a:pt x="14265" y="3913"/>
                    </a:lnTo>
                    <a:lnTo>
                      <a:pt x="3913" y="3913"/>
                    </a:lnTo>
                    <a:lnTo>
                      <a:pt x="3913" y="19770"/>
                    </a:lnTo>
                    <a:lnTo>
                      <a:pt x="14265" y="19770"/>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53" name="Freeform: Shape 552">
                <a:extLst>
                  <a:ext uri="{FF2B5EF4-FFF2-40B4-BE49-F238E27FC236}">
                    <a16:creationId xmlns:a16="http://schemas.microsoft.com/office/drawing/2014/main" id="{011120B6-F2A8-4F7F-AD92-0C8301364022}"/>
                  </a:ext>
                </a:extLst>
              </p:cNvPr>
              <p:cNvSpPr/>
              <p:nvPr/>
            </p:nvSpPr>
            <p:spPr>
              <a:xfrm>
                <a:off x="2667243" y="4791466"/>
                <a:ext cx="18177" cy="23667"/>
              </a:xfrm>
              <a:custGeom>
                <a:avLst/>
                <a:gdLst>
                  <a:gd name="connsiteX0" fmla="*/ 18178 w 18177"/>
                  <a:gd name="connsiteY0" fmla="*/ 1956 h 23667"/>
                  <a:gd name="connsiteX1" fmla="*/ 18178 w 18177"/>
                  <a:gd name="connsiteY1" fmla="*/ 21711 h 23667"/>
                  <a:gd name="connsiteX2" fmla="*/ 16222 w 18177"/>
                  <a:gd name="connsiteY2" fmla="*/ 23667 h 23667"/>
                  <a:gd name="connsiteX3" fmla="*/ 1956 w 18177"/>
                  <a:gd name="connsiteY3" fmla="*/ 23667 h 23667"/>
                  <a:gd name="connsiteX4" fmla="*/ 0 w 18177"/>
                  <a:gd name="connsiteY4" fmla="*/ 21711 h 23667"/>
                  <a:gd name="connsiteX5" fmla="*/ 0 w 18177"/>
                  <a:gd name="connsiteY5" fmla="*/ 1956 h 23667"/>
                  <a:gd name="connsiteX6" fmla="*/ 1956 w 18177"/>
                  <a:gd name="connsiteY6" fmla="*/ 0 h 23667"/>
                  <a:gd name="connsiteX7" fmla="*/ 16222 w 18177"/>
                  <a:gd name="connsiteY7" fmla="*/ 0 h 23667"/>
                  <a:gd name="connsiteX8" fmla="*/ 18178 w 18177"/>
                  <a:gd name="connsiteY8" fmla="*/ 1956 h 23667"/>
                  <a:gd name="connsiteX9" fmla="*/ 14265 w 18177"/>
                  <a:gd name="connsiteY9" fmla="*/ 19754 h 23667"/>
                  <a:gd name="connsiteX10" fmla="*/ 14265 w 18177"/>
                  <a:gd name="connsiteY10" fmla="*/ 3913 h 23667"/>
                  <a:gd name="connsiteX11" fmla="*/ 3913 w 18177"/>
                  <a:gd name="connsiteY11" fmla="*/ 3913 h 23667"/>
                  <a:gd name="connsiteX12" fmla="*/ 3913 w 18177"/>
                  <a:gd name="connsiteY12" fmla="*/ 19754 h 23667"/>
                  <a:gd name="connsiteX13" fmla="*/ 14265 w 18177"/>
                  <a:gd name="connsiteY13" fmla="*/ 19754 h 23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77" h="23667">
                    <a:moveTo>
                      <a:pt x="18178" y="1956"/>
                    </a:moveTo>
                    <a:lnTo>
                      <a:pt x="18178" y="21711"/>
                    </a:lnTo>
                    <a:cubicBezTo>
                      <a:pt x="18178" y="22794"/>
                      <a:pt x="17305" y="23667"/>
                      <a:pt x="16222" y="23667"/>
                    </a:cubicBezTo>
                    <a:lnTo>
                      <a:pt x="1956" y="23667"/>
                    </a:lnTo>
                    <a:cubicBezTo>
                      <a:pt x="873" y="23667"/>
                      <a:pt x="0" y="22794"/>
                      <a:pt x="0" y="21711"/>
                    </a:cubicBezTo>
                    <a:lnTo>
                      <a:pt x="0" y="1956"/>
                    </a:lnTo>
                    <a:cubicBezTo>
                      <a:pt x="0" y="873"/>
                      <a:pt x="873" y="0"/>
                      <a:pt x="1956" y="0"/>
                    </a:cubicBezTo>
                    <a:lnTo>
                      <a:pt x="16222" y="0"/>
                    </a:lnTo>
                    <a:cubicBezTo>
                      <a:pt x="17305" y="0"/>
                      <a:pt x="18178" y="873"/>
                      <a:pt x="18178" y="1956"/>
                    </a:cubicBezTo>
                    <a:close/>
                    <a:moveTo>
                      <a:pt x="14265" y="19754"/>
                    </a:moveTo>
                    <a:lnTo>
                      <a:pt x="14265" y="3913"/>
                    </a:lnTo>
                    <a:lnTo>
                      <a:pt x="3913" y="3913"/>
                    </a:lnTo>
                    <a:lnTo>
                      <a:pt x="3913" y="19754"/>
                    </a:lnTo>
                    <a:lnTo>
                      <a:pt x="14265" y="19754"/>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54" name="Freeform: Shape 553">
                <a:extLst>
                  <a:ext uri="{FF2B5EF4-FFF2-40B4-BE49-F238E27FC236}">
                    <a16:creationId xmlns:a16="http://schemas.microsoft.com/office/drawing/2014/main" id="{32373B6D-4FFD-4F74-807D-B57275BBB2AE}"/>
                  </a:ext>
                </a:extLst>
              </p:cNvPr>
              <p:cNvSpPr/>
              <p:nvPr/>
            </p:nvSpPr>
            <p:spPr>
              <a:xfrm>
                <a:off x="2635396" y="4854041"/>
                <a:ext cx="18193" cy="23667"/>
              </a:xfrm>
              <a:custGeom>
                <a:avLst/>
                <a:gdLst>
                  <a:gd name="connsiteX0" fmla="*/ 18193 w 18193"/>
                  <a:gd name="connsiteY0" fmla="*/ 1956 h 23667"/>
                  <a:gd name="connsiteX1" fmla="*/ 18193 w 18193"/>
                  <a:gd name="connsiteY1" fmla="*/ 21711 h 23667"/>
                  <a:gd name="connsiteX2" fmla="*/ 16237 w 18193"/>
                  <a:gd name="connsiteY2" fmla="*/ 23667 h 23667"/>
                  <a:gd name="connsiteX3" fmla="*/ 1956 w 18193"/>
                  <a:gd name="connsiteY3" fmla="*/ 23667 h 23667"/>
                  <a:gd name="connsiteX4" fmla="*/ 0 w 18193"/>
                  <a:gd name="connsiteY4" fmla="*/ 21711 h 23667"/>
                  <a:gd name="connsiteX5" fmla="*/ 0 w 18193"/>
                  <a:gd name="connsiteY5" fmla="*/ 1956 h 23667"/>
                  <a:gd name="connsiteX6" fmla="*/ 1956 w 18193"/>
                  <a:gd name="connsiteY6" fmla="*/ 0 h 23667"/>
                  <a:gd name="connsiteX7" fmla="*/ 16237 w 18193"/>
                  <a:gd name="connsiteY7" fmla="*/ 0 h 23667"/>
                  <a:gd name="connsiteX8" fmla="*/ 18193 w 18193"/>
                  <a:gd name="connsiteY8" fmla="*/ 1956 h 23667"/>
                  <a:gd name="connsiteX9" fmla="*/ 14280 w 18193"/>
                  <a:gd name="connsiteY9" fmla="*/ 19754 h 23667"/>
                  <a:gd name="connsiteX10" fmla="*/ 14280 w 18193"/>
                  <a:gd name="connsiteY10" fmla="*/ 3913 h 23667"/>
                  <a:gd name="connsiteX11" fmla="*/ 3913 w 18193"/>
                  <a:gd name="connsiteY11" fmla="*/ 3913 h 23667"/>
                  <a:gd name="connsiteX12" fmla="*/ 3913 w 18193"/>
                  <a:gd name="connsiteY12" fmla="*/ 19754 h 23667"/>
                  <a:gd name="connsiteX13" fmla="*/ 14280 w 18193"/>
                  <a:gd name="connsiteY13" fmla="*/ 19754 h 23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93" h="23667">
                    <a:moveTo>
                      <a:pt x="18193" y="1956"/>
                    </a:moveTo>
                    <a:lnTo>
                      <a:pt x="18193" y="21711"/>
                    </a:lnTo>
                    <a:cubicBezTo>
                      <a:pt x="18193" y="22794"/>
                      <a:pt x="17320" y="23667"/>
                      <a:pt x="16237" y="23667"/>
                    </a:cubicBezTo>
                    <a:lnTo>
                      <a:pt x="1956" y="23667"/>
                    </a:lnTo>
                    <a:cubicBezTo>
                      <a:pt x="873" y="23667"/>
                      <a:pt x="0" y="22794"/>
                      <a:pt x="0" y="21711"/>
                    </a:cubicBezTo>
                    <a:lnTo>
                      <a:pt x="0" y="1956"/>
                    </a:lnTo>
                    <a:cubicBezTo>
                      <a:pt x="0" y="873"/>
                      <a:pt x="873" y="0"/>
                      <a:pt x="1956" y="0"/>
                    </a:cubicBezTo>
                    <a:lnTo>
                      <a:pt x="16237" y="0"/>
                    </a:lnTo>
                    <a:cubicBezTo>
                      <a:pt x="17320" y="0"/>
                      <a:pt x="18193" y="873"/>
                      <a:pt x="18193" y="1956"/>
                    </a:cubicBezTo>
                    <a:close/>
                    <a:moveTo>
                      <a:pt x="14280" y="19754"/>
                    </a:moveTo>
                    <a:lnTo>
                      <a:pt x="14280" y="3913"/>
                    </a:lnTo>
                    <a:lnTo>
                      <a:pt x="3913" y="3913"/>
                    </a:lnTo>
                    <a:lnTo>
                      <a:pt x="3913" y="19754"/>
                    </a:lnTo>
                    <a:lnTo>
                      <a:pt x="14280" y="19754"/>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55" name="Freeform: Shape 554">
                <a:extLst>
                  <a:ext uri="{FF2B5EF4-FFF2-40B4-BE49-F238E27FC236}">
                    <a16:creationId xmlns:a16="http://schemas.microsoft.com/office/drawing/2014/main" id="{7704A894-62AB-4CE0-AC04-78DA89A5C6C5}"/>
                  </a:ext>
                </a:extLst>
              </p:cNvPr>
              <p:cNvSpPr/>
              <p:nvPr/>
            </p:nvSpPr>
            <p:spPr>
              <a:xfrm>
                <a:off x="2635396" y="4822743"/>
                <a:ext cx="18193" cy="23682"/>
              </a:xfrm>
              <a:custGeom>
                <a:avLst/>
                <a:gdLst>
                  <a:gd name="connsiteX0" fmla="*/ 18193 w 18193"/>
                  <a:gd name="connsiteY0" fmla="*/ 1956 h 23682"/>
                  <a:gd name="connsiteX1" fmla="*/ 18193 w 18193"/>
                  <a:gd name="connsiteY1" fmla="*/ 21726 h 23682"/>
                  <a:gd name="connsiteX2" fmla="*/ 16237 w 18193"/>
                  <a:gd name="connsiteY2" fmla="*/ 23683 h 23682"/>
                  <a:gd name="connsiteX3" fmla="*/ 1956 w 18193"/>
                  <a:gd name="connsiteY3" fmla="*/ 23683 h 23682"/>
                  <a:gd name="connsiteX4" fmla="*/ 0 w 18193"/>
                  <a:gd name="connsiteY4" fmla="*/ 21726 h 23682"/>
                  <a:gd name="connsiteX5" fmla="*/ 0 w 18193"/>
                  <a:gd name="connsiteY5" fmla="*/ 1956 h 23682"/>
                  <a:gd name="connsiteX6" fmla="*/ 1956 w 18193"/>
                  <a:gd name="connsiteY6" fmla="*/ 0 h 23682"/>
                  <a:gd name="connsiteX7" fmla="*/ 16237 w 18193"/>
                  <a:gd name="connsiteY7" fmla="*/ 0 h 23682"/>
                  <a:gd name="connsiteX8" fmla="*/ 18193 w 18193"/>
                  <a:gd name="connsiteY8" fmla="*/ 1956 h 23682"/>
                  <a:gd name="connsiteX9" fmla="*/ 14280 w 18193"/>
                  <a:gd name="connsiteY9" fmla="*/ 19770 h 23682"/>
                  <a:gd name="connsiteX10" fmla="*/ 14280 w 18193"/>
                  <a:gd name="connsiteY10" fmla="*/ 3913 h 23682"/>
                  <a:gd name="connsiteX11" fmla="*/ 3913 w 18193"/>
                  <a:gd name="connsiteY11" fmla="*/ 3913 h 23682"/>
                  <a:gd name="connsiteX12" fmla="*/ 3913 w 18193"/>
                  <a:gd name="connsiteY12" fmla="*/ 19770 h 23682"/>
                  <a:gd name="connsiteX13" fmla="*/ 14280 w 18193"/>
                  <a:gd name="connsiteY13" fmla="*/ 19770 h 23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93" h="23682">
                    <a:moveTo>
                      <a:pt x="18193" y="1956"/>
                    </a:moveTo>
                    <a:lnTo>
                      <a:pt x="18193" y="21726"/>
                    </a:lnTo>
                    <a:cubicBezTo>
                      <a:pt x="18193" y="22794"/>
                      <a:pt x="17320" y="23683"/>
                      <a:pt x="16237" y="23683"/>
                    </a:cubicBezTo>
                    <a:lnTo>
                      <a:pt x="1956" y="23683"/>
                    </a:lnTo>
                    <a:cubicBezTo>
                      <a:pt x="873" y="23683"/>
                      <a:pt x="0" y="22794"/>
                      <a:pt x="0" y="21726"/>
                    </a:cubicBezTo>
                    <a:lnTo>
                      <a:pt x="0" y="1956"/>
                    </a:lnTo>
                    <a:cubicBezTo>
                      <a:pt x="0" y="873"/>
                      <a:pt x="873" y="0"/>
                      <a:pt x="1956" y="0"/>
                    </a:cubicBezTo>
                    <a:lnTo>
                      <a:pt x="16237" y="0"/>
                    </a:lnTo>
                    <a:cubicBezTo>
                      <a:pt x="17320" y="0"/>
                      <a:pt x="18193" y="873"/>
                      <a:pt x="18193" y="1956"/>
                    </a:cubicBezTo>
                    <a:close/>
                    <a:moveTo>
                      <a:pt x="14280" y="19770"/>
                    </a:moveTo>
                    <a:lnTo>
                      <a:pt x="14280" y="3913"/>
                    </a:lnTo>
                    <a:lnTo>
                      <a:pt x="3913" y="3913"/>
                    </a:lnTo>
                    <a:lnTo>
                      <a:pt x="3913" y="19770"/>
                    </a:lnTo>
                    <a:lnTo>
                      <a:pt x="14280" y="19770"/>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sp>
            <p:nvSpPr>
              <p:cNvPr id="556" name="Freeform: Shape 555">
                <a:extLst>
                  <a:ext uri="{FF2B5EF4-FFF2-40B4-BE49-F238E27FC236}">
                    <a16:creationId xmlns:a16="http://schemas.microsoft.com/office/drawing/2014/main" id="{9B3B8C8D-0C14-4285-B465-6CBA0C080B23}"/>
                  </a:ext>
                </a:extLst>
              </p:cNvPr>
              <p:cNvSpPr/>
              <p:nvPr/>
            </p:nvSpPr>
            <p:spPr>
              <a:xfrm>
                <a:off x="2635396" y="4791466"/>
                <a:ext cx="18193" cy="23667"/>
              </a:xfrm>
              <a:custGeom>
                <a:avLst/>
                <a:gdLst>
                  <a:gd name="connsiteX0" fmla="*/ 18193 w 18193"/>
                  <a:gd name="connsiteY0" fmla="*/ 1956 h 23667"/>
                  <a:gd name="connsiteX1" fmla="*/ 18193 w 18193"/>
                  <a:gd name="connsiteY1" fmla="*/ 21711 h 23667"/>
                  <a:gd name="connsiteX2" fmla="*/ 16237 w 18193"/>
                  <a:gd name="connsiteY2" fmla="*/ 23667 h 23667"/>
                  <a:gd name="connsiteX3" fmla="*/ 1956 w 18193"/>
                  <a:gd name="connsiteY3" fmla="*/ 23667 h 23667"/>
                  <a:gd name="connsiteX4" fmla="*/ 0 w 18193"/>
                  <a:gd name="connsiteY4" fmla="*/ 21711 h 23667"/>
                  <a:gd name="connsiteX5" fmla="*/ 0 w 18193"/>
                  <a:gd name="connsiteY5" fmla="*/ 1956 h 23667"/>
                  <a:gd name="connsiteX6" fmla="*/ 1956 w 18193"/>
                  <a:gd name="connsiteY6" fmla="*/ 0 h 23667"/>
                  <a:gd name="connsiteX7" fmla="*/ 16237 w 18193"/>
                  <a:gd name="connsiteY7" fmla="*/ 0 h 23667"/>
                  <a:gd name="connsiteX8" fmla="*/ 18193 w 18193"/>
                  <a:gd name="connsiteY8" fmla="*/ 1956 h 23667"/>
                  <a:gd name="connsiteX9" fmla="*/ 14280 w 18193"/>
                  <a:gd name="connsiteY9" fmla="*/ 19754 h 23667"/>
                  <a:gd name="connsiteX10" fmla="*/ 14280 w 18193"/>
                  <a:gd name="connsiteY10" fmla="*/ 3913 h 23667"/>
                  <a:gd name="connsiteX11" fmla="*/ 3913 w 18193"/>
                  <a:gd name="connsiteY11" fmla="*/ 3913 h 23667"/>
                  <a:gd name="connsiteX12" fmla="*/ 3913 w 18193"/>
                  <a:gd name="connsiteY12" fmla="*/ 19754 h 23667"/>
                  <a:gd name="connsiteX13" fmla="*/ 14280 w 18193"/>
                  <a:gd name="connsiteY13" fmla="*/ 19754 h 23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93" h="23667">
                    <a:moveTo>
                      <a:pt x="18193" y="1956"/>
                    </a:moveTo>
                    <a:lnTo>
                      <a:pt x="18193" y="21711"/>
                    </a:lnTo>
                    <a:cubicBezTo>
                      <a:pt x="18193" y="22794"/>
                      <a:pt x="17320" y="23667"/>
                      <a:pt x="16237" y="23667"/>
                    </a:cubicBezTo>
                    <a:lnTo>
                      <a:pt x="1956" y="23667"/>
                    </a:lnTo>
                    <a:cubicBezTo>
                      <a:pt x="873" y="23667"/>
                      <a:pt x="0" y="22794"/>
                      <a:pt x="0" y="21711"/>
                    </a:cubicBezTo>
                    <a:lnTo>
                      <a:pt x="0" y="1956"/>
                    </a:lnTo>
                    <a:cubicBezTo>
                      <a:pt x="0" y="873"/>
                      <a:pt x="873" y="0"/>
                      <a:pt x="1956" y="0"/>
                    </a:cubicBezTo>
                    <a:lnTo>
                      <a:pt x="16237" y="0"/>
                    </a:lnTo>
                    <a:cubicBezTo>
                      <a:pt x="17320" y="0"/>
                      <a:pt x="18193" y="873"/>
                      <a:pt x="18193" y="1956"/>
                    </a:cubicBezTo>
                    <a:close/>
                    <a:moveTo>
                      <a:pt x="14280" y="19754"/>
                    </a:moveTo>
                    <a:lnTo>
                      <a:pt x="14280" y="3913"/>
                    </a:lnTo>
                    <a:lnTo>
                      <a:pt x="3913" y="3913"/>
                    </a:lnTo>
                    <a:lnTo>
                      <a:pt x="3913" y="19754"/>
                    </a:lnTo>
                    <a:lnTo>
                      <a:pt x="14280" y="19754"/>
                    </a:lnTo>
                    <a:close/>
                  </a:path>
                </a:pathLst>
              </a:custGeom>
              <a:solidFill>
                <a:srgbClr val="008172"/>
              </a:solidFill>
              <a:ln w="512" cap="flat" cmpd="sng" algn="ctr">
                <a:noFill/>
                <a:prstDash val="solid"/>
                <a:miter lim="800000"/>
                <a:headEnd type="none" w="med" len="med"/>
                <a:tailEnd type="none" w="med" len="med"/>
              </a:ln>
            </p:spPr>
            <p:txBody>
              <a:bodyPr rtlCol="0" anchor="ctr"/>
              <a:lstStyle/>
              <a:p>
                <a:endParaRPr lang="en-US"/>
              </a:p>
            </p:txBody>
          </p:sp>
          <p:grpSp>
            <p:nvGrpSpPr>
              <p:cNvPr id="557" name="Graphic 6">
                <a:extLst>
                  <a:ext uri="{FF2B5EF4-FFF2-40B4-BE49-F238E27FC236}">
                    <a16:creationId xmlns:a16="http://schemas.microsoft.com/office/drawing/2014/main" id="{F0BE2EE6-EAEF-4359-A848-7201E55F07FA}"/>
                  </a:ext>
                </a:extLst>
              </p:cNvPr>
              <p:cNvGrpSpPr/>
              <p:nvPr/>
            </p:nvGrpSpPr>
            <p:grpSpPr>
              <a:xfrm>
                <a:off x="2771581" y="4854041"/>
                <a:ext cx="57933" cy="45470"/>
                <a:chOff x="2771621" y="4854133"/>
                <a:chExt cx="57933" cy="45470"/>
              </a:xfrm>
            </p:grpSpPr>
            <p:sp>
              <p:nvSpPr>
                <p:cNvPr id="566" name="Freeform: Shape 565">
                  <a:extLst>
                    <a:ext uri="{FF2B5EF4-FFF2-40B4-BE49-F238E27FC236}">
                      <a16:creationId xmlns:a16="http://schemas.microsoft.com/office/drawing/2014/main" id="{459796C9-DAD6-4B11-AF19-78D4330F9977}"/>
                    </a:ext>
                  </a:extLst>
                </p:cNvPr>
                <p:cNvSpPr/>
                <p:nvPr/>
              </p:nvSpPr>
              <p:spPr>
                <a:xfrm>
                  <a:off x="2775534" y="4858046"/>
                  <a:ext cx="50112" cy="37629"/>
                </a:xfrm>
                <a:custGeom>
                  <a:avLst/>
                  <a:gdLst>
                    <a:gd name="connsiteX0" fmla="*/ 50112 w 50112"/>
                    <a:gd name="connsiteY0" fmla="*/ 25049 h 37629"/>
                    <a:gd name="connsiteX1" fmla="*/ 46734 w 50112"/>
                    <a:gd name="connsiteY1" fmla="*/ 37629 h 37629"/>
                    <a:gd name="connsiteX2" fmla="*/ 3220 w 50112"/>
                    <a:gd name="connsiteY2" fmla="*/ 37331 h 37629"/>
                    <a:gd name="connsiteX3" fmla="*/ 0 w 50112"/>
                    <a:gd name="connsiteY3" fmla="*/ 25049 h 37629"/>
                    <a:gd name="connsiteX4" fmla="*/ 25064 w 50112"/>
                    <a:gd name="connsiteY4" fmla="*/ 0 h 37629"/>
                    <a:gd name="connsiteX5" fmla="*/ 50112 w 50112"/>
                    <a:gd name="connsiteY5" fmla="*/ 25049 h 3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112" h="37629">
                      <a:moveTo>
                        <a:pt x="50112" y="25049"/>
                      </a:moveTo>
                      <a:cubicBezTo>
                        <a:pt x="50112" y="29495"/>
                        <a:pt x="48952" y="33824"/>
                        <a:pt x="46734" y="37629"/>
                      </a:cubicBezTo>
                      <a:lnTo>
                        <a:pt x="3220" y="37331"/>
                      </a:lnTo>
                      <a:cubicBezTo>
                        <a:pt x="1109" y="33603"/>
                        <a:pt x="0" y="29377"/>
                        <a:pt x="0" y="25049"/>
                      </a:cubicBezTo>
                      <a:cubicBezTo>
                        <a:pt x="0" y="11241"/>
                        <a:pt x="11240" y="0"/>
                        <a:pt x="25064" y="0"/>
                      </a:cubicBezTo>
                      <a:cubicBezTo>
                        <a:pt x="38887" y="0"/>
                        <a:pt x="50112" y="11241"/>
                        <a:pt x="50112" y="25049"/>
                      </a:cubicBez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67" name="Freeform: Shape 566">
                  <a:extLst>
                    <a:ext uri="{FF2B5EF4-FFF2-40B4-BE49-F238E27FC236}">
                      <a16:creationId xmlns:a16="http://schemas.microsoft.com/office/drawing/2014/main" id="{AB68D619-61D2-41C4-A7FB-A616585F2995}"/>
                    </a:ext>
                  </a:extLst>
                </p:cNvPr>
                <p:cNvSpPr/>
                <p:nvPr/>
              </p:nvSpPr>
              <p:spPr>
                <a:xfrm>
                  <a:off x="2771621" y="4854133"/>
                  <a:ext cx="57933" cy="45470"/>
                </a:xfrm>
                <a:custGeom>
                  <a:avLst/>
                  <a:gdLst>
                    <a:gd name="connsiteX0" fmla="*/ 28977 w 57933"/>
                    <a:gd name="connsiteY0" fmla="*/ 3913 h 45470"/>
                    <a:gd name="connsiteX1" fmla="*/ 3913 w 57933"/>
                    <a:gd name="connsiteY1" fmla="*/ 28961 h 45470"/>
                    <a:gd name="connsiteX2" fmla="*/ 7133 w 57933"/>
                    <a:gd name="connsiteY2" fmla="*/ 41244 h 45470"/>
                    <a:gd name="connsiteX3" fmla="*/ 50647 w 57933"/>
                    <a:gd name="connsiteY3" fmla="*/ 41542 h 45470"/>
                    <a:gd name="connsiteX4" fmla="*/ 54025 w 57933"/>
                    <a:gd name="connsiteY4" fmla="*/ 28961 h 45470"/>
                    <a:gd name="connsiteX5" fmla="*/ 28977 w 57933"/>
                    <a:gd name="connsiteY5" fmla="*/ 3913 h 45470"/>
                    <a:gd name="connsiteX6" fmla="*/ 4344 w 57933"/>
                    <a:gd name="connsiteY6" fmla="*/ 44233 h 45470"/>
                    <a:gd name="connsiteX7" fmla="*/ 0 w 57933"/>
                    <a:gd name="connsiteY7" fmla="*/ 28961 h 45470"/>
                    <a:gd name="connsiteX8" fmla="*/ 28972 w 57933"/>
                    <a:gd name="connsiteY8" fmla="*/ 0 h 45470"/>
                    <a:gd name="connsiteX9" fmla="*/ 57933 w 57933"/>
                    <a:gd name="connsiteY9" fmla="*/ 28961 h 45470"/>
                    <a:gd name="connsiteX10" fmla="*/ 53383 w 57933"/>
                    <a:gd name="connsiteY10" fmla="*/ 44572 h 45470"/>
                    <a:gd name="connsiteX11" fmla="*/ 51740 w 57933"/>
                    <a:gd name="connsiteY11" fmla="*/ 45470 h 45470"/>
                    <a:gd name="connsiteX12" fmla="*/ 5998 w 57933"/>
                    <a:gd name="connsiteY12" fmla="*/ 45157 h 45470"/>
                    <a:gd name="connsiteX13" fmla="*/ 4344 w 57933"/>
                    <a:gd name="connsiteY13" fmla="*/ 44233 h 45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933" h="45470">
                      <a:moveTo>
                        <a:pt x="28977" y="3913"/>
                      </a:moveTo>
                      <a:cubicBezTo>
                        <a:pt x="15153" y="3913"/>
                        <a:pt x="3913" y="15153"/>
                        <a:pt x="3913" y="28961"/>
                      </a:cubicBezTo>
                      <a:cubicBezTo>
                        <a:pt x="3913" y="33290"/>
                        <a:pt x="5022" y="37516"/>
                        <a:pt x="7133" y="41244"/>
                      </a:cubicBezTo>
                      <a:lnTo>
                        <a:pt x="50647" y="41542"/>
                      </a:lnTo>
                      <a:cubicBezTo>
                        <a:pt x="52865" y="37737"/>
                        <a:pt x="54025" y="33403"/>
                        <a:pt x="54025" y="28961"/>
                      </a:cubicBezTo>
                      <a:cubicBezTo>
                        <a:pt x="54025" y="15153"/>
                        <a:pt x="42785" y="3913"/>
                        <a:pt x="28977" y="3913"/>
                      </a:cubicBezTo>
                      <a:close/>
                      <a:moveTo>
                        <a:pt x="4344" y="44233"/>
                      </a:moveTo>
                      <a:cubicBezTo>
                        <a:pt x="1500" y="39658"/>
                        <a:pt x="0" y="34374"/>
                        <a:pt x="0" y="28961"/>
                      </a:cubicBezTo>
                      <a:cubicBezTo>
                        <a:pt x="0" y="12986"/>
                        <a:pt x="13002" y="0"/>
                        <a:pt x="28972" y="0"/>
                      </a:cubicBezTo>
                      <a:cubicBezTo>
                        <a:pt x="44942" y="0"/>
                        <a:pt x="57933" y="12986"/>
                        <a:pt x="57933" y="28961"/>
                      </a:cubicBezTo>
                      <a:cubicBezTo>
                        <a:pt x="57933" y="34518"/>
                        <a:pt x="56367" y="39914"/>
                        <a:pt x="53383" y="44572"/>
                      </a:cubicBezTo>
                      <a:cubicBezTo>
                        <a:pt x="53019" y="45132"/>
                        <a:pt x="52408" y="45470"/>
                        <a:pt x="51740" y="45470"/>
                      </a:cubicBezTo>
                      <a:cubicBezTo>
                        <a:pt x="51715" y="45470"/>
                        <a:pt x="5998" y="45157"/>
                        <a:pt x="5998" y="45157"/>
                      </a:cubicBezTo>
                      <a:cubicBezTo>
                        <a:pt x="5320" y="45142"/>
                        <a:pt x="4693" y="44803"/>
                        <a:pt x="4344" y="44233"/>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558" name="Graphic 6">
                <a:extLst>
                  <a:ext uri="{FF2B5EF4-FFF2-40B4-BE49-F238E27FC236}">
                    <a16:creationId xmlns:a16="http://schemas.microsoft.com/office/drawing/2014/main" id="{52EED289-5AC6-4CAF-A296-167B4C41CE91}"/>
                  </a:ext>
                </a:extLst>
              </p:cNvPr>
              <p:cNvGrpSpPr/>
              <p:nvPr/>
            </p:nvGrpSpPr>
            <p:grpSpPr>
              <a:xfrm>
                <a:off x="2688312" y="4706723"/>
                <a:ext cx="53321" cy="41922"/>
                <a:chOff x="2688352" y="4706815"/>
                <a:chExt cx="53321" cy="41922"/>
              </a:xfrm>
            </p:grpSpPr>
            <p:sp>
              <p:nvSpPr>
                <p:cNvPr id="564" name="Freeform: Shape 563">
                  <a:extLst>
                    <a:ext uri="{FF2B5EF4-FFF2-40B4-BE49-F238E27FC236}">
                      <a16:creationId xmlns:a16="http://schemas.microsoft.com/office/drawing/2014/main" id="{F4721A85-27DF-4FB4-9517-CC3BE97E4561}"/>
                    </a:ext>
                  </a:extLst>
                </p:cNvPr>
                <p:cNvSpPr/>
                <p:nvPr/>
              </p:nvSpPr>
              <p:spPr>
                <a:xfrm>
                  <a:off x="2688352" y="4706815"/>
                  <a:ext cx="53321" cy="41922"/>
                </a:xfrm>
                <a:custGeom>
                  <a:avLst/>
                  <a:gdLst>
                    <a:gd name="connsiteX0" fmla="*/ 53322 w 53321"/>
                    <a:gd name="connsiteY0" fmla="*/ 26666 h 41922"/>
                    <a:gd name="connsiteX1" fmla="*/ 49121 w 53321"/>
                    <a:gd name="connsiteY1" fmla="*/ 41024 h 41922"/>
                    <a:gd name="connsiteX2" fmla="*/ 47478 w 53321"/>
                    <a:gd name="connsiteY2" fmla="*/ 41922 h 41922"/>
                    <a:gd name="connsiteX3" fmla="*/ 5649 w 53321"/>
                    <a:gd name="connsiteY3" fmla="*/ 41635 h 41922"/>
                    <a:gd name="connsiteX4" fmla="*/ 4005 w 53321"/>
                    <a:gd name="connsiteY4" fmla="*/ 40710 h 41922"/>
                    <a:gd name="connsiteX5" fmla="*/ 0 w 53321"/>
                    <a:gd name="connsiteY5" fmla="*/ 26666 h 41922"/>
                    <a:gd name="connsiteX6" fmla="*/ 26666 w 53321"/>
                    <a:gd name="connsiteY6" fmla="*/ 0 h 41922"/>
                    <a:gd name="connsiteX7" fmla="*/ 53317 w 53321"/>
                    <a:gd name="connsiteY7" fmla="*/ 26666 h 41922"/>
                    <a:gd name="connsiteX8" fmla="*/ 46385 w 53321"/>
                    <a:gd name="connsiteY8" fmla="*/ 38009 h 41922"/>
                    <a:gd name="connsiteX9" fmla="*/ 49409 w 53321"/>
                    <a:gd name="connsiteY9" fmla="*/ 26666 h 41922"/>
                    <a:gd name="connsiteX10" fmla="*/ 26666 w 53321"/>
                    <a:gd name="connsiteY10" fmla="*/ 3913 h 41922"/>
                    <a:gd name="connsiteX11" fmla="*/ 3913 w 53321"/>
                    <a:gd name="connsiteY11" fmla="*/ 26666 h 41922"/>
                    <a:gd name="connsiteX12" fmla="*/ 6783 w 53321"/>
                    <a:gd name="connsiteY12" fmla="*/ 37737 h 41922"/>
                    <a:gd name="connsiteX13" fmla="*/ 46385 w 53321"/>
                    <a:gd name="connsiteY13" fmla="*/ 38009 h 4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321" h="41922">
                      <a:moveTo>
                        <a:pt x="53322" y="26666"/>
                      </a:moveTo>
                      <a:cubicBezTo>
                        <a:pt x="53322" y="31775"/>
                        <a:pt x="51874" y="36746"/>
                        <a:pt x="49121" y="41024"/>
                      </a:cubicBezTo>
                      <a:cubicBezTo>
                        <a:pt x="48767" y="41583"/>
                        <a:pt x="48146" y="41922"/>
                        <a:pt x="47478" y="41922"/>
                      </a:cubicBezTo>
                      <a:cubicBezTo>
                        <a:pt x="47463" y="41922"/>
                        <a:pt x="5649" y="41635"/>
                        <a:pt x="5649" y="41635"/>
                      </a:cubicBezTo>
                      <a:cubicBezTo>
                        <a:pt x="4981" y="41635"/>
                        <a:pt x="4360" y="41280"/>
                        <a:pt x="4005" y="40710"/>
                      </a:cubicBezTo>
                      <a:cubicBezTo>
                        <a:pt x="1386" y="36500"/>
                        <a:pt x="0" y="31647"/>
                        <a:pt x="0" y="26666"/>
                      </a:cubicBezTo>
                      <a:cubicBezTo>
                        <a:pt x="0" y="11959"/>
                        <a:pt x="11959" y="0"/>
                        <a:pt x="26666" y="0"/>
                      </a:cubicBezTo>
                      <a:cubicBezTo>
                        <a:pt x="41373" y="0"/>
                        <a:pt x="53317" y="11959"/>
                        <a:pt x="53317" y="26666"/>
                      </a:cubicBezTo>
                      <a:close/>
                      <a:moveTo>
                        <a:pt x="46385" y="38009"/>
                      </a:moveTo>
                      <a:cubicBezTo>
                        <a:pt x="48367" y="34569"/>
                        <a:pt x="49409" y="30666"/>
                        <a:pt x="49409" y="26666"/>
                      </a:cubicBezTo>
                      <a:cubicBezTo>
                        <a:pt x="49409" y="14121"/>
                        <a:pt x="39211" y="3913"/>
                        <a:pt x="26666" y="3913"/>
                      </a:cubicBezTo>
                      <a:cubicBezTo>
                        <a:pt x="14121" y="3913"/>
                        <a:pt x="3913" y="14121"/>
                        <a:pt x="3913" y="26666"/>
                      </a:cubicBezTo>
                      <a:cubicBezTo>
                        <a:pt x="3913" y="30553"/>
                        <a:pt x="4904" y="34358"/>
                        <a:pt x="6783" y="37737"/>
                      </a:cubicBezTo>
                      <a:lnTo>
                        <a:pt x="46385" y="38009"/>
                      </a:ln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65" name="Freeform: Shape 564">
                  <a:extLst>
                    <a:ext uri="{FF2B5EF4-FFF2-40B4-BE49-F238E27FC236}">
                      <a16:creationId xmlns:a16="http://schemas.microsoft.com/office/drawing/2014/main" id="{09967904-7F12-4033-A9AB-D1329B0F78AF}"/>
                    </a:ext>
                  </a:extLst>
                </p:cNvPr>
                <p:cNvSpPr/>
                <p:nvPr/>
              </p:nvSpPr>
              <p:spPr>
                <a:xfrm>
                  <a:off x="2692265" y="4710728"/>
                  <a:ext cx="45496" cy="34096"/>
                </a:xfrm>
                <a:custGeom>
                  <a:avLst/>
                  <a:gdLst>
                    <a:gd name="connsiteX0" fmla="*/ 45496 w 45496"/>
                    <a:gd name="connsiteY0" fmla="*/ 22753 h 34096"/>
                    <a:gd name="connsiteX1" fmla="*/ 42472 w 45496"/>
                    <a:gd name="connsiteY1" fmla="*/ 34096 h 34096"/>
                    <a:gd name="connsiteX2" fmla="*/ 2871 w 45496"/>
                    <a:gd name="connsiteY2" fmla="*/ 33824 h 34096"/>
                    <a:gd name="connsiteX3" fmla="*/ 0 w 45496"/>
                    <a:gd name="connsiteY3" fmla="*/ 22753 h 34096"/>
                    <a:gd name="connsiteX4" fmla="*/ 22753 w 45496"/>
                    <a:gd name="connsiteY4" fmla="*/ 0 h 34096"/>
                    <a:gd name="connsiteX5" fmla="*/ 45496 w 45496"/>
                    <a:gd name="connsiteY5" fmla="*/ 22753 h 3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96" h="34096">
                      <a:moveTo>
                        <a:pt x="45496" y="22753"/>
                      </a:moveTo>
                      <a:cubicBezTo>
                        <a:pt x="45496" y="26759"/>
                        <a:pt x="44454" y="30656"/>
                        <a:pt x="42472" y="34096"/>
                      </a:cubicBezTo>
                      <a:lnTo>
                        <a:pt x="2871" y="33824"/>
                      </a:lnTo>
                      <a:cubicBezTo>
                        <a:pt x="991" y="30445"/>
                        <a:pt x="0" y="26640"/>
                        <a:pt x="0" y="22753"/>
                      </a:cubicBezTo>
                      <a:cubicBezTo>
                        <a:pt x="0" y="10208"/>
                        <a:pt x="10208" y="0"/>
                        <a:pt x="22753" y="0"/>
                      </a:cubicBezTo>
                      <a:cubicBezTo>
                        <a:pt x="35298" y="0"/>
                        <a:pt x="45496" y="10208"/>
                        <a:pt x="45496" y="22753"/>
                      </a:cubicBez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nvGrpSpPr>
              <p:cNvPr id="559" name="Graphic 6">
                <a:extLst>
                  <a:ext uri="{FF2B5EF4-FFF2-40B4-BE49-F238E27FC236}">
                    <a16:creationId xmlns:a16="http://schemas.microsoft.com/office/drawing/2014/main" id="{FC9E384E-2412-4177-9790-7078749DFD48}"/>
                  </a:ext>
                </a:extLst>
              </p:cNvPr>
              <p:cNvGrpSpPr/>
              <p:nvPr/>
            </p:nvGrpSpPr>
            <p:grpSpPr>
              <a:xfrm>
                <a:off x="2676476" y="4724331"/>
                <a:ext cx="30445" cy="24314"/>
                <a:chOff x="2676516" y="4724423"/>
                <a:chExt cx="30445" cy="24314"/>
              </a:xfrm>
            </p:grpSpPr>
            <p:sp>
              <p:nvSpPr>
                <p:cNvPr id="562" name="Freeform: Shape 561">
                  <a:extLst>
                    <a:ext uri="{FF2B5EF4-FFF2-40B4-BE49-F238E27FC236}">
                      <a16:creationId xmlns:a16="http://schemas.microsoft.com/office/drawing/2014/main" id="{16272D9C-AB20-4F24-89C5-220E96DF762E}"/>
                    </a:ext>
                  </a:extLst>
                </p:cNvPr>
                <p:cNvSpPr/>
                <p:nvPr/>
              </p:nvSpPr>
              <p:spPr>
                <a:xfrm>
                  <a:off x="2680429" y="4728331"/>
                  <a:ext cx="22624" cy="16498"/>
                </a:xfrm>
                <a:custGeom>
                  <a:avLst/>
                  <a:gdLst>
                    <a:gd name="connsiteX0" fmla="*/ 11317 w 22624"/>
                    <a:gd name="connsiteY0" fmla="*/ 0 h 16498"/>
                    <a:gd name="connsiteX1" fmla="*/ 22625 w 22624"/>
                    <a:gd name="connsiteY1" fmla="*/ 11307 h 16498"/>
                    <a:gd name="connsiteX2" fmla="*/ 21372 w 22624"/>
                    <a:gd name="connsiteY2" fmla="*/ 16499 h 16498"/>
                    <a:gd name="connsiteX3" fmla="*/ 1186 w 22624"/>
                    <a:gd name="connsiteY3" fmla="*/ 16355 h 16498"/>
                    <a:gd name="connsiteX4" fmla="*/ 0 w 22624"/>
                    <a:gd name="connsiteY4" fmla="*/ 11307 h 16498"/>
                    <a:gd name="connsiteX5" fmla="*/ 11317 w 22624"/>
                    <a:gd name="connsiteY5" fmla="*/ 0 h 16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4" h="16498">
                      <a:moveTo>
                        <a:pt x="11317" y="0"/>
                      </a:moveTo>
                      <a:cubicBezTo>
                        <a:pt x="17551" y="0"/>
                        <a:pt x="22625" y="5073"/>
                        <a:pt x="22625" y="11307"/>
                      </a:cubicBezTo>
                      <a:cubicBezTo>
                        <a:pt x="22625" y="13135"/>
                        <a:pt x="22193" y="14892"/>
                        <a:pt x="21372" y="16499"/>
                      </a:cubicBezTo>
                      <a:lnTo>
                        <a:pt x="1186" y="16355"/>
                      </a:lnTo>
                      <a:cubicBezTo>
                        <a:pt x="416" y="14789"/>
                        <a:pt x="0" y="13069"/>
                        <a:pt x="0" y="11307"/>
                      </a:cubicBezTo>
                      <a:cubicBezTo>
                        <a:pt x="0" y="5073"/>
                        <a:pt x="5073" y="0"/>
                        <a:pt x="11317" y="0"/>
                      </a:cubicBezTo>
                      <a:close/>
                    </a:path>
                  </a:pathLst>
                </a:custGeom>
                <a:solidFill>
                  <a:srgbClr val="008172"/>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63" name="Freeform: Shape 562">
                  <a:extLst>
                    <a:ext uri="{FF2B5EF4-FFF2-40B4-BE49-F238E27FC236}">
                      <a16:creationId xmlns:a16="http://schemas.microsoft.com/office/drawing/2014/main" id="{5AD4AAE0-A9EB-4F04-83BF-0811CD16C103}"/>
                    </a:ext>
                  </a:extLst>
                </p:cNvPr>
                <p:cNvSpPr/>
                <p:nvPr/>
              </p:nvSpPr>
              <p:spPr>
                <a:xfrm>
                  <a:off x="2676516" y="4724423"/>
                  <a:ext cx="30445" cy="24314"/>
                </a:xfrm>
                <a:custGeom>
                  <a:avLst/>
                  <a:gdLst>
                    <a:gd name="connsiteX0" fmla="*/ 26389 w 30445"/>
                    <a:gd name="connsiteY0" fmla="*/ 24314 h 24314"/>
                    <a:gd name="connsiteX1" fmla="*/ 3933 w 30445"/>
                    <a:gd name="connsiteY1" fmla="*/ 24160 h 24314"/>
                    <a:gd name="connsiteX2" fmla="*/ 2280 w 30445"/>
                    <a:gd name="connsiteY2" fmla="*/ 23236 h 24314"/>
                    <a:gd name="connsiteX3" fmla="*/ 0 w 30445"/>
                    <a:gd name="connsiteY3" fmla="*/ 15215 h 24314"/>
                    <a:gd name="connsiteX4" fmla="*/ 15230 w 30445"/>
                    <a:gd name="connsiteY4" fmla="*/ 0 h 24314"/>
                    <a:gd name="connsiteX5" fmla="*/ 30445 w 30445"/>
                    <a:gd name="connsiteY5" fmla="*/ 15215 h 24314"/>
                    <a:gd name="connsiteX6" fmla="*/ 28047 w 30445"/>
                    <a:gd name="connsiteY6" fmla="*/ 23416 h 24314"/>
                    <a:gd name="connsiteX7" fmla="*/ 26404 w 30445"/>
                    <a:gd name="connsiteY7" fmla="*/ 24314 h 24314"/>
                    <a:gd name="connsiteX8" fmla="*/ 26389 w 30445"/>
                    <a:gd name="connsiteY8" fmla="*/ 24314 h 24314"/>
                    <a:gd name="connsiteX9" fmla="*/ 15225 w 30445"/>
                    <a:gd name="connsiteY9" fmla="*/ 3908 h 24314"/>
                    <a:gd name="connsiteX10" fmla="*/ 3908 w 30445"/>
                    <a:gd name="connsiteY10" fmla="*/ 15215 h 24314"/>
                    <a:gd name="connsiteX11" fmla="*/ 5094 w 30445"/>
                    <a:gd name="connsiteY11" fmla="*/ 20263 h 24314"/>
                    <a:gd name="connsiteX12" fmla="*/ 25280 w 30445"/>
                    <a:gd name="connsiteY12" fmla="*/ 20407 h 24314"/>
                    <a:gd name="connsiteX13" fmla="*/ 26533 w 30445"/>
                    <a:gd name="connsiteY13" fmla="*/ 15215 h 24314"/>
                    <a:gd name="connsiteX14" fmla="*/ 15225 w 30445"/>
                    <a:gd name="connsiteY14" fmla="*/ 3908 h 24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445" h="24314">
                      <a:moveTo>
                        <a:pt x="26389" y="24314"/>
                      </a:moveTo>
                      <a:lnTo>
                        <a:pt x="3933" y="24160"/>
                      </a:lnTo>
                      <a:cubicBezTo>
                        <a:pt x="3256" y="24160"/>
                        <a:pt x="2645" y="23806"/>
                        <a:pt x="2280" y="23236"/>
                      </a:cubicBezTo>
                      <a:cubicBezTo>
                        <a:pt x="796" y="20838"/>
                        <a:pt x="0" y="18060"/>
                        <a:pt x="0" y="15215"/>
                      </a:cubicBezTo>
                      <a:cubicBezTo>
                        <a:pt x="0" y="6830"/>
                        <a:pt x="6835" y="0"/>
                        <a:pt x="15230" y="0"/>
                      </a:cubicBezTo>
                      <a:cubicBezTo>
                        <a:pt x="23626" y="0"/>
                        <a:pt x="30445" y="6835"/>
                        <a:pt x="30445" y="15215"/>
                      </a:cubicBezTo>
                      <a:cubicBezTo>
                        <a:pt x="30445" y="18137"/>
                        <a:pt x="29624" y="20977"/>
                        <a:pt x="28047" y="23416"/>
                      </a:cubicBezTo>
                      <a:cubicBezTo>
                        <a:pt x="27693" y="23975"/>
                        <a:pt x="27072" y="24314"/>
                        <a:pt x="26404" y="24314"/>
                      </a:cubicBezTo>
                      <a:lnTo>
                        <a:pt x="26389" y="24314"/>
                      </a:lnTo>
                      <a:close/>
                      <a:moveTo>
                        <a:pt x="15225" y="3908"/>
                      </a:moveTo>
                      <a:cubicBezTo>
                        <a:pt x="8981" y="3908"/>
                        <a:pt x="3908" y="8981"/>
                        <a:pt x="3908" y="15215"/>
                      </a:cubicBezTo>
                      <a:cubicBezTo>
                        <a:pt x="3908" y="16976"/>
                        <a:pt x="4324" y="18697"/>
                        <a:pt x="5094" y="20263"/>
                      </a:cubicBezTo>
                      <a:lnTo>
                        <a:pt x="25280" y="20407"/>
                      </a:lnTo>
                      <a:cubicBezTo>
                        <a:pt x="26101" y="18804"/>
                        <a:pt x="26533" y="17043"/>
                        <a:pt x="26533" y="15215"/>
                      </a:cubicBezTo>
                      <a:cubicBezTo>
                        <a:pt x="26533" y="8981"/>
                        <a:pt x="21459" y="3908"/>
                        <a:pt x="15225" y="3908"/>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sp>
            <p:nvSpPr>
              <p:cNvPr id="560" name="Freeform: Shape 559">
                <a:extLst>
                  <a:ext uri="{FF2B5EF4-FFF2-40B4-BE49-F238E27FC236}">
                    <a16:creationId xmlns:a16="http://schemas.microsoft.com/office/drawing/2014/main" id="{368BC7CD-83EB-4C43-A6FE-9A1CABE774F8}"/>
                  </a:ext>
                </a:extLst>
              </p:cNvPr>
              <p:cNvSpPr/>
              <p:nvPr/>
            </p:nvSpPr>
            <p:spPr>
              <a:xfrm>
                <a:off x="2903453" y="4650767"/>
                <a:ext cx="140683" cy="248744"/>
              </a:xfrm>
              <a:custGeom>
                <a:avLst/>
                <a:gdLst>
                  <a:gd name="connsiteX0" fmla="*/ 48731 w 140683"/>
                  <a:gd name="connsiteY0" fmla="*/ 99979 h 248744"/>
                  <a:gd name="connsiteX1" fmla="*/ 56151 w 140683"/>
                  <a:gd name="connsiteY1" fmla="*/ 93565 h 248744"/>
                  <a:gd name="connsiteX2" fmla="*/ 31483 w 140683"/>
                  <a:gd name="connsiteY2" fmla="*/ 50313 h 248744"/>
                  <a:gd name="connsiteX3" fmla="*/ 31745 w 140683"/>
                  <a:gd name="connsiteY3" fmla="*/ 45239 h 248744"/>
                  <a:gd name="connsiteX4" fmla="*/ 3918 w 140683"/>
                  <a:gd name="connsiteY4" fmla="*/ 74709 h 248744"/>
                  <a:gd name="connsiteX5" fmla="*/ 33439 w 140683"/>
                  <a:gd name="connsiteY5" fmla="*/ 104230 h 248744"/>
                  <a:gd name="connsiteX6" fmla="*/ 45255 w 140683"/>
                  <a:gd name="connsiteY6" fmla="*/ 101791 h 248744"/>
                  <a:gd name="connsiteX7" fmla="*/ 25814 w 140683"/>
                  <a:gd name="connsiteY7" fmla="*/ 71464 h 248744"/>
                  <a:gd name="connsiteX8" fmla="*/ 26399 w 140683"/>
                  <a:gd name="connsiteY8" fmla="*/ 68763 h 248744"/>
                  <a:gd name="connsiteX9" fmla="*/ 29100 w 140683"/>
                  <a:gd name="connsiteY9" fmla="*/ 69348 h 248744"/>
                  <a:gd name="connsiteX10" fmla="*/ 48736 w 140683"/>
                  <a:gd name="connsiteY10" fmla="*/ 99979 h 248744"/>
                  <a:gd name="connsiteX11" fmla="*/ 79829 w 140683"/>
                  <a:gd name="connsiteY11" fmla="*/ 148484 h 248744"/>
                  <a:gd name="connsiteX12" fmla="*/ 79829 w 140683"/>
                  <a:gd name="connsiteY12" fmla="*/ 100564 h 248744"/>
                  <a:gd name="connsiteX13" fmla="*/ 59633 w 140683"/>
                  <a:gd name="connsiteY13" fmla="*/ 95455 h 248744"/>
                  <a:gd name="connsiteX14" fmla="*/ 50847 w 140683"/>
                  <a:gd name="connsiteY14" fmla="*/ 103265 h 248744"/>
                  <a:gd name="connsiteX15" fmla="*/ 79834 w 140683"/>
                  <a:gd name="connsiteY15" fmla="*/ 148484 h 248744"/>
                  <a:gd name="connsiteX16" fmla="*/ 83742 w 140683"/>
                  <a:gd name="connsiteY16" fmla="*/ 96651 h 248744"/>
                  <a:gd name="connsiteX17" fmla="*/ 128180 w 140683"/>
                  <a:gd name="connsiteY17" fmla="*/ 50308 h 248744"/>
                  <a:gd name="connsiteX18" fmla="*/ 81785 w 140683"/>
                  <a:gd name="connsiteY18" fmla="*/ 3913 h 248744"/>
                  <a:gd name="connsiteX19" fmla="*/ 35391 w 140683"/>
                  <a:gd name="connsiteY19" fmla="*/ 50308 h 248744"/>
                  <a:gd name="connsiteX20" fmla="*/ 79829 w 140683"/>
                  <a:gd name="connsiteY20" fmla="*/ 96651 h 248744"/>
                  <a:gd name="connsiteX21" fmla="*/ 79829 w 140683"/>
                  <a:gd name="connsiteY21" fmla="*/ 32654 h 248744"/>
                  <a:gd name="connsiteX22" fmla="*/ 81785 w 140683"/>
                  <a:gd name="connsiteY22" fmla="*/ 30697 h 248744"/>
                  <a:gd name="connsiteX23" fmla="*/ 83742 w 140683"/>
                  <a:gd name="connsiteY23" fmla="*/ 32654 h 248744"/>
                  <a:gd name="connsiteX24" fmla="*/ 83742 w 140683"/>
                  <a:gd name="connsiteY24" fmla="*/ 96651 h 248744"/>
                  <a:gd name="connsiteX25" fmla="*/ 118244 w 140683"/>
                  <a:gd name="connsiteY25" fmla="*/ 143621 h 248744"/>
                  <a:gd name="connsiteX26" fmla="*/ 136771 w 140683"/>
                  <a:gd name="connsiteY26" fmla="*/ 125094 h 248744"/>
                  <a:gd name="connsiteX27" fmla="*/ 118244 w 140683"/>
                  <a:gd name="connsiteY27" fmla="*/ 106577 h 248744"/>
                  <a:gd name="connsiteX28" fmla="*/ 99727 w 140683"/>
                  <a:gd name="connsiteY28" fmla="*/ 125094 h 248744"/>
                  <a:gd name="connsiteX29" fmla="*/ 104877 w 140683"/>
                  <a:gd name="connsiteY29" fmla="*/ 137885 h 248744"/>
                  <a:gd name="connsiteX30" fmla="*/ 119481 w 140683"/>
                  <a:gd name="connsiteY30" fmla="*/ 118572 h 248744"/>
                  <a:gd name="connsiteX31" fmla="*/ 122218 w 140683"/>
                  <a:gd name="connsiteY31" fmla="*/ 118192 h 248744"/>
                  <a:gd name="connsiteX32" fmla="*/ 122608 w 140683"/>
                  <a:gd name="connsiteY32" fmla="*/ 120945 h 248744"/>
                  <a:gd name="connsiteX33" fmla="*/ 107850 w 140683"/>
                  <a:gd name="connsiteY33" fmla="*/ 140427 h 248744"/>
                  <a:gd name="connsiteX34" fmla="*/ 118244 w 140683"/>
                  <a:gd name="connsiteY34" fmla="*/ 143621 h 248744"/>
                  <a:gd name="connsiteX35" fmla="*/ 118244 w 140683"/>
                  <a:gd name="connsiteY35" fmla="*/ 102664 h 248744"/>
                  <a:gd name="connsiteX36" fmla="*/ 140684 w 140683"/>
                  <a:gd name="connsiteY36" fmla="*/ 125094 h 248744"/>
                  <a:gd name="connsiteX37" fmla="*/ 118244 w 140683"/>
                  <a:gd name="connsiteY37" fmla="*/ 147534 h 248744"/>
                  <a:gd name="connsiteX38" fmla="*/ 105493 w 140683"/>
                  <a:gd name="connsiteY38" fmla="*/ 143529 h 248744"/>
                  <a:gd name="connsiteX39" fmla="*/ 83742 w 140683"/>
                  <a:gd name="connsiteY39" fmla="*/ 172269 h 248744"/>
                  <a:gd name="connsiteX40" fmla="*/ 83742 w 140683"/>
                  <a:gd name="connsiteY40" fmla="*/ 246788 h 248744"/>
                  <a:gd name="connsiteX41" fmla="*/ 81785 w 140683"/>
                  <a:gd name="connsiteY41" fmla="*/ 248745 h 248744"/>
                  <a:gd name="connsiteX42" fmla="*/ 79829 w 140683"/>
                  <a:gd name="connsiteY42" fmla="*/ 246788 h 248744"/>
                  <a:gd name="connsiteX43" fmla="*/ 79829 w 140683"/>
                  <a:gd name="connsiteY43" fmla="*/ 155735 h 248744"/>
                  <a:gd name="connsiteX44" fmla="*/ 47376 w 140683"/>
                  <a:gd name="connsiteY44" fmla="*/ 105114 h 248744"/>
                  <a:gd name="connsiteX45" fmla="*/ 33434 w 140683"/>
                  <a:gd name="connsiteY45" fmla="*/ 108138 h 248744"/>
                  <a:gd name="connsiteX46" fmla="*/ 0 w 140683"/>
                  <a:gd name="connsiteY46" fmla="*/ 74704 h 248744"/>
                  <a:gd name="connsiteX47" fmla="*/ 32299 w 140683"/>
                  <a:gd name="connsiteY47" fmla="*/ 41296 h 248744"/>
                  <a:gd name="connsiteX48" fmla="*/ 81785 w 140683"/>
                  <a:gd name="connsiteY48" fmla="*/ 0 h 248744"/>
                  <a:gd name="connsiteX49" fmla="*/ 132093 w 140683"/>
                  <a:gd name="connsiteY49" fmla="*/ 50308 h 248744"/>
                  <a:gd name="connsiteX50" fmla="*/ 83742 w 140683"/>
                  <a:gd name="connsiteY50" fmla="*/ 100559 h 248744"/>
                  <a:gd name="connsiteX51" fmla="*/ 83742 w 140683"/>
                  <a:gd name="connsiteY51" fmla="*/ 165784 h 248744"/>
                  <a:gd name="connsiteX52" fmla="*/ 102479 w 140683"/>
                  <a:gd name="connsiteY52" fmla="*/ 141033 h 248744"/>
                  <a:gd name="connsiteX53" fmla="*/ 95814 w 140683"/>
                  <a:gd name="connsiteY53" fmla="*/ 125084 h 248744"/>
                  <a:gd name="connsiteX54" fmla="*/ 118244 w 140683"/>
                  <a:gd name="connsiteY54" fmla="*/ 102654 h 248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40683" h="248744">
                    <a:moveTo>
                      <a:pt x="48731" y="99979"/>
                    </a:moveTo>
                    <a:cubicBezTo>
                      <a:pt x="51509" y="98284"/>
                      <a:pt x="54010" y="96132"/>
                      <a:pt x="56151" y="93565"/>
                    </a:cubicBezTo>
                    <a:cubicBezTo>
                      <a:pt x="41393" y="84789"/>
                      <a:pt x="31483" y="68686"/>
                      <a:pt x="31483" y="50313"/>
                    </a:cubicBezTo>
                    <a:cubicBezTo>
                      <a:pt x="31483" y="48593"/>
                      <a:pt x="31575" y="46908"/>
                      <a:pt x="31745" y="45239"/>
                    </a:cubicBezTo>
                    <a:cubicBezTo>
                      <a:pt x="16252" y="46112"/>
                      <a:pt x="3918" y="58996"/>
                      <a:pt x="3918" y="74709"/>
                    </a:cubicBezTo>
                    <a:cubicBezTo>
                      <a:pt x="3918" y="90422"/>
                      <a:pt x="17166" y="104230"/>
                      <a:pt x="33439" y="104230"/>
                    </a:cubicBezTo>
                    <a:cubicBezTo>
                      <a:pt x="37583" y="104230"/>
                      <a:pt x="41588" y="103383"/>
                      <a:pt x="45255" y="101791"/>
                    </a:cubicBezTo>
                    <a:lnTo>
                      <a:pt x="25814" y="71464"/>
                    </a:lnTo>
                    <a:cubicBezTo>
                      <a:pt x="25228" y="70550"/>
                      <a:pt x="25490" y="69338"/>
                      <a:pt x="26399" y="68763"/>
                    </a:cubicBezTo>
                    <a:cubicBezTo>
                      <a:pt x="27313" y="68178"/>
                      <a:pt x="28525" y="68439"/>
                      <a:pt x="29100" y="69348"/>
                    </a:cubicBezTo>
                    <a:lnTo>
                      <a:pt x="48736" y="99979"/>
                    </a:lnTo>
                    <a:close/>
                    <a:moveTo>
                      <a:pt x="79829" y="148484"/>
                    </a:moveTo>
                    <a:lnTo>
                      <a:pt x="79829" y="100564"/>
                    </a:lnTo>
                    <a:cubicBezTo>
                      <a:pt x="72604" y="100276"/>
                      <a:pt x="65774" y="98479"/>
                      <a:pt x="59633" y="95455"/>
                    </a:cubicBezTo>
                    <a:cubicBezTo>
                      <a:pt x="57142" y="98613"/>
                      <a:pt x="54154" y="101242"/>
                      <a:pt x="50847" y="103265"/>
                    </a:cubicBezTo>
                    <a:lnTo>
                      <a:pt x="79834" y="148484"/>
                    </a:lnTo>
                    <a:close/>
                    <a:moveTo>
                      <a:pt x="83742" y="96651"/>
                    </a:moveTo>
                    <a:cubicBezTo>
                      <a:pt x="108410" y="95619"/>
                      <a:pt x="128180" y="75228"/>
                      <a:pt x="128180" y="50308"/>
                    </a:cubicBezTo>
                    <a:cubicBezTo>
                      <a:pt x="128180" y="25387"/>
                      <a:pt x="107368" y="3913"/>
                      <a:pt x="81785" y="3913"/>
                    </a:cubicBezTo>
                    <a:cubicBezTo>
                      <a:pt x="56203" y="3913"/>
                      <a:pt x="35391" y="24725"/>
                      <a:pt x="35391" y="50308"/>
                    </a:cubicBezTo>
                    <a:cubicBezTo>
                      <a:pt x="35391" y="75890"/>
                      <a:pt x="55160" y="95619"/>
                      <a:pt x="79829" y="96651"/>
                    </a:cubicBezTo>
                    <a:lnTo>
                      <a:pt x="79829" y="32654"/>
                    </a:lnTo>
                    <a:cubicBezTo>
                      <a:pt x="79829" y="31570"/>
                      <a:pt x="80702" y="30697"/>
                      <a:pt x="81785" y="30697"/>
                    </a:cubicBezTo>
                    <a:cubicBezTo>
                      <a:pt x="82869" y="30697"/>
                      <a:pt x="83742" y="31570"/>
                      <a:pt x="83742" y="32654"/>
                    </a:cubicBezTo>
                    <a:lnTo>
                      <a:pt x="83742" y="96651"/>
                    </a:lnTo>
                    <a:close/>
                    <a:moveTo>
                      <a:pt x="118244" y="143621"/>
                    </a:moveTo>
                    <a:cubicBezTo>
                      <a:pt x="128452" y="143621"/>
                      <a:pt x="136771" y="135313"/>
                      <a:pt x="136771" y="125094"/>
                    </a:cubicBezTo>
                    <a:cubicBezTo>
                      <a:pt x="136771" y="114875"/>
                      <a:pt x="128452" y="106577"/>
                      <a:pt x="118244" y="106577"/>
                    </a:cubicBezTo>
                    <a:cubicBezTo>
                      <a:pt x="108035" y="106577"/>
                      <a:pt x="99727" y="114886"/>
                      <a:pt x="99727" y="125094"/>
                    </a:cubicBezTo>
                    <a:cubicBezTo>
                      <a:pt x="99727" y="130049"/>
                      <a:pt x="101694" y="134547"/>
                      <a:pt x="104877" y="137885"/>
                    </a:cubicBezTo>
                    <a:lnTo>
                      <a:pt x="119481" y="118572"/>
                    </a:lnTo>
                    <a:cubicBezTo>
                      <a:pt x="120133" y="117710"/>
                      <a:pt x="121371" y="117540"/>
                      <a:pt x="122218" y="118192"/>
                    </a:cubicBezTo>
                    <a:cubicBezTo>
                      <a:pt x="123091" y="118845"/>
                      <a:pt x="123261" y="120072"/>
                      <a:pt x="122608" y="120945"/>
                    </a:cubicBezTo>
                    <a:lnTo>
                      <a:pt x="107850" y="140427"/>
                    </a:lnTo>
                    <a:cubicBezTo>
                      <a:pt x="110824" y="142435"/>
                      <a:pt x="114398" y="143621"/>
                      <a:pt x="118244" y="143621"/>
                    </a:cubicBezTo>
                    <a:close/>
                    <a:moveTo>
                      <a:pt x="118244" y="102664"/>
                    </a:moveTo>
                    <a:cubicBezTo>
                      <a:pt x="130619" y="102664"/>
                      <a:pt x="140684" y="112729"/>
                      <a:pt x="140684" y="125094"/>
                    </a:cubicBezTo>
                    <a:cubicBezTo>
                      <a:pt x="140684" y="137459"/>
                      <a:pt x="130619" y="147534"/>
                      <a:pt x="118244" y="147534"/>
                    </a:cubicBezTo>
                    <a:cubicBezTo>
                      <a:pt x="113509" y="147534"/>
                      <a:pt x="109114" y="146050"/>
                      <a:pt x="105493" y="143529"/>
                    </a:cubicBezTo>
                    <a:lnTo>
                      <a:pt x="83742" y="172269"/>
                    </a:lnTo>
                    <a:lnTo>
                      <a:pt x="83742" y="246788"/>
                    </a:lnTo>
                    <a:cubicBezTo>
                      <a:pt x="83742" y="247872"/>
                      <a:pt x="82869" y="248745"/>
                      <a:pt x="81785" y="248745"/>
                    </a:cubicBezTo>
                    <a:cubicBezTo>
                      <a:pt x="80702" y="248745"/>
                      <a:pt x="79829" y="247872"/>
                      <a:pt x="79829" y="246788"/>
                    </a:cubicBezTo>
                    <a:lnTo>
                      <a:pt x="79829" y="155735"/>
                    </a:lnTo>
                    <a:lnTo>
                      <a:pt x="47376" y="105114"/>
                    </a:lnTo>
                    <a:cubicBezTo>
                      <a:pt x="43088" y="107080"/>
                      <a:pt x="38353" y="108138"/>
                      <a:pt x="33434" y="108138"/>
                    </a:cubicBezTo>
                    <a:cubicBezTo>
                      <a:pt x="14994" y="108138"/>
                      <a:pt x="0" y="93144"/>
                      <a:pt x="0" y="74704"/>
                    </a:cubicBezTo>
                    <a:cubicBezTo>
                      <a:pt x="0" y="56264"/>
                      <a:pt x="14383" y="41897"/>
                      <a:pt x="32299" y="41296"/>
                    </a:cubicBezTo>
                    <a:cubicBezTo>
                      <a:pt x="36561" y="17839"/>
                      <a:pt x="57127" y="0"/>
                      <a:pt x="81785" y="0"/>
                    </a:cubicBezTo>
                    <a:cubicBezTo>
                      <a:pt x="109519" y="0"/>
                      <a:pt x="132093" y="22558"/>
                      <a:pt x="132093" y="50308"/>
                    </a:cubicBezTo>
                    <a:cubicBezTo>
                      <a:pt x="132093" y="78057"/>
                      <a:pt x="110577" y="99532"/>
                      <a:pt x="83742" y="100559"/>
                    </a:cubicBezTo>
                    <a:lnTo>
                      <a:pt x="83742" y="165784"/>
                    </a:lnTo>
                    <a:lnTo>
                      <a:pt x="102479" y="141033"/>
                    </a:lnTo>
                    <a:cubicBezTo>
                      <a:pt x="98371" y="136966"/>
                      <a:pt x="95814" y="131318"/>
                      <a:pt x="95814" y="125084"/>
                    </a:cubicBezTo>
                    <a:cubicBezTo>
                      <a:pt x="95814" y="112724"/>
                      <a:pt x="105868" y="102654"/>
                      <a:pt x="118244" y="102654"/>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sp>
            <p:nvSpPr>
              <p:cNvPr id="561" name="Freeform: Shape 560">
                <a:extLst>
                  <a:ext uri="{FF2B5EF4-FFF2-40B4-BE49-F238E27FC236}">
                    <a16:creationId xmlns:a16="http://schemas.microsoft.com/office/drawing/2014/main" id="{08BF2B00-B8A6-48DE-B5F0-F35093F78D82}"/>
                  </a:ext>
                </a:extLst>
              </p:cNvPr>
              <p:cNvSpPr/>
              <p:nvPr/>
            </p:nvSpPr>
            <p:spPr>
              <a:xfrm>
                <a:off x="3114507" y="4536677"/>
                <a:ext cx="66970" cy="363461"/>
              </a:xfrm>
              <a:custGeom>
                <a:avLst/>
                <a:gdLst>
                  <a:gd name="connsiteX0" fmla="*/ 31529 w 66970"/>
                  <a:gd name="connsiteY0" fmla="*/ 171504 h 363461"/>
                  <a:gd name="connsiteX1" fmla="*/ 31529 w 66970"/>
                  <a:gd name="connsiteY1" fmla="*/ 141238 h 363461"/>
                  <a:gd name="connsiteX2" fmla="*/ 16257 w 66970"/>
                  <a:gd name="connsiteY2" fmla="*/ 124118 h 363461"/>
                  <a:gd name="connsiteX3" fmla="*/ 16411 w 66970"/>
                  <a:gd name="connsiteY3" fmla="*/ 121366 h 363461"/>
                  <a:gd name="connsiteX4" fmla="*/ 19174 w 66970"/>
                  <a:gd name="connsiteY4" fmla="*/ 121520 h 363461"/>
                  <a:gd name="connsiteX5" fmla="*/ 31524 w 66970"/>
                  <a:gd name="connsiteY5" fmla="*/ 135369 h 363461"/>
                  <a:gd name="connsiteX6" fmla="*/ 31524 w 66970"/>
                  <a:gd name="connsiteY6" fmla="*/ 102782 h 363461"/>
                  <a:gd name="connsiteX7" fmla="*/ 20869 w 66970"/>
                  <a:gd name="connsiteY7" fmla="*/ 90838 h 363461"/>
                  <a:gd name="connsiteX8" fmla="*/ 21023 w 66970"/>
                  <a:gd name="connsiteY8" fmla="*/ 88076 h 363461"/>
                  <a:gd name="connsiteX9" fmla="*/ 23785 w 66970"/>
                  <a:gd name="connsiteY9" fmla="*/ 88230 h 363461"/>
                  <a:gd name="connsiteX10" fmla="*/ 31519 w 66970"/>
                  <a:gd name="connsiteY10" fmla="*/ 96903 h 363461"/>
                  <a:gd name="connsiteX11" fmla="*/ 31519 w 66970"/>
                  <a:gd name="connsiteY11" fmla="*/ 65959 h 363461"/>
                  <a:gd name="connsiteX12" fmla="*/ 33475 w 66970"/>
                  <a:gd name="connsiteY12" fmla="*/ 64003 h 363461"/>
                  <a:gd name="connsiteX13" fmla="*/ 35432 w 66970"/>
                  <a:gd name="connsiteY13" fmla="*/ 65959 h 363461"/>
                  <a:gd name="connsiteX14" fmla="*/ 35432 w 66970"/>
                  <a:gd name="connsiteY14" fmla="*/ 113448 h 363461"/>
                  <a:gd name="connsiteX15" fmla="*/ 48978 w 66970"/>
                  <a:gd name="connsiteY15" fmla="*/ 98258 h 363461"/>
                  <a:gd name="connsiteX16" fmla="*/ 51730 w 66970"/>
                  <a:gd name="connsiteY16" fmla="*/ 98104 h 363461"/>
                  <a:gd name="connsiteX17" fmla="*/ 51884 w 66970"/>
                  <a:gd name="connsiteY17" fmla="*/ 100857 h 363461"/>
                  <a:gd name="connsiteX18" fmla="*/ 35426 w 66970"/>
                  <a:gd name="connsiteY18" fmla="*/ 119322 h 363461"/>
                  <a:gd name="connsiteX19" fmla="*/ 35426 w 66970"/>
                  <a:gd name="connsiteY19" fmla="*/ 153198 h 363461"/>
                  <a:gd name="connsiteX20" fmla="*/ 47904 w 66970"/>
                  <a:gd name="connsiteY20" fmla="*/ 139195 h 363461"/>
                  <a:gd name="connsiteX21" fmla="*/ 50667 w 66970"/>
                  <a:gd name="connsiteY21" fmla="*/ 139041 h 363461"/>
                  <a:gd name="connsiteX22" fmla="*/ 50821 w 66970"/>
                  <a:gd name="connsiteY22" fmla="*/ 141803 h 363461"/>
                  <a:gd name="connsiteX23" fmla="*/ 35421 w 66970"/>
                  <a:gd name="connsiteY23" fmla="*/ 159083 h 363461"/>
                  <a:gd name="connsiteX24" fmla="*/ 35421 w 66970"/>
                  <a:gd name="connsiteY24" fmla="*/ 214643 h 363461"/>
                  <a:gd name="connsiteX25" fmla="*/ 56064 w 66970"/>
                  <a:gd name="connsiteY25" fmla="*/ 192060 h 363461"/>
                  <a:gd name="connsiteX26" fmla="*/ 63042 w 66970"/>
                  <a:gd name="connsiteY26" fmla="*/ 136109 h 363461"/>
                  <a:gd name="connsiteX27" fmla="*/ 33470 w 66970"/>
                  <a:gd name="connsiteY27" fmla="*/ 3918 h 363461"/>
                  <a:gd name="connsiteX28" fmla="*/ 3898 w 66970"/>
                  <a:gd name="connsiteY28" fmla="*/ 136109 h 363461"/>
                  <a:gd name="connsiteX29" fmla="*/ 10860 w 66970"/>
                  <a:gd name="connsiteY29" fmla="*/ 192060 h 363461"/>
                  <a:gd name="connsiteX30" fmla="*/ 31514 w 66970"/>
                  <a:gd name="connsiteY30" fmla="*/ 214643 h 363461"/>
                  <a:gd name="connsiteX31" fmla="*/ 31514 w 66970"/>
                  <a:gd name="connsiteY31" fmla="*/ 177379 h 363461"/>
                  <a:gd name="connsiteX32" fmla="*/ 20858 w 66970"/>
                  <a:gd name="connsiteY32" fmla="*/ 165435 h 363461"/>
                  <a:gd name="connsiteX33" fmla="*/ 21012 w 66970"/>
                  <a:gd name="connsiteY33" fmla="*/ 162682 h 363461"/>
                  <a:gd name="connsiteX34" fmla="*/ 23775 w 66970"/>
                  <a:gd name="connsiteY34" fmla="*/ 162836 h 363461"/>
                  <a:gd name="connsiteX35" fmla="*/ 31508 w 66970"/>
                  <a:gd name="connsiteY35" fmla="*/ 171509 h 363461"/>
                  <a:gd name="connsiteX36" fmla="*/ 7174 w 66970"/>
                  <a:gd name="connsiteY36" fmla="*/ 193307 h 363461"/>
                  <a:gd name="connsiteX37" fmla="*/ 0 w 66970"/>
                  <a:gd name="connsiteY37" fmla="*/ 136103 h 363461"/>
                  <a:gd name="connsiteX38" fmla="*/ 33485 w 66970"/>
                  <a:gd name="connsiteY38" fmla="*/ 0 h 363461"/>
                  <a:gd name="connsiteX39" fmla="*/ 66971 w 66970"/>
                  <a:gd name="connsiteY39" fmla="*/ 136103 h 363461"/>
                  <a:gd name="connsiteX40" fmla="*/ 59787 w 66970"/>
                  <a:gd name="connsiteY40" fmla="*/ 193307 h 363461"/>
                  <a:gd name="connsiteX41" fmla="*/ 35442 w 66970"/>
                  <a:gd name="connsiteY41" fmla="*/ 218566 h 363461"/>
                  <a:gd name="connsiteX42" fmla="*/ 35442 w 66970"/>
                  <a:gd name="connsiteY42" fmla="*/ 361505 h 363461"/>
                  <a:gd name="connsiteX43" fmla="*/ 33485 w 66970"/>
                  <a:gd name="connsiteY43" fmla="*/ 363461 h 363461"/>
                  <a:gd name="connsiteX44" fmla="*/ 31529 w 66970"/>
                  <a:gd name="connsiteY44" fmla="*/ 361505 h 363461"/>
                  <a:gd name="connsiteX45" fmla="*/ 31529 w 66970"/>
                  <a:gd name="connsiteY45" fmla="*/ 218566 h 363461"/>
                  <a:gd name="connsiteX46" fmla="*/ 7174 w 66970"/>
                  <a:gd name="connsiteY46" fmla="*/ 193307 h 363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6970" h="363461">
                    <a:moveTo>
                      <a:pt x="31529" y="171504"/>
                    </a:moveTo>
                    <a:lnTo>
                      <a:pt x="31529" y="141238"/>
                    </a:lnTo>
                    <a:lnTo>
                      <a:pt x="16257" y="124118"/>
                    </a:lnTo>
                    <a:cubicBezTo>
                      <a:pt x="15539" y="123322"/>
                      <a:pt x="15605" y="122085"/>
                      <a:pt x="16411" y="121366"/>
                    </a:cubicBezTo>
                    <a:cubicBezTo>
                      <a:pt x="17207" y="120637"/>
                      <a:pt x="18460" y="120714"/>
                      <a:pt x="19174" y="121520"/>
                    </a:cubicBezTo>
                    <a:lnTo>
                      <a:pt x="31524" y="135369"/>
                    </a:lnTo>
                    <a:lnTo>
                      <a:pt x="31524" y="102782"/>
                    </a:lnTo>
                    <a:lnTo>
                      <a:pt x="20869" y="90838"/>
                    </a:lnTo>
                    <a:cubicBezTo>
                      <a:pt x="20150" y="90032"/>
                      <a:pt x="20217" y="88789"/>
                      <a:pt x="21023" y="88076"/>
                    </a:cubicBezTo>
                    <a:cubicBezTo>
                      <a:pt x="21829" y="87357"/>
                      <a:pt x="23072" y="87439"/>
                      <a:pt x="23785" y="88230"/>
                    </a:cubicBezTo>
                    <a:lnTo>
                      <a:pt x="31519" y="96903"/>
                    </a:lnTo>
                    <a:lnTo>
                      <a:pt x="31519" y="65959"/>
                    </a:lnTo>
                    <a:cubicBezTo>
                      <a:pt x="31519" y="64891"/>
                      <a:pt x="32392" y="64003"/>
                      <a:pt x="33475" y="64003"/>
                    </a:cubicBezTo>
                    <a:cubicBezTo>
                      <a:pt x="34559" y="64003"/>
                      <a:pt x="35432" y="64891"/>
                      <a:pt x="35432" y="65959"/>
                    </a:cubicBezTo>
                    <a:lnTo>
                      <a:pt x="35432" y="113448"/>
                    </a:lnTo>
                    <a:lnTo>
                      <a:pt x="48978" y="98258"/>
                    </a:lnTo>
                    <a:cubicBezTo>
                      <a:pt x="49697" y="97452"/>
                      <a:pt x="50919" y="97370"/>
                      <a:pt x="51730" y="98104"/>
                    </a:cubicBezTo>
                    <a:cubicBezTo>
                      <a:pt x="52536" y="98823"/>
                      <a:pt x="52618" y="100061"/>
                      <a:pt x="51884" y="100857"/>
                    </a:cubicBezTo>
                    <a:lnTo>
                      <a:pt x="35426" y="119322"/>
                    </a:lnTo>
                    <a:lnTo>
                      <a:pt x="35426" y="153198"/>
                    </a:lnTo>
                    <a:lnTo>
                      <a:pt x="47904" y="139195"/>
                    </a:lnTo>
                    <a:cubicBezTo>
                      <a:pt x="48623" y="138399"/>
                      <a:pt x="49861" y="138322"/>
                      <a:pt x="50667" y="139041"/>
                    </a:cubicBezTo>
                    <a:cubicBezTo>
                      <a:pt x="51473" y="139760"/>
                      <a:pt x="51540" y="140997"/>
                      <a:pt x="50821" y="141803"/>
                    </a:cubicBezTo>
                    <a:lnTo>
                      <a:pt x="35421" y="159083"/>
                    </a:lnTo>
                    <a:lnTo>
                      <a:pt x="35421" y="214643"/>
                    </a:lnTo>
                    <a:cubicBezTo>
                      <a:pt x="44366" y="213693"/>
                      <a:pt x="51304" y="206104"/>
                      <a:pt x="56064" y="192060"/>
                    </a:cubicBezTo>
                    <a:cubicBezTo>
                      <a:pt x="60629" y="178590"/>
                      <a:pt x="63042" y="159252"/>
                      <a:pt x="63042" y="136109"/>
                    </a:cubicBezTo>
                    <a:cubicBezTo>
                      <a:pt x="63042" y="72280"/>
                      <a:pt x="45686" y="3918"/>
                      <a:pt x="33470" y="3918"/>
                    </a:cubicBezTo>
                    <a:cubicBezTo>
                      <a:pt x="21254" y="3918"/>
                      <a:pt x="3898" y="72286"/>
                      <a:pt x="3898" y="136109"/>
                    </a:cubicBezTo>
                    <a:cubicBezTo>
                      <a:pt x="3898" y="159252"/>
                      <a:pt x="6311" y="178590"/>
                      <a:pt x="10860" y="192060"/>
                    </a:cubicBezTo>
                    <a:cubicBezTo>
                      <a:pt x="15621" y="206104"/>
                      <a:pt x="22558" y="213693"/>
                      <a:pt x="31514" y="214643"/>
                    </a:cubicBezTo>
                    <a:lnTo>
                      <a:pt x="31514" y="177379"/>
                    </a:lnTo>
                    <a:lnTo>
                      <a:pt x="20858" y="165435"/>
                    </a:lnTo>
                    <a:cubicBezTo>
                      <a:pt x="20139" y="164628"/>
                      <a:pt x="20206" y="163401"/>
                      <a:pt x="21012" y="162682"/>
                    </a:cubicBezTo>
                    <a:cubicBezTo>
                      <a:pt x="21819" y="161953"/>
                      <a:pt x="23061" y="162030"/>
                      <a:pt x="23775" y="162836"/>
                    </a:cubicBezTo>
                    <a:lnTo>
                      <a:pt x="31508" y="171509"/>
                    </a:lnTo>
                    <a:close/>
                    <a:moveTo>
                      <a:pt x="7174" y="193307"/>
                    </a:moveTo>
                    <a:cubicBezTo>
                      <a:pt x="2480" y="179448"/>
                      <a:pt x="0" y="159668"/>
                      <a:pt x="0" y="136103"/>
                    </a:cubicBezTo>
                    <a:cubicBezTo>
                      <a:pt x="0" y="76111"/>
                      <a:pt x="15764" y="0"/>
                      <a:pt x="33485" y="0"/>
                    </a:cubicBezTo>
                    <a:cubicBezTo>
                      <a:pt x="51206" y="0"/>
                      <a:pt x="66971" y="76111"/>
                      <a:pt x="66971" y="136103"/>
                    </a:cubicBezTo>
                    <a:cubicBezTo>
                      <a:pt x="66971" y="159668"/>
                      <a:pt x="64480" y="179448"/>
                      <a:pt x="59787" y="193307"/>
                    </a:cubicBezTo>
                    <a:cubicBezTo>
                      <a:pt x="54416" y="209190"/>
                      <a:pt x="46225" y="217663"/>
                      <a:pt x="35442" y="218566"/>
                    </a:cubicBezTo>
                    <a:lnTo>
                      <a:pt x="35442" y="361505"/>
                    </a:lnTo>
                    <a:cubicBezTo>
                      <a:pt x="35442" y="362588"/>
                      <a:pt x="34569" y="363461"/>
                      <a:pt x="33485" y="363461"/>
                    </a:cubicBezTo>
                    <a:cubicBezTo>
                      <a:pt x="32402" y="363461"/>
                      <a:pt x="31529" y="362588"/>
                      <a:pt x="31529" y="361505"/>
                    </a:cubicBezTo>
                    <a:lnTo>
                      <a:pt x="31529" y="218566"/>
                    </a:lnTo>
                    <a:cubicBezTo>
                      <a:pt x="20730" y="217668"/>
                      <a:pt x="12545" y="209190"/>
                      <a:pt x="7174" y="193307"/>
                    </a:cubicBezTo>
                    <a:close/>
                  </a:path>
                </a:pathLst>
              </a:custGeom>
              <a:solidFill>
                <a:srgbClr val="FFFFFF"/>
              </a:solidFill>
              <a:ln w="512" cap="flat" cmpd="sng" algn="ctr">
                <a:noFill/>
                <a:prstDash val="solid"/>
                <a:miter lim="800000"/>
                <a:headEnd type="none" w="med" len="med"/>
                <a:tailEnd type="none" w="med" len="med"/>
              </a:ln>
              <a:extLst>
                <a:ext uri="{91240B29-F687-4F45-9708-019B960494DF}">
                  <a14:hiddenLine xmlns:a14="http://schemas.microsoft.com/office/drawing/2010/main" w="512" cap="flat" cmpd="sng" algn="ctr">
                    <a:solidFill>
                      <a:srgbClr val="FFFFFF"/>
                    </a:solidFill>
                    <a:prstDash val="solid"/>
                    <a:miter lim="800000"/>
                    <a:headEnd type="none" w="med" len="med"/>
                    <a:tailEnd type="none" w="med" len="med"/>
                  </a14:hiddenLine>
                </a:ext>
              </a:extLst>
            </p:spPr>
            <p:txBody>
              <a:bodyPr rtlCol="0" anchor="ctr"/>
              <a:lstStyle/>
              <a:p>
                <a:endParaRPr lang="en-US"/>
              </a:p>
            </p:txBody>
          </p:sp>
        </p:grpSp>
      </p:grpSp>
      <p:cxnSp>
        <p:nvCxnSpPr>
          <p:cNvPr id="231" name="Straight Arrow Connector 471">
            <a:extLst>
              <a:ext uri="{FF2B5EF4-FFF2-40B4-BE49-F238E27FC236}">
                <a16:creationId xmlns:a16="http://schemas.microsoft.com/office/drawing/2014/main" id="{8270BEFC-6178-4C05-9A47-E3A7B870F10F}"/>
              </a:ext>
            </a:extLst>
          </p:cNvPr>
          <p:cNvCxnSpPr>
            <a:cxnSpLocks/>
          </p:cNvCxnSpPr>
          <p:nvPr/>
        </p:nvCxnSpPr>
        <p:spPr>
          <a:xfrm flipV="1">
            <a:off x="2338542" y="5003890"/>
            <a:ext cx="0" cy="352572"/>
          </a:xfrm>
          <a:prstGeom prst="straightConnector1">
            <a:avLst/>
          </a:prstGeom>
          <a:ln w="19050" cap="flat" cmpd="sng" algn="ctr">
            <a:solidFill>
              <a:srgbClr val="B2B2B2"/>
            </a:solidFill>
            <a:prstDash val="solid"/>
            <a:miter lim="800000"/>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230" name="Oval 35">
            <a:extLst>
              <a:ext uri="{FF2B5EF4-FFF2-40B4-BE49-F238E27FC236}">
                <a16:creationId xmlns:a16="http://schemas.microsoft.com/office/drawing/2014/main" id="{1591576B-BFC3-4526-BAB4-31C08D7B85CA}"/>
              </a:ext>
            </a:extLst>
          </p:cNvPr>
          <p:cNvSpPr/>
          <p:nvPr/>
        </p:nvSpPr>
        <p:spPr>
          <a:xfrm>
            <a:off x="1903909" y="5285562"/>
            <a:ext cx="872067" cy="872067"/>
          </a:xfrm>
          <a:prstGeom prst="ellipse">
            <a:avLst/>
          </a:prstGeom>
          <a:solidFill>
            <a:srgbClr val="FFFFFF"/>
          </a:solidFill>
          <a:ln w="19050" cap="flat" cmpd="sng" algn="ctr">
            <a:solidFill>
              <a:srgbClr val="B2B2B2"/>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spcAft>
                <a:spcPts val="600"/>
              </a:spcAft>
            </a:pPr>
            <a:r>
              <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rPr>
              <a:t>消費者</a:t>
            </a:r>
          </a:p>
        </p:txBody>
      </p:sp>
      <p:sp>
        <p:nvSpPr>
          <p:cNvPr id="4" name="テキスト ボックス 3">
            <a:extLst>
              <a:ext uri="{FF2B5EF4-FFF2-40B4-BE49-F238E27FC236}">
                <a16:creationId xmlns:a16="http://schemas.microsoft.com/office/drawing/2014/main" id="{5BE9B2CE-BAE7-B5C1-E76F-E1FE8F67BCD1}"/>
              </a:ext>
            </a:extLst>
          </p:cNvPr>
          <p:cNvSpPr txBox="1"/>
          <p:nvPr/>
        </p:nvSpPr>
        <p:spPr>
          <a:xfrm>
            <a:off x="710431" y="6365944"/>
            <a:ext cx="8532480" cy="338554"/>
          </a:xfrm>
          <a:prstGeom prst="rect">
            <a:avLst/>
          </a:prstGeom>
          <a:noFill/>
        </p:spPr>
        <p:txBody>
          <a:bodyPr wrap="square">
            <a:spAutoFit/>
          </a:bodyPr>
          <a:lstStyle/>
          <a:p>
            <a:r>
              <a:rPr lang="en-US" altLang="ja-JP" sz="1600" dirty="0">
                <a:solidFill>
                  <a:prstClr val="black"/>
                </a:solidFill>
                <a:latin typeface="Meiryo UI" panose="020B0604030504040204" pitchFamily="50" charset="-128"/>
                <a:ea typeface="Meiryo UI" panose="020B0604030504040204" pitchFamily="50" charset="-128"/>
              </a:rPr>
              <a:t>※</a:t>
            </a:r>
            <a:r>
              <a:rPr lang="ja-JP" altLang="en-US" sz="1600" dirty="0">
                <a:solidFill>
                  <a:prstClr val="black"/>
                </a:solidFill>
                <a:latin typeface="Meiryo UI" panose="020B0604030504040204" pitchFamily="50" charset="-128"/>
                <a:ea typeface="Meiryo UI" panose="020B0604030504040204" pitchFamily="50" charset="-128"/>
              </a:rPr>
              <a:t>ポータルサイト（</a:t>
            </a:r>
            <a:r>
              <a:rPr lang="en-US" altLang="ja-JP" sz="1600" dirty="0">
                <a:solidFill>
                  <a:srgbClr val="C41300"/>
                </a:solidFill>
                <a:latin typeface="Arial" panose="020B0604020202020204" pitchFamily="34" charset="0"/>
                <a:ea typeface="Meiryo UI" panose="020B0604030504040204" pitchFamily="50" charset="-128"/>
                <a:hlinkClick r:id="rId9"/>
              </a:rPr>
              <a:t>https://ondankataisaku.env.go.jp/decokatsu/</a:t>
            </a:r>
            <a:r>
              <a:rPr lang="ja-JP" altLang="en-US" sz="1600" dirty="0">
                <a:solidFill>
                  <a:prstClr val="black"/>
                </a:solidFill>
                <a:latin typeface="Meiryo UI" panose="020B0604030504040204" pitchFamily="50" charset="-128"/>
                <a:ea typeface="Meiryo UI" panose="020B0604030504040204" pitchFamily="50" charset="-128"/>
              </a:rPr>
              <a:t>）からお気軽にご参画いただけます。</a:t>
            </a:r>
            <a:endParaRPr lang="ja-JP" altLang="en-US" sz="1600" dirty="0"/>
          </a:p>
        </p:txBody>
      </p:sp>
    </p:spTree>
    <p:extLst>
      <p:ext uri="{BB962C8B-B14F-4D97-AF65-F5344CB8AC3E}">
        <p14:creationId xmlns:p14="http://schemas.microsoft.com/office/powerpoint/2010/main" val="31118361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E4A7CDC4-6F95-9DBA-1CBF-949E8C2B05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04" imgH="405" progId="TCLayout.ActiveDocument.1">
                  <p:embed/>
                </p:oleObj>
              </mc:Choice>
              <mc:Fallback>
                <p:oleObj name="think-cell スライド" r:id="rId3" imgW="404" imgH="405" progId="TCLayout.ActiveDocument.1">
                  <p:embed/>
                  <p:pic>
                    <p:nvPicPr>
                      <p:cNvPr id="8" name="オブジェクト 7" hidden="1">
                        <a:extLst>
                          <a:ext uri="{FF2B5EF4-FFF2-40B4-BE49-F238E27FC236}">
                            <a16:creationId xmlns:a16="http://schemas.microsoft.com/office/drawing/2014/main" id="{E4A7CDC4-6F95-9DBA-1CBF-949E8C2B05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D1C59256-5165-054F-5842-3972883456A4}"/>
              </a:ext>
            </a:extLst>
          </p:cNvPr>
          <p:cNvSpPr>
            <a:spLocks noGrp="1"/>
          </p:cNvSpPr>
          <p:nvPr>
            <p:ph type="title"/>
          </p:nvPr>
        </p:nvSpPr>
        <p:spPr/>
        <p:txBody>
          <a:bodyPr vert="horz"/>
          <a:lstStyle/>
          <a:p>
            <a:r>
              <a:rPr kumimoji="1" lang="ja-JP" altLang="en-US" sz="2400" dirty="0"/>
              <a:t>スモールグループ</a:t>
            </a:r>
            <a:r>
              <a:rPr kumimoji="1" lang="ja-JP" altLang="en-US" dirty="0"/>
              <a:t>の立ち上げ及びテーマ設定</a:t>
            </a:r>
            <a:endParaRPr kumimoji="1" lang="en-US" dirty="0"/>
          </a:p>
        </p:txBody>
      </p:sp>
      <p:sp>
        <p:nvSpPr>
          <p:cNvPr id="4" name="Content Placeholder 2">
            <a:extLst>
              <a:ext uri="{FF2B5EF4-FFF2-40B4-BE49-F238E27FC236}">
                <a16:creationId xmlns:a16="http://schemas.microsoft.com/office/drawing/2014/main" id="{98EB0D43-8808-76CB-AE6D-6A49DA3CA6C3}"/>
              </a:ext>
            </a:extLst>
          </p:cNvPr>
          <p:cNvSpPr txBox="1">
            <a:spLocks/>
          </p:cNvSpPr>
          <p:nvPr/>
        </p:nvSpPr>
        <p:spPr>
          <a:xfrm>
            <a:off x="412507" y="945827"/>
            <a:ext cx="9080986" cy="883727"/>
          </a:xfrm>
          <a:prstGeom prst="rect">
            <a:avLst/>
          </a:prstGeom>
          <a:ln w="28575">
            <a:solidFill>
              <a:srgbClr val="00584E"/>
            </a:solidFill>
          </a:ln>
        </p:spPr>
        <p:txBody>
          <a:bodyPr wrap="square" lIns="180000" tIns="180000" rIns="180000" bIns="144000" anchor="t" anchorCtr="0">
            <a:spAutoFit/>
          </a:bodyPr>
          <a:lstStyle>
            <a:lvl1pPr marL="259239" indent="-259239" algn="l" defTabSz="914429" rtl="0" eaLnBrk="1" latinLnBrk="0" hangingPunct="1">
              <a:lnSpc>
                <a:spcPct val="100000"/>
              </a:lnSpc>
              <a:spcBef>
                <a:spcPts val="544"/>
              </a:spcBef>
              <a:spcAft>
                <a:spcPts val="0"/>
              </a:spcAft>
              <a:buFont typeface="Wingdings" panose="05000000000000000000" pitchFamily="2" charset="2"/>
              <a:buChar char="n"/>
              <a:defRPr kumimoji="1" sz="1814" b="0" kern="1200">
                <a:solidFill>
                  <a:schemeClr val="tx1"/>
                </a:solidFill>
                <a:latin typeface="Meiryo UI" panose="020B0604030504040204" pitchFamily="50" charset="-128"/>
                <a:ea typeface="Meiryo UI" panose="020B0604030504040204" pitchFamily="50" charset="-128"/>
                <a:cs typeface="+mn-cs"/>
              </a:defRPr>
            </a:lvl1pPr>
            <a:lvl2pPr marL="0" indent="0" algn="l" defTabSz="914429"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29"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29"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29"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80"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93"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109"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322" indent="-228607" algn="l" defTabSz="914429"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None/>
            </a:pPr>
            <a:r>
              <a:rPr lang="ja-JP" altLang="en-US" sz="1600" dirty="0">
                <a:latin typeface="Meiryo UI"/>
                <a:ea typeface="Meiryo UI"/>
              </a:rPr>
              <a:t>○個別テーマに係るスモールグループの運用を開始し、積極的な議論を行う場を設定しています。</a:t>
            </a:r>
            <a:endParaRPr lang="en-US" altLang="ja-JP" sz="1600" dirty="0">
              <a:latin typeface="Meiryo UI"/>
              <a:ea typeface="Meiryo UI"/>
            </a:endParaRPr>
          </a:p>
          <a:p>
            <a:pPr marL="0" indent="0">
              <a:buNone/>
            </a:pPr>
            <a:r>
              <a:rPr lang="ja-JP" altLang="en-US" sz="1600" dirty="0">
                <a:latin typeface="Meiryo UI"/>
                <a:ea typeface="Meiryo UI"/>
              </a:rPr>
              <a:t>○スモールグループへの参加の希望や新規テーマ設定についても常時、受け付けています。</a:t>
            </a:r>
            <a:endParaRPr lang="en-US" altLang="ja-JP" sz="1600" dirty="0">
              <a:latin typeface="Meiryo UI"/>
              <a:ea typeface="Meiryo UI"/>
            </a:endParaRPr>
          </a:p>
        </p:txBody>
      </p:sp>
      <p:sp>
        <p:nvSpPr>
          <p:cNvPr id="5" name="TextBox 6">
            <a:extLst>
              <a:ext uri="{FF2B5EF4-FFF2-40B4-BE49-F238E27FC236}">
                <a16:creationId xmlns:a16="http://schemas.microsoft.com/office/drawing/2014/main" id="{4252B9F3-5226-2232-A93B-E1CF60370DAB}"/>
              </a:ext>
            </a:extLst>
          </p:cNvPr>
          <p:cNvSpPr txBox="1"/>
          <p:nvPr/>
        </p:nvSpPr>
        <p:spPr>
          <a:xfrm>
            <a:off x="5033359" y="6571050"/>
            <a:ext cx="456466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altLang="ja-JP" sz="1200" dirty="0"/>
              <a:t>※</a:t>
            </a:r>
            <a:r>
              <a:rPr lang="ja-JP" altLang="en-US" sz="1200" dirty="0"/>
              <a:t>令和６年１月</a:t>
            </a:r>
            <a:r>
              <a:rPr lang="en-US" altLang="ja-JP" sz="1200" dirty="0"/>
              <a:t>31</a:t>
            </a:r>
            <a:r>
              <a:rPr lang="ja-JP" altLang="en-US" sz="1200" dirty="0"/>
              <a:t>日時点</a:t>
            </a:r>
            <a:endParaRPr lang="en-US" altLang="ja-JP" sz="1200" dirty="0"/>
          </a:p>
        </p:txBody>
      </p:sp>
      <p:graphicFrame>
        <p:nvGraphicFramePr>
          <p:cNvPr id="6" name="Table 22">
            <a:extLst>
              <a:ext uri="{FF2B5EF4-FFF2-40B4-BE49-F238E27FC236}">
                <a16:creationId xmlns:a16="http://schemas.microsoft.com/office/drawing/2014/main" id="{CB5C13AA-FCEB-E7F6-2F09-9E4702D75F48}"/>
              </a:ext>
            </a:extLst>
          </p:cNvPr>
          <p:cNvGraphicFramePr>
            <a:graphicFrameLocks noGrp="1"/>
          </p:cNvGraphicFramePr>
          <p:nvPr>
            <p:extLst>
              <p:ext uri="{D42A27DB-BD31-4B8C-83A1-F6EECF244321}">
                <p14:modId xmlns:p14="http://schemas.microsoft.com/office/powerpoint/2010/main" val="2707255603"/>
              </p:ext>
            </p:extLst>
          </p:nvPr>
        </p:nvGraphicFramePr>
        <p:xfrm>
          <a:off x="140789" y="1929647"/>
          <a:ext cx="4731854" cy="4846320"/>
        </p:xfrm>
        <a:graphic>
          <a:graphicData uri="http://schemas.openxmlformats.org/drawingml/2006/table">
            <a:tbl>
              <a:tblPr firstRow="1" bandRow="1">
                <a:tableStyleId>{21E4AEA4-8DFA-4A89-87EB-49C32662AFE0}</a:tableStyleId>
              </a:tblPr>
              <a:tblGrid>
                <a:gridCol w="1059650">
                  <a:extLst>
                    <a:ext uri="{9D8B030D-6E8A-4147-A177-3AD203B41FA5}">
                      <a16:colId xmlns:a16="http://schemas.microsoft.com/office/drawing/2014/main" val="3236477144"/>
                    </a:ext>
                  </a:extLst>
                </a:gridCol>
                <a:gridCol w="504825">
                  <a:extLst>
                    <a:ext uri="{9D8B030D-6E8A-4147-A177-3AD203B41FA5}">
                      <a16:colId xmlns:a16="http://schemas.microsoft.com/office/drawing/2014/main" val="277711481"/>
                    </a:ext>
                  </a:extLst>
                </a:gridCol>
                <a:gridCol w="3167379">
                  <a:extLst>
                    <a:ext uri="{9D8B030D-6E8A-4147-A177-3AD203B41FA5}">
                      <a16:colId xmlns:a16="http://schemas.microsoft.com/office/drawing/2014/main" val="1162593097"/>
                    </a:ext>
                  </a:extLst>
                </a:gridCol>
              </a:tblGrid>
              <a:tr h="180260">
                <a:tc>
                  <a:txBody>
                    <a:bodyPr/>
                    <a:lstStyle/>
                    <a:p>
                      <a:r>
                        <a:rPr lang="ja-JP" altLang="en-US" sz="1100">
                          <a:latin typeface="+mn-lt"/>
                        </a:rPr>
                        <a:t>テーマ</a:t>
                      </a:r>
                      <a:endParaRPr lang="en-US" sz="1100">
                        <a:latin typeface="+mn-lt"/>
                      </a:endParaRPr>
                    </a:p>
                  </a:txBody>
                  <a:tcPr/>
                </a:tc>
                <a:tc>
                  <a:txBody>
                    <a:bodyPr/>
                    <a:lstStyle/>
                    <a:p>
                      <a:r>
                        <a:rPr lang="ja-JP" altLang="en-US" sz="1100">
                          <a:latin typeface="+mn-lt"/>
                        </a:rPr>
                        <a:t>人数</a:t>
                      </a:r>
                      <a:endParaRPr lang="en-US" sz="1100">
                        <a:latin typeface="+mn-lt"/>
                      </a:endParaRPr>
                    </a:p>
                  </a:txBody>
                  <a:tcPr/>
                </a:tc>
                <a:tc>
                  <a:txBody>
                    <a:bodyPr/>
                    <a:lstStyle/>
                    <a:p>
                      <a:r>
                        <a:rPr lang="ja-JP" altLang="en-US" sz="1100">
                          <a:latin typeface="+mn-lt"/>
                        </a:rPr>
                        <a:t>議論中の論点・これまでのご意見</a:t>
                      </a:r>
                      <a:endParaRPr lang="en-US" sz="1100">
                        <a:latin typeface="+mn-lt"/>
                      </a:endParaRPr>
                    </a:p>
                  </a:txBody>
                  <a:tcPr/>
                </a:tc>
                <a:extLst>
                  <a:ext uri="{0D108BD9-81ED-4DB2-BD59-A6C34878D82A}">
                    <a16:rowId xmlns:a16="http://schemas.microsoft.com/office/drawing/2014/main" val="400498275"/>
                  </a:ext>
                </a:extLst>
              </a:tr>
              <a:tr h="530177">
                <a:tc>
                  <a:txBody>
                    <a:bodyPr/>
                    <a:lstStyle/>
                    <a:p>
                      <a:r>
                        <a:rPr lang="ja-JP" altLang="en-US" sz="1100">
                          <a:latin typeface="+mn-lt"/>
                        </a:rPr>
                        <a:t>①住宅</a:t>
                      </a:r>
                      <a:endParaRPr lang="en-US" sz="1100">
                        <a:latin typeface="+mn-lt"/>
                      </a:endParaRPr>
                    </a:p>
                  </a:txBody>
                  <a:tcPr/>
                </a:tc>
                <a:tc>
                  <a:txBody>
                    <a:bodyPr/>
                    <a:lstStyle/>
                    <a:p>
                      <a:r>
                        <a:rPr lang="en-US" sz="1100" dirty="0">
                          <a:solidFill>
                            <a:schemeClr val="tx1"/>
                          </a:solidFill>
                          <a:latin typeface="+mn-lt"/>
                        </a:rPr>
                        <a:t>12</a:t>
                      </a:r>
                      <a:r>
                        <a:rPr lang="en-US" altLang="ja-JP" sz="1100" dirty="0">
                          <a:solidFill>
                            <a:schemeClr val="tx1"/>
                          </a:solidFill>
                          <a:latin typeface="+mn-lt"/>
                        </a:rPr>
                        <a:t>6</a:t>
                      </a:r>
                      <a:endParaRPr lang="en-US" sz="1100" dirty="0">
                        <a:solidFill>
                          <a:schemeClr val="tx1"/>
                        </a:solidFill>
                        <a:latin typeface="+mn-lt"/>
                      </a:endParaRPr>
                    </a:p>
                  </a:txBody>
                  <a:tcPr/>
                </a:tc>
                <a:tc>
                  <a:txBody>
                    <a:bodyPr/>
                    <a:lstStyle/>
                    <a:p>
                      <a:pPr marL="323850" marR="0" lvl="1" indent="-215900" algn="l" defTabSz="914400" rtl="0" eaLnBrk="1" fontAlgn="base"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mn-lt"/>
                          <a:ea typeface="+mn-ea"/>
                          <a:cs typeface="+mn-cs"/>
                        </a:rPr>
                        <a:t>消費者にとってストック（既存住宅）の省エネ化の優先度を向上させる取組方法の策定</a:t>
                      </a:r>
                      <a:endParaRPr kumimoji="0" lang="en-US" altLang="ja-JP" sz="1100" b="0" i="0" u="none" strike="noStrike" kern="1200" cap="none" spc="0" normalizeH="0" baseline="0" noProof="0">
                        <a:ln>
                          <a:noFill/>
                        </a:ln>
                        <a:solidFill>
                          <a:schemeClr val="tx1"/>
                        </a:solidFill>
                        <a:effectLst/>
                        <a:uLnTx/>
                        <a:uFillTx/>
                        <a:latin typeface="+mn-lt"/>
                        <a:ea typeface="+mn-ea"/>
                        <a:cs typeface="+mn-cs"/>
                      </a:endParaRPr>
                    </a:p>
                    <a:p>
                      <a:pPr marL="323850" marR="0" lvl="1" indent="-215900" algn="l" defTabSz="914400" rtl="0" eaLnBrk="1" fontAlgn="base"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mn-lt"/>
                          <a:ea typeface="+mn-ea"/>
                          <a:cs typeface="+mn-cs"/>
                        </a:rPr>
                        <a:t>断熱における課題の特定と、消費者の関心を高める効果的な訴求方法の検討</a:t>
                      </a:r>
                    </a:p>
                  </a:txBody>
                  <a:tcPr/>
                </a:tc>
                <a:extLst>
                  <a:ext uri="{0D108BD9-81ED-4DB2-BD59-A6C34878D82A}">
                    <a16:rowId xmlns:a16="http://schemas.microsoft.com/office/drawing/2014/main" val="2454124290"/>
                  </a:ext>
                </a:extLst>
              </a:tr>
              <a:tr h="353975">
                <a:tc>
                  <a:txBody>
                    <a:bodyPr/>
                    <a:lstStyle/>
                    <a:p>
                      <a:r>
                        <a:rPr lang="ja-JP" altLang="en-US" sz="1100">
                          <a:latin typeface="+mn-lt"/>
                        </a:rPr>
                        <a:t>②インセンティブ</a:t>
                      </a:r>
                      <a:r>
                        <a:rPr lang="en-US" altLang="ja-JP" sz="1100">
                          <a:latin typeface="+mn-lt"/>
                        </a:rPr>
                        <a:t>/</a:t>
                      </a:r>
                      <a:r>
                        <a:rPr lang="ja-JP" altLang="en-US" sz="1100">
                          <a:latin typeface="+mn-lt"/>
                        </a:rPr>
                        <a:t>ポイント</a:t>
                      </a:r>
                      <a:endParaRPr lang="en-US" sz="1100">
                        <a:latin typeface="+mn-lt"/>
                      </a:endParaRPr>
                    </a:p>
                  </a:txBody>
                  <a:tcPr/>
                </a:tc>
                <a:tc>
                  <a:txBody>
                    <a:bodyPr/>
                    <a:lstStyle/>
                    <a:p>
                      <a:r>
                        <a:rPr lang="en-US" sz="1100" dirty="0">
                          <a:solidFill>
                            <a:schemeClr val="tx1"/>
                          </a:solidFill>
                          <a:latin typeface="+mn-lt"/>
                        </a:rPr>
                        <a:t>138</a:t>
                      </a:r>
                    </a:p>
                  </a:txBody>
                  <a:tcPr/>
                </a:tc>
                <a:tc>
                  <a:txBody>
                    <a:bodyPr/>
                    <a:lstStyle/>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dirty="0">
                          <a:ln>
                            <a:noFill/>
                          </a:ln>
                          <a:solidFill>
                            <a:schemeClr val="tx1"/>
                          </a:solidFill>
                          <a:effectLst/>
                          <a:uLnTx/>
                          <a:uFillTx/>
                          <a:latin typeface="+mn-lt"/>
                          <a:ea typeface="+mn-ea"/>
                          <a:cs typeface="+mn-cs"/>
                        </a:rPr>
                        <a:t>インセンティブを用いた脱炭素の啓発方法検討</a:t>
                      </a:r>
                    </a:p>
                  </a:txBody>
                  <a:tcPr/>
                </a:tc>
                <a:extLst>
                  <a:ext uri="{0D108BD9-81ED-4DB2-BD59-A6C34878D82A}">
                    <a16:rowId xmlns:a16="http://schemas.microsoft.com/office/drawing/2014/main" val="1620523583"/>
                  </a:ext>
                </a:extLst>
              </a:tr>
              <a:tr h="413538">
                <a:tc>
                  <a:txBody>
                    <a:bodyPr/>
                    <a:lstStyle/>
                    <a:p>
                      <a:r>
                        <a:rPr lang="ja-JP" altLang="en-US" sz="1100">
                          <a:latin typeface="+mn-lt"/>
                        </a:rPr>
                        <a:t>③モビリティ</a:t>
                      </a:r>
                      <a:endParaRPr lang="en-US" sz="1100">
                        <a:latin typeface="+mn-lt"/>
                      </a:endParaRPr>
                    </a:p>
                  </a:txBody>
                  <a:tcPr/>
                </a:tc>
                <a:tc>
                  <a:txBody>
                    <a:bodyPr/>
                    <a:lstStyle/>
                    <a:p>
                      <a:r>
                        <a:rPr lang="en-US" altLang="ja-JP" sz="1100" dirty="0">
                          <a:solidFill>
                            <a:schemeClr val="tx1"/>
                          </a:solidFill>
                          <a:latin typeface="+mn-lt"/>
                        </a:rPr>
                        <a:t>97</a:t>
                      </a:r>
                      <a:endParaRPr lang="en-US" sz="1100" dirty="0">
                        <a:solidFill>
                          <a:schemeClr val="tx1"/>
                        </a:solidFill>
                        <a:latin typeface="+mn-lt"/>
                      </a:endParaRPr>
                    </a:p>
                  </a:txBody>
                  <a:tcPr/>
                </a:tc>
                <a:tc>
                  <a:txBody>
                    <a:bodyPr/>
                    <a:lstStyle/>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mn-lt"/>
                          <a:ea typeface="+mn-ea"/>
                          <a:cs typeface="+mn-cs"/>
                        </a:rPr>
                        <a:t>ユーザーがエコドライブ等の取組を自発的、もしくは能動的に実施可能な仕組みの形成方法検討</a:t>
                      </a:r>
                      <a:endParaRPr kumimoji="0" lang="en-US" altLang="ja-JP" sz="1100" b="0" i="0" u="none" strike="noStrike" kern="1200" cap="none" spc="0" normalizeH="0" baseline="0" noProof="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3647149356"/>
                  </a:ext>
                </a:extLst>
              </a:tr>
              <a:tr h="530177">
                <a:tc>
                  <a:txBody>
                    <a:bodyPr/>
                    <a:lstStyle/>
                    <a:p>
                      <a:r>
                        <a:rPr lang="ja-JP" altLang="en-US" sz="1100">
                          <a:latin typeface="+mn-lt"/>
                        </a:rPr>
                        <a:t>④食</a:t>
                      </a:r>
                      <a:endParaRPr lang="en-US" sz="1100">
                        <a:latin typeface="+mn-lt"/>
                      </a:endParaRPr>
                    </a:p>
                  </a:txBody>
                  <a:tcPr/>
                </a:tc>
                <a:tc>
                  <a:txBody>
                    <a:bodyPr/>
                    <a:lstStyle/>
                    <a:p>
                      <a:r>
                        <a:rPr lang="en-US" altLang="ja-JP" sz="1100" dirty="0">
                          <a:solidFill>
                            <a:schemeClr val="tx1"/>
                          </a:solidFill>
                          <a:latin typeface="+mn-lt"/>
                        </a:rPr>
                        <a:t>94</a:t>
                      </a:r>
                      <a:endParaRPr lang="en-US" sz="1100" dirty="0">
                        <a:solidFill>
                          <a:schemeClr val="tx1"/>
                        </a:solidFill>
                        <a:latin typeface="+mn-lt"/>
                      </a:endParaRPr>
                    </a:p>
                  </a:txBody>
                  <a:tcPr/>
                </a:tc>
                <a:tc>
                  <a:txBody>
                    <a:bodyPr/>
                    <a:lstStyle/>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mn-lt"/>
                          <a:ea typeface="+mn-ea"/>
                          <a:cs typeface="+mn-cs"/>
                        </a:rPr>
                        <a:t>企業間連携により、自律分散型の地産地消を実現できる具体手段の検討</a:t>
                      </a:r>
                      <a:endParaRPr kumimoji="0" lang="en-US" altLang="ja-JP" sz="1100" b="0" i="0" u="none" strike="noStrike" kern="1200" cap="none" spc="0" normalizeH="0" baseline="0" noProof="0">
                        <a:ln>
                          <a:noFill/>
                        </a:ln>
                        <a:solidFill>
                          <a:schemeClr val="tx1"/>
                        </a:solidFill>
                        <a:effectLst/>
                        <a:uLnTx/>
                        <a:uFillTx/>
                        <a:latin typeface="+mn-lt"/>
                        <a:ea typeface="+mn-ea"/>
                        <a:cs typeface="+mn-cs"/>
                      </a:endParaRPr>
                    </a:p>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mn-lt"/>
                          <a:ea typeface="+mn-ea"/>
                          <a:cs typeface="+mn-cs"/>
                        </a:rPr>
                        <a:t>食の生産、物流の中で、最も脱炭素へのインパクトが大きい分野の特定</a:t>
                      </a:r>
                    </a:p>
                  </a:txBody>
                  <a:tcPr/>
                </a:tc>
                <a:extLst>
                  <a:ext uri="{0D108BD9-81ED-4DB2-BD59-A6C34878D82A}">
                    <a16:rowId xmlns:a16="http://schemas.microsoft.com/office/drawing/2014/main" val="1466079133"/>
                  </a:ext>
                </a:extLst>
              </a:tr>
              <a:tr h="413538">
                <a:tc>
                  <a:txBody>
                    <a:bodyPr/>
                    <a:lstStyle/>
                    <a:p>
                      <a:r>
                        <a:rPr lang="ja-JP" altLang="en-US" sz="1100">
                          <a:latin typeface="+mn-lt"/>
                        </a:rPr>
                        <a:t>⑤宅配</a:t>
                      </a:r>
                      <a:r>
                        <a:rPr lang="en-US" altLang="ja-JP" sz="1100">
                          <a:latin typeface="+mn-lt"/>
                        </a:rPr>
                        <a:t>/</a:t>
                      </a:r>
                      <a:r>
                        <a:rPr lang="ja-JP" altLang="en-US" sz="1100">
                          <a:latin typeface="+mn-lt"/>
                        </a:rPr>
                        <a:t>通販</a:t>
                      </a:r>
                      <a:endParaRPr lang="en-US" sz="1100">
                        <a:latin typeface="+mn-lt"/>
                      </a:endParaRPr>
                    </a:p>
                  </a:txBody>
                  <a:tcPr/>
                </a:tc>
                <a:tc>
                  <a:txBody>
                    <a:bodyPr/>
                    <a:lstStyle/>
                    <a:p>
                      <a:r>
                        <a:rPr lang="en-US" sz="1100" dirty="0">
                          <a:solidFill>
                            <a:schemeClr val="tx1"/>
                          </a:solidFill>
                          <a:latin typeface="+mn-lt"/>
                        </a:rPr>
                        <a:t>67</a:t>
                      </a:r>
                    </a:p>
                  </a:txBody>
                  <a:tcPr/>
                </a:tc>
                <a:tc>
                  <a:txBody>
                    <a:bodyPr/>
                    <a:lstStyle/>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mn-lt"/>
                          <a:ea typeface="+mn-ea"/>
                          <a:cs typeface="+mn-cs"/>
                        </a:rPr>
                        <a:t>エコドライブの訴求方法検討</a:t>
                      </a:r>
                      <a:endParaRPr kumimoji="0" lang="en-US" altLang="ja-JP" sz="1100" b="0" i="0" u="none" strike="noStrike" kern="1200" cap="none" spc="0" normalizeH="0" baseline="0" noProof="0">
                        <a:ln>
                          <a:noFill/>
                        </a:ln>
                        <a:solidFill>
                          <a:schemeClr val="tx1"/>
                        </a:solidFill>
                        <a:effectLst/>
                        <a:uLnTx/>
                        <a:uFillTx/>
                        <a:latin typeface="+mn-lt"/>
                        <a:ea typeface="+mn-ea"/>
                        <a:cs typeface="+mn-cs"/>
                      </a:endParaRPr>
                    </a:p>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mn-lt"/>
                          <a:ea typeface="+mn-ea"/>
                          <a:cs typeface="+mn-cs"/>
                        </a:rPr>
                        <a:t>利用者の利便性と環境への配慮の判断軸の策定</a:t>
                      </a:r>
                    </a:p>
                  </a:txBody>
                  <a:tcPr/>
                </a:tc>
                <a:extLst>
                  <a:ext uri="{0D108BD9-81ED-4DB2-BD59-A6C34878D82A}">
                    <a16:rowId xmlns:a16="http://schemas.microsoft.com/office/drawing/2014/main" val="1592274779"/>
                  </a:ext>
                </a:extLst>
              </a:tr>
              <a:tr h="296899">
                <a:tc>
                  <a:txBody>
                    <a:bodyPr/>
                    <a:lstStyle/>
                    <a:p>
                      <a:r>
                        <a:rPr lang="ja-JP" altLang="en-US" sz="1100">
                          <a:latin typeface="+mn-lt"/>
                        </a:rPr>
                        <a:t>⑥サステナブル</a:t>
                      </a:r>
                      <a:br>
                        <a:rPr lang="en-US" altLang="ja-JP" sz="1100">
                          <a:latin typeface="+mn-lt"/>
                        </a:rPr>
                      </a:br>
                      <a:r>
                        <a:rPr lang="ja-JP" altLang="en-US" sz="1100">
                          <a:latin typeface="+mn-lt"/>
                        </a:rPr>
                        <a:t>　 ファッション</a:t>
                      </a:r>
                      <a:endParaRPr lang="en-US" sz="1100">
                        <a:latin typeface="+mn-lt"/>
                      </a:endParaRPr>
                    </a:p>
                  </a:txBody>
                  <a:tcPr/>
                </a:tc>
                <a:tc>
                  <a:txBody>
                    <a:bodyPr/>
                    <a:lstStyle/>
                    <a:p>
                      <a:r>
                        <a:rPr lang="en-US" sz="1100" dirty="0">
                          <a:solidFill>
                            <a:schemeClr val="tx1"/>
                          </a:solidFill>
                          <a:latin typeface="+mn-lt"/>
                        </a:rPr>
                        <a:t>73</a:t>
                      </a:r>
                    </a:p>
                  </a:txBody>
                  <a:tcPr/>
                </a:tc>
                <a:tc>
                  <a:txBody>
                    <a:bodyPr/>
                    <a:lstStyle/>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mn-lt"/>
                          <a:ea typeface="+mn-ea"/>
                          <a:cs typeface="+mn-cs"/>
                        </a:rPr>
                        <a:t>消費者の衣服リサイクルへの意識を向上させる訴求手段・方法の検討</a:t>
                      </a:r>
                      <a:endParaRPr kumimoji="0" lang="en-US" altLang="ja-JP" sz="1100" b="0" i="0" u="none" strike="noStrike" kern="1200" cap="none" spc="0" normalizeH="0" baseline="0" noProof="0">
                        <a:ln>
                          <a:noFill/>
                        </a:ln>
                        <a:solidFill>
                          <a:schemeClr val="tx1"/>
                        </a:solidFill>
                        <a:effectLst/>
                        <a:uLnTx/>
                        <a:uFillTx/>
                        <a:latin typeface="+mn-lt"/>
                        <a:ea typeface="+mn-ea"/>
                        <a:cs typeface="+mn-cs"/>
                      </a:endParaRPr>
                    </a:p>
                  </a:txBody>
                  <a:tcPr/>
                </a:tc>
                <a:extLst>
                  <a:ext uri="{0D108BD9-81ED-4DB2-BD59-A6C34878D82A}">
                    <a16:rowId xmlns:a16="http://schemas.microsoft.com/office/drawing/2014/main" val="608536849"/>
                  </a:ext>
                </a:extLst>
              </a:tr>
              <a:tr h="413538">
                <a:tc>
                  <a:txBody>
                    <a:bodyPr/>
                    <a:lstStyle/>
                    <a:p>
                      <a:r>
                        <a:rPr lang="ja-JP" altLang="en-US" sz="1100">
                          <a:latin typeface="+mn-lt"/>
                        </a:rPr>
                        <a:t>⑦教育</a:t>
                      </a:r>
                      <a:endParaRPr lang="en-US" sz="1100">
                        <a:latin typeface="+mn-lt"/>
                      </a:endParaRPr>
                    </a:p>
                  </a:txBody>
                  <a:tcPr/>
                </a:tc>
                <a:tc>
                  <a:txBody>
                    <a:bodyPr/>
                    <a:lstStyle/>
                    <a:p>
                      <a:r>
                        <a:rPr lang="en-US" sz="1100" dirty="0">
                          <a:solidFill>
                            <a:schemeClr val="tx1"/>
                          </a:solidFill>
                          <a:latin typeface="+mn-lt"/>
                        </a:rPr>
                        <a:t>10</a:t>
                      </a:r>
                      <a:r>
                        <a:rPr lang="en-US" altLang="ja-JP" sz="1100" dirty="0">
                          <a:solidFill>
                            <a:schemeClr val="tx1"/>
                          </a:solidFill>
                          <a:latin typeface="+mn-lt"/>
                        </a:rPr>
                        <a:t>7</a:t>
                      </a:r>
                      <a:endParaRPr lang="en-US" sz="1100" dirty="0">
                        <a:solidFill>
                          <a:schemeClr val="tx1"/>
                        </a:solidFill>
                        <a:latin typeface="+mn-lt"/>
                      </a:endParaRPr>
                    </a:p>
                  </a:txBody>
                  <a:tcPr/>
                </a:tc>
                <a:tc>
                  <a:txBody>
                    <a:bodyPr/>
                    <a:lstStyle/>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mn-lt"/>
                          <a:ea typeface="+mn-ea"/>
                          <a:cs typeface="+mn-cs"/>
                        </a:rPr>
                        <a:t>従業員へ向けた学習環境の整備方法の検討</a:t>
                      </a:r>
                      <a:endParaRPr kumimoji="0" lang="en-US" altLang="ja-JP" sz="1100" b="0" i="0" u="none" strike="noStrike" kern="1200" cap="none" spc="0" normalizeH="0" baseline="0" noProof="0">
                        <a:ln>
                          <a:noFill/>
                        </a:ln>
                        <a:solidFill>
                          <a:schemeClr val="tx1"/>
                        </a:solidFill>
                        <a:effectLst/>
                        <a:uLnTx/>
                        <a:uFillTx/>
                        <a:latin typeface="+mn-lt"/>
                        <a:ea typeface="+mn-ea"/>
                        <a:cs typeface="+mn-cs"/>
                      </a:endParaRPr>
                    </a:p>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mn-lt"/>
                          <a:ea typeface="+mn-ea"/>
                          <a:cs typeface="+mn-cs"/>
                        </a:rPr>
                        <a:t>子供が自分ごととして行動できる教育方法の策定</a:t>
                      </a:r>
                    </a:p>
                  </a:txBody>
                  <a:tcPr/>
                </a:tc>
                <a:extLst>
                  <a:ext uri="{0D108BD9-81ED-4DB2-BD59-A6C34878D82A}">
                    <a16:rowId xmlns:a16="http://schemas.microsoft.com/office/drawing/2014/main" val="1513112638"/>
                  </a:ext>
                </a:extLst>
              </a:tr>
              <a:tr h="296899">
                <a:tc>
                  <a:txBody>
                    <a:bodyPr/>
                    <a:lstStyle/>
                    <a:p>
                      <a:r>
                        <a:rPr lang="ja-JP" altLang="en-US" sz="1100">
                          <a:latin typeface="+mn-lt"/>
                        </a:rPr>
                        <a:t>⑧</a:t>
                      </a:r>
                      <a:r>
                        <a:rPr lang="en-US" altLang="ja-JP" sz="1100">
                          <a:latin typeface="+mn-lt"/>
                        </a:rPr>
                        <a:t>GHG</a:t>
                      </a:r>
                      <a:br>
                        <a:rPr lang="en-US" altLang="ja-JP" sz="1100">
                          <a:latin typeface="+mn-lt"/>
                        </a:rPr>
                      </a:br>
                      <a:r>
                        <a:rPr lang="ja-JP" altLang="en-US" sz="1100">
                          <a:latin typeface="+mn-lt"/>
                        </a:rPr>
                        <a:t>　見える化</a:t>
                      </a:r>
                      <a:endParaRPr lang="en-US" sz="1100">
                        <a:latin typeface="+mn-lt"/>
                      </a:endParaRPr>
                    </a:p>
                  </a:txBody>
                  <a:tcPr/>
                </a:tc>
                <a:tc>
                  <a:txBody>
                    <a:bodyPr/>
                    <a:lstStyle/>
                    <a:p>
                      <a:r>
                        <a:rPr lang="en-US" sz="1100" dirty="0">
                          <a:solidFill>
                            <a:schemeClr val="tx1"/>
                          </a:solidFill>
                          <a:latin typeface="+mn-lt"/>
                        </a:rPr>
                        <a:t>14</a:t>
                      </a:r>
                      <a:r>
                        <a:rPr lang="en-US" altLang="ja-JP" sz="1100" dirty="0">
                          <a:solidFill>
                            <a:schemeClr val="tx1"/>
                          </a:solidFill>
                          <a:latin typeface="+mn-lt"/>
                        </a:rPr>
                        <a:t>9</a:t>
                      </a:r>
                      <a:endParaRPr lang="en-US" sz="1100" dirty="0">
                        <a:solidFill>
                          <a:schemeClr val="tx1"/>
                        </a:solidFill>
                        <a:latin typeface="+mn-lt"/>
                      </a:endParaRPr>
                    </a:p>
                  </a:txBody>
                  <a:tcPr/>
                </a:tc>
                <a:tc>
                  <a:txBody>
                    <a:bodyPr/>
                    <a:lstStyle/>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dirty="0">
                          <a:ln>
                            <a:noFill/>
                          </a:ln>
                          <a:solidFill>
                            <a:schemeClr val="tx1"/>
                          </a:solidFill>
                          <a:effectLst/>
                          <a:uLnTx/>
                          <a:uFillTx/>
                          <a:latin typeface="+mn-lt"/>
                          <a:ea typeface="+mn-ea"/>
                          <a:cs typeface="+mn-cs"/>
                        </a:rPr>
                        <a:t>見える化から、行動変容に繋がる仕組みの策定</a:t>
                      </a:r>
                    </a:p>
                  </a:txBody>
                  <a:tcPr/>
                </a:tc>
                <a:extLst>
                  <a:ext uri="{0D108BD9-81ED-4DB2-BD59-A6C34878D82A}">
                    <a16:rowId xmlns:a16="http://schemas.microsoft.com/office/drawing/2014/main" val="1086491338"/>
                  </a:ext>
                </a:extLst>
              </a:tr>
            </a:tbl>
          </a:graphicData>
        </a:graphic>
      </p:graphicFrame>
      <p:graphicFrame>
        <p:nvGraphicFramePr>
          <p:cNvPr id="7" name="Table 22">
            <a:extLst>
              <a:ext uri="{FF2B5EF4-FFF2-40B4-BE49-F238E27FC236}">
                <a16:creationId xmlns:a16="http://schemas.microsoft.com/office/drawing/2014/main" id="{BA459735-FDD4-D488-A288-93A080B6CEED}"/>
              </a:ext>
            </a:extLst>
          </p:cNvPr>
          <p:cNvGraphicFramePr>
            <a:graphicFrameLocks noGrp="1"/>
          </p:cNvGraphicFramePr>
          <p:nvPr>
            <p:extLst>
              <p:ext uri="{D42A27DB-BD31-4B8C-83A1-F6EECF244321}">
                <p14:modId xmlns:p14="http://schemas.microsoft.com/office/powerpoint/2010/main" val="383661021"/>
              </p:ext>
            </p:extLst>
          </p:nvPr>
        </p:nvGraphicFramePr>
        <p:xfrm>
          <a:off x="5037295" y="1929646"/>
          <a:ext cx="4731854" cy="4663440"/>
        </p:xfrm>
        <a:graphic>
          <a:graphicData uri="http://schemas.openxmlformats.org/drawingml/2006/table">
            <a:tbl>
              <a:tblPr firstRow="1" bandRow="1">
                <a:tableStyleId>{21E4AEA4-8DFA-4A89-87EB-49C32662AFE0}</a:tableStyleId>
              </a:tblPr>
              <a:tblGrid>
                <a:gridCol w="1144430">
                  <a:extLst>
                    <a:ext uri="{9D8B030D-6E8A-4147-A177-3AD203B41FA5}">
                      <a16:colId xmlns:a16="http://schemas.microsoft.com/office/drawing/2014/main" val="3236477144"/>
                    </a:ext>
                  </a:extLst>
                </a:gridCol>
                <a:gridCol w="514350">
                  <a:extLst>
                    <a:ext uri="{9D8B030D-6E8A-4147-A177-3AD203B41FA5}">
                      <a16:colId xmlns:a16="http://schemas.microsoft.com/office/drawing/2014/main" val="277711481"/>
                    </a:ext>
                  </a:extLst>
                </a:gridCol>
                <a:gridCol w="3073074">
                  <a:extLst>
                    <a:ext uri="{9D8B030D-6E8A-4147-A177-3AD203B41FA5}">
                      <a16:colId xmlns:a16="http://schemas.microsoft.com/office/drawing/2014/main" val="1162593097"/>
                    </a:ext>
                  </a:extLst>
                </a:gridCol>
              </a:tblGrid>
              <a:tr h="148876">
                <a:tc>
                  <a:txBody>
                    <a:bodyPr/>
                    <a:lstStyle/>
                    <a:p>
                      <a:r>
                        <a:rPr lang="ja-JP" altLang="en-US" sz="1100">
                          <a:latin typeface="+mn-lt"/>
                        </a:rPr>
                        <a:t>テーマ</a:t>
                      </a:r>
                      <a:endParaRPr lang="en-US" sz="1100">
                        <a:latin typeface="+mn-lt"/>
                      </a:endParaRPr>
                    </a:p>
                  </a:txBody>
                  <a:tcPr/>
                </a:tc>
                <a:tc>
                  <a:txBody>
                    <a:bodyPr/>
                    <a:lstStyle/>
                    <a:p>
                      <a:r>
                        <a:rPr lang="ja-JP" altLang="en-US" sz="1100">
                          <a:latin typeface="+mn-lt"/>
                        </a:rPr>
                        <a:t>人数</a:t>
                      </a:r>
                      <a:endParaRPr lang="en-US" sz="1100">
                        <a:latin typeface="+mn-lt"/>
                      </a:endParaRPr>
                    </a:p>
                  </a:txBody>
                  <a:tcPr/>
                </a:tc>
                <a:tc>
                  <a:txBody>
                    <a:bodyPr/>
                    <a:lstStyle/>
                    <a:p>
                      <a:pPr marL="0" marR="0" lvl="0" indent="0" algn="l" defTabSz="914429" rtl="0" eaLnBrk="1" fontAlgn="auto" latinLnBrk="0" hangingPunct="1">
                        <a:lnSpc>
                          <a:spcPct val="100000"/>
                        </a:lnSpc>
                        <a:spcBef>
                          <a:spcPts val="0"/>
                        </a:spcBef>
                        <a:spcAft>
                          <a:spcPts val="0"/>
                        </a:spcAft>
                        <a:buClrTx/>
                        <a:buSzTx/>
                        <a:buFontTx/>
                        <a:buNone/>
                        <a:tabLst/>
                        <a:defRPr/>
                      </a:pPr>
                      <a:r>
                        <a:rPr lang="ja-JP" altLang="en-US" sz="1100">
                          <a:latin typeface="+mn-lt"/>
                        </a:rPr>
                        <a:t>議論中の論点・これまでのご意見</a:t>
                      </a:r>
                      <a:endParaRPr lang="en-US" altLang="ja-JP" sz="1100">
                        <a:latin typeface="+mn-lt"/>
                      </a:endParaRPr>
                    </a:p>
                  </a:txBody>
                  <a:tcPr/>
                </a:tc>
                <a:extLst>
                  <a:ext uri="{0D108BD9-81ED-4DB2-BD59-A6C34878D82A}">
                    <a16:rowId xmlns:a16="http://schemas.microsoft.com/office/drawing/2014/main" val="400498275"/>
                  </a:ext>
                </a:extLst>
              </a:tr>
              <a:tr h="534202">
                <a:tc>
                  <a:txBody>
                    <a:bodyPr/>
                    <a:lstStyle/>
                    <a:p>
                      <a:r>
                        <a:rPr lang="ja-JP" altLang="en-US" sz="1100">
                          <a:latin typeface="+mn-lt"/>
                        </a:rPr>
                        <a:t>⑨プラスチック</a:t>
                      </a:r>
                      <a:endParaRPr lang="en-US" sz="1100">
                        <a:latin typeface="+mn-lt"/>
                      </a:endParaRPr>
                    </a:p>
                  </a:txBody>
                  <a:tcPr/>
                </a:tc>
                <a:tc>
                  <a:txBody>
                    <a:bodyPr/>
                    <a:lstStyle/>
                    <a:p>
                      <a:r>
                        <a:rPr lang="en-US" sz="1100" dirty="0">
                          <a:solidFill>
                            <a:schemeClr val="tx1"/>
                          </a:solidFill>
                          <a:latin typeface="+mn-lt"/>
                        </a:rPr>
                        <a:t>9</a:t>
                      </a:r>
                      <a:r>
                        <a:rPr lang="en-US" altLang="ja-JP" sz="1100" dirty="0">
                          <a:solidFill>
                            <a:schemeClr val="tx1"/>
                          </a:solidFill>
                          <a:latin typeface="+mn-lt"/>
                        </a:rPr>
                        <a:t>3</a:t>
                      </a:r>
                      <a:endParaRPr lang="en-US" sz="1100" dirty="0">
                        <a:solidFill>
                          <a:schemeClr val="tx1"/>
                        </a:solidFill>
                        <a:latin typeface="+mn-lt"/>
                      </a:endParaRPr>
                    </a:p>
                  </a:txBody>
                  <a:tcPr/>
                </a:tc>
                <a:tc>
                  <a:txBody>
                    <a:bodyPr/>
                    <a:lstStyle/>
                    <a:p>
                      <a:pPr marL="323850" marR="0" lvl="1" indent="-215900" algn="l" defTabSz="914400" rtl="0" eaLnBrk="1" fontAlgn="base"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Trebuchet MS"/>
                          <a:ea typeface="+mn-ea"/>
                          <a:cs typeface="+mn-cs"/>
                        </a:rPr>
                        <a:t>リサイクルの原料収集、原料の選別等の、リサイクルの各工程における課題の特定</a:t>
                      </a:r>
                      <a:endParaRPr kumimoji="0" lang="en-US" altLang="ja-JP" sz="1100" b="0" i="0" u="none" strike="noStrike" kern="1200" cap="none" spc="0" normalizeH="0" baseline="0" noProof="0">
                        <a:ln>
                          <a:noFill/>
                        </a:ln>
                        <a:solidFill>
                          <a:schemeClr val="tx1"/>
                        </a:solidFill>
                        <a:effectLst/>
                        <a:uLnTx/>
                        <a:uFillTx/>
                        <a:latin typeface="Trebuchet MS"/>
                        <a:ea typeface="+mn-ea"/>
                        <a:cs typeface="+mn-cs"/>
                      </a:endParaRPr>
                    </a:p>
                    <a:p>
                      <a:pPr marL="323850" marR="0" lvl="1" indent="-215900" algn="l" defTabSz="914400" rtl="0" eaLnBrk="1" fontAlgn="base"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Trebuchet MS"/>
                          <a:ea typeface="+mn-ea"/>
                          <a:cs typeface="+mn-cs"/>
                        </a:rPr>
                        <a:t>上記を解決する技術・運用方法の共有・策定</a:t>
                      </a:r>
                      <a:endParaRPr kumimoji="0" lang="en-US" altLang="ja-JP" sz="1100" b="0" i="0" u="none" strike="noStrike" kern="1200" cap="none" spc="0" normalizeH="0" baseline="0" noProof="0">
                        <a:ln>
                          <a:noFill/>
                        </a:ln>
                        <a:solidFill>
                          <a:schemeClr val="tx1"/>
                        </a:solidFill>
                        <a:effectLst/>
                        <a:uLnTx/>
                        <a:uFillTx/>
                        <a:latin typeface="Trebuchet MS"/>
                        <a:ea typeface="+mn-ea"/>
                        <a:cs typeface="+mn-cs"/>
                      </a:endParaRPr>
                    </a:p>
                    <a:p>
                      <a:pPr marL="323850" marR="0" lvl="1" indent="-215900" algn="l" defTabSz="914400" rtl="0" eaLnBrk="1" fontAlgn="base"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Trebuchet MS"/>
                          <a:ea typeface="+mn-ea"/>
                          <a:cs typeface="+mn-cs"/>
                        </a:rPr>
                        <a:t>マイボトル等の、消費者を巻き込んだプラスチック削減方法の策定と、課題の特定</a:t>
                      </a:r>
                    </a:p>
                  </a:txBody>
                  <a:tcPr/>
                </a:tc>
                <a:extLst>
                  <a:ext uri="{0D108BD9-81ED-4DB2-BD59-A6C34878D82A}">
                    <a16:rowId xmlns:a16="http://schemas.microsoft.com/office/drawing/2014/main" val="2454124290"/>
                  </a:ext>
                </a:extLst>
              </a:tr>
              <a:tr h="534202">
                <a:tc>
                  <a:txBody>
                    <a:bodyPr/>
                    <a:lstStyle/>
                    <a:p>
                      <a:r>
                        <a:rPr lang="ja-JP" altLang="en-US" sz="1100">
                          <a:latin typeface="+mn-lt"/>
                        </a:rPr>
                        <a:t>⑩意識啓発</a:t>
                      </a:r>
                      <a:endParaRPr lang="en-US" sz="1100">
                        <a:latin typeface="+mn-lt"/>
                      </a:endParaRPr>
                    </a:p>
                  </a:txBody>
                  <a:tcPr/>
                </a:tc>
                <a:tc>
                  <a:txBody>
                    <a:bodyPr/>
                    <a:lstStyle/>
                    <a:p>
                      <a:r>
                        <a:rPr lang="en-US" sz="1100" dirty="0">
                          <a:solidFill>
                            <a:schemeClr val="tx1"/>
                          </a:solidFill>
                          <a:latin typeface="+mn-lt"/>
                        </a:rPr>
                        <a:t>14</a:t>
                      </a:r>
                      <a:r>
                        <a:rPr lang="en-US" altLang="ja-JP" sz="1100" dirty="0">
                          <a:solidFill>
                            <a:schemeClr val="tx1"/>
                          </a:solidFill>
                          <a:latin typeface="+mn-lt"/>
                        </a:rPr>
                        <a:t>1</a:t>
                      </a:r>
                      <a:endParaRPr lang="en-US" sz="1100" dirty="0">
                        <a:solidFill>
                          <a:schemeClr val="tx1"/>
                        </a:solidFill>
                        <a:latin typeface="+mn-lt"/>
                      </a:endParaRPr>
                    </a:p>
                  </a:txBody>
                  <a:tcPr/>
                </a:tc>
                <a:tc>
                  <a:txBody>
                    <a:bodyPr/>
                    <a:lstStyle/>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dirty="0">
                          <a:ln>
                            <a:noFill/>
                          </a:ln>
                          <a:solidFill>
                            <a:schemeClr val="tx1"/>
                          </a:solidFill>
                          <a:effectLst/>
                          <a:uLnTx/>
                          <a:uFillTx/>
                          <a:latin typeface="Trebuchet MS"/>
                          <a:ea typeface="+mn-ea"/>
                          <a:cs typeface="+mn-cs"/>
                        </a:rPr>
                        <a:t>省エネに対するネガティブイメージを払拭するための対応方針策定</a:t>
                      </a:r>
                      <a:endParaRPr kumimoji="0" lang="en-US" altLang="ja-JP" sz="1100" b="0" i="0" u="none" strike="noStrike" kern="1200" cap="none" spc="0" normalizeH="0" baseline="0" noProof="0" dirty="0">
                        <a:ln>
                          <a:noFill/>
                        </a:ln>
                        <a:solidFill>
                          <a:schemeClr val="tx1"/>
                        </a:solidFill>
                        <a:effectLst/>
                        <a:uLnTx/>
                        <a:uFillTx/>
                        <a:latin typeface="Trebuchet MS"/>
                        <a:ea typeface="+mn-ea"/>
                        <a:cs typeface="+mn-cs"/>
                      </a:endParaRPr>
                    </a:p>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dirty="0">
                          <a:ln>
                            <a:noFill/>
                          </a:ln>
                          <a:solidFill>
                            <a:schemeClr val="tx1"/>
                          </a:solidFill>
                          <a:effectLst/>
                          <a:uLnTx/>
                          <a:uFillTx/>
                          <a:latin typeface="Trebuchet MS"/>
                          <a:ea typeface="+mn-ea"/>
                          <a:cs typeface="+mn-cs"/>
                        </a:rPr>
                        <a:t>知識の蓄積のみならず、環境問題を自分ごととして捉え、行動を促すための啓発方法の策定</a:t>
                      </a:r>
                      <a:endParaRPr kumimoji="0" lang="en-US" altLang="ja-JP" sz="1100" b="0" i="0" u="none" strike="noStrike" kern="1200" cap="none" spc="0" normalizeH="0" baseline="0" noProof="0" dirty="0">
                        <a:ln>
                          <a:noFill/>
                        </a:ln>
                        <a:solidFill>
                          <a:schemeClr val="tx1"/>
                        </a:solidFill>
                        <a:effectLst/>
                        <a:uLnTx/>
                        <a:uFillTx/>
                        <a:latin typeface="Trebuchet MS"/>
                        <a:ea typeface="+mn-ea"/>
                        <a:cs typeface="+mn-cs"/>
                      </a:endParaRPr>
                    </a:p>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dirty="0">
                          <a:ln>
                            <a:noFill/>
                          </a:ln>
                          <a:solidFill>
                            <a:schemeClr val="tx1"/>
                          </a:solidFill>
                          <a:effectLst/>
                          <a:uLnTx/>
                          <a:uFillTx/>
                          <a:latin typeface="Trebuchet MS"/>
                          <a:ea typeface="+mn-ea"/>
                          <a:cs typeface="+mn-cs"/>
                        </a:rPr>
                        <a:t>脱炭素を啓発する適切なターゲットの選定</a:t>
                      </a:r>
                      <a:endParaRPr kumimoji="0" lang="en-US" altLang="ja-JP" sz="1100" b="0" i="0" u="none" strike="noStrike" kern="1200" cap="none" spc="0" normalizeH="0" baseline="0" noProof="0" dirty="0">
                        <a:ln>
                          <a:noFill/>
                        </a:ln>
                        <a:solidFill>
                          <a:schemeClr val="tx1"/>
                        </a:solidFill>
                        <a:effectLst/>
                        <a:uLnTx/>
                        <a:uFillTx/>
                        <a:latin typeface="Trebuchet MS"/>
                        <a:ea typeface="+mn-ea"/>
                        <a:cs typeface="+mn-cs"/>
                      </a:endParaRPr>
                    </a:p>
                  </a:txBody>
                  <a:tcPr/>
                </a:tc>
                <a:extLst>
                  <a:ext uri="{0D108BD9-81ED-4DB2-BD59-A6C34878D82A}">
                    <a16:rowId xmlns:a16="http://schemas.microsoft.com/office/drawing/2014/main" val="1620523583"/>
                  </a:ext>
                </a:extLst>
              </a:tr>
              <a:tr h="341539">
                <a:tc>
                  <a:txBody>
                    <a:bodyPr/>
                    <a:lstStyle/>
                    <a:p>
                      <a:r>
                        <a:rPr lang="ja-JP" altLang="en-US" sz="1100">
                          <a:latin typeface="+mn-lt"/>
                        </a:rPr>
                        <a:t>⑪ワーケーション</a:t>
                      </a:r>
                      <a:endParaRPr lang="en-US" sz="1100">
                        <a:latin typeface="+mn-lt"/>
                      </a:endParaRPr>
                    </a:p>
                  </a:txBody>
                  <a:tcPr/>
                </a:tc>
                <a:tc>
                  <a:txBody>
                    <a:bodyPr/>
                    <a:lstStyle/>
                    <a:p>
                      <a:r>
                        <a:rPr lang="en-US" sz="1100" dirty="0">
                          <a:solidFill>
                            <a:schemeClr val="tx1"/>
                          </a:solidFill>
                          <a:latin typeface="+mn-lt"/>
                        </a:rPr>
                        <a:t>55</a:t>
                      </a:r>
                    </a:p>
                  </a:txBody>
                  <a:tcPr/>
                </a:tc>
                <a:tc>
                  <a:txBody>
                    <a:bodyPr/>
                    <a:lstStyle/>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dirty="0">
                          <a:ln>
                            <a:noFill/>
                          </a:ln>
                          <a:solidFill>
                            <a:schemeClr val="tx1"/>
                          </a:solidFill>
                          <a:effectLst/>
                          <a:uLnTx/>
                          <a:uFillTx/>
                          <a:latin typeface="Trebuchet MS"/>
                          <a:ea typeface="+mn-ea"/>
                          <a:cs typeface="+mn-cs"/>
                        </a:rPr>
                        <a:t>再エネ活用に向けた実証実験とワーケーションを融合した取組事例の共有</a:t>
                      </a:r>
                      <a:endParaRPr kumimoji="0" lang="en-US" altLang="ja-JP" sz="1100" b="0" i="0" u="none" strike="noStrike" kern="1200" cap="none" spc="0" normalizeH="0" baseline="0" noProof="0" dirty="0">
                        <a:ln>
                          <a:noFill/>
                        </a:ln>
                        <a:solidFill>
                          <a:schemeClr val="tx1"/>
                        </a:solidFill>
                        <a:effectLst/>
                        <a:uLnTx/>
                        <a:uFillTx/>
                        <a:latin typeface="Trebuchet MS"/>
                        <a:ea typeface="+mn-ea"/>
                        <a:cs typeface="+mn-cs"/>
                      </a:endParaRPr>
                    </a:p>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dirty="0">
                          <a:ln>
                            <a:noFill/>
                          </a:ln>
                          <a:solidFill>
                            <a:schemeClr val="tx1"/>
                          </a:solidFill>
                          <a:effectLst/>
                          <a:uLnTx/>
                          <a:uFillTx/>
                          <a:latin typeface="Trebuchet MS"/>
                          <a:ea typeface="+mn-ea"/>
                          <a:cs typeface="+mn-cs"/>
                        </a:rPr>
                        <a:t>地域住民との効果的な連携方法の策定</a:t>
                      </a:r>
                      <a:endParaRPr kumimoji="0" lang="en-US" altLang="ja-JP" sz="1100" b="0" i="0" u="none" strike="noStrike" kern="1200" cap="none" spc="0" normalizeH="0" baseline="0" noProof="0" dirty="0">
                        <a:ln>
                          <a:noFill/>
                        </a:ln>
                        <a:solidFill>
                          <a:schemeClr val="tx1"/>
                        </a:solidFill>
                        <a:effectLst/>
                        <a:uLnTx/>
                        <a:uFillTx/>
                        <a:latin typeface="Trebuchet MS"/>
                        <a:ea typeface="+mn-ea"/>
                        <a:cs typeface="+mn-cs"/>
                      </a:endParaRPr>
                    </a:p>
                  </a:txBody>
                  <a:tcPr/>
                </a:tc>
                <a:extLst>
                  <a:ext uri="{0D108BD9-81ED-4DB2-BD59-A6C34878D82A}">
                    <a16:rowId xmlns:a16="http://schemas.microsoft.com/office/drawing/2014/main" val="3647149356"/>
                  </a:ext>
                </a:extLst>
              </a:tr>
              <a:tr h="341539">
                <a:tc>
                  <a:txBody>
                    <a:bodyPr/>
                    <a:lstStyle/>
                    <a:p>
                      <a:r>
                        <a:rPr lang="ja-JP" altLang="en-US" sz="1100">
                          <a:latin typeface="+mn-lt"/>
                        </a:rPr>
                        <a:t>⑫生物</a:t>
                      </a:r>
                      <a:br>
                        <a:rPr lang="en-US" altLang="ja-JP" sz="1100">
                          <a:latin typeface="+mn-lt"/>
                        </a:rPr>
                      </a:br>
                      <a:r>
                        <a:rPr lang="ja-JP" altLang="en-US" sz="1100">
                          <a:latin typeface="+mn-lt"/>
                        </a:rPr>
                        <a:t>　 多様性</a:t>
                      </a:r>
                      <a:endParaRPr lang="en-US" sz="1100">
                        <a:latin typeface="+mn-lt"/>
                      </a:endParaRPr>
                    </a:p>
                  </a:txBody>
                  <a:tcPr/>
                </a:tc>
                <a:tc>
                  <a:txBody>
                    <a:bodyPr/>
                    <a:lstStyle/>
                    <a:p>
                      <a:r>
                        <a:rPr lang="en-US" sz="1100" dirty="0">
                          <a:solidFill>
                            <a:schemeClr val="tx1"/>
                          </a:solidFill>
                          <a:latin typeface="+mn-lt"/>
                        </a:rPr>
                        <a:t>8</a:t>
                      </a:r>
                      <a:r>
                        <a:rPr lang="en-US" altLang="ja-JP" sz="1100" dirty="0">
                          <a:solidFill>
                            <a:schemeClr val="tx1"/>
                          </a:solidFill>
                          <a:latin typeface="+mn-lt"/>
                        </a:rPr>
                        <a:t>7</a:t>
                      </a:r>
                      <a:endParaRPr lang="en-US" sz="1100" dirty="0">
                        <a:solidFill>
                          <a:schemeClr val="tx1"/>
                        </a:solidFill>
                        <a:latin typeface="+mn-lt"/>
                      </a:endParaRPr>
                    </a:p>
                  </a:txBody>
                  <a:tcPr/>
                </a:tc>
                <a:tc>
                  <a:txBody>
                    <a:bodyPr/>
                    <a:lstStyle/>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Trebuchet MS"/>
                          <a:ea typeface="+mn-ea"/>
                          <a:cs typeface="+mn-cs"/>
                        </a:rPr>
                        <a:t>生物多様性の数値化、計算方法の検討</a:t>
                      </a:r>
                      <a:endParaRPr kumimoji="0" lang="en-US" altLang="ja-JP" sz="1100" b="0" i="0" u="none" strike="noStrike" kern="1200" cap="none" spc="0" normalizeH="0" baseline="0" noProof="0">
                        <a:ln>
                          <a:noFill/>
                        </a:ln>
                        <a:solidFill>
                          <a:schemeClr val="tx1"/>
                        </a:solidFill>
                        <a:effectLst/>
                        <a:uLnTx/>
                        <a:uFillTx/>
                        <a:latin typeface="Trebuchet MS"/>
                        <a:ea typeface="+mn-ea"/>
                        <a:cs typeface="+mn-cs"/>
                      </a:endParaRPr>
                    </a:p>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a:ln>
                            <a:noFill/>
                          </a:ln>
                          <a:solidFill>
                            <a:schemeClr val="tx1"/>
                          </a:solidFill>
                          <a:effectLst/>
                          <a:uLnTx/>
                          <a:uFillTx/>
                          <a:latin typeface="Trebuchet MS"/>
                          <a:ea typeface="+mn-ea"/>
                          <a:cs typeface="+mn-cs"/>
                        </a:rPr>
                        <a:t>企業の生物多様性保全に向けた行動指針策定</a:t>
                      </a:r>
                    </a:p>
                  </a:txBody>
                  <a:tcPr/>
                </a:tc>
                <a:extLst>
                  <a:ext uri="{0D108BD9-81ED-4DB2-BD59-A6C34878D82A}">
                    <a16:rowId xmlns:a16="http://schemas.microsoft.com/office/drawing/2014/main" val="1466079133"/>
                  </a:ext>
                </a:extLst>
              </a:tr>
              <a:tr h="437870">
                <a:tc>
                  <a:txBody>
                    <a:bodyPr/>
                    <a:lstStyle/>
                    <a:p>
                      <a:r>
                        <a:rPr lang="ja-JP" altLang="en-US" sz="1100" dirty="0">
                          <a:latin typeface="+mn-lt"/>
                        </a:rPr>
                        <a:t>⑬廃棄物</a:t>
                      </a:r>
                      <a:endParaRPr lang="en-US" sz="1100" dirty="0">
                        <a:latin typeface="+mn-lt"/>
                      </a:endParaRPr>
                    </a:p>
                  </a:txBody>
                  <a:tcPr/>
                </a:tc>
                <a:tc>
                  <a:txBody>
                    <a:bodyPr/>
                    <a:lstStyle/>
                    <a:p>
                      <a:r>
                        <a:rPr lang="en-US" sz="1100" dirty="0">
                          <a:solidFill>
                            <a:schemeClr val="tx1"/>
                          </a:solidFill>
                          <a:latin typeface="+mn-lt"/>
                        </a:rPr>
                        <a:t>9</a:t>
                      </a:r>
                      <a:r>
                        <a:rPr lang="en-US" altLang="ja-JP" sz="1100" dirty="0">
                          <a:solidFill>
                            <a:schemeClr val="tx1"/>
                          </a:solidFill>
                          <a:latin typeface="+mn-lt"/>
                        </a:rPr>
                        <a:t>6</a:t>
                      </a:r>
                      <a:endParaRPr lang="en-US" sz="1100" dirty="0">
                        <a:solidFill>
                          <a:schemeClr val="tx1"/>
                        </a:solidFill>
                        <a:latin typeface="+mn-lt"/>
                      </a:endParaRPr>
                    </a:p>
                  </a:txBody>
                  <a:tcPr/>
                </a:tc>
                <a:tc>
                  <a:txBody>
                    <a:bodyPr/>
                    <a:lstStyle/>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dirty="0">
                          <a:ln>
                            <a:noFill/>
                          </a:ln>
                          <a:solidFill>
                            <a:schemeClr val="tx1"/>
                          </a:solidFill>
                          <a:effectLst/>
                          <a:uLnTx/>
                          <a:uFillTx/>
                          <a:latin typeface="Trebuchet MS"/>
                          <a:ea typeface="+mn-ea"/>
                          <a:cs typeface="+mn-cs"/>
                        </a:rPr>
                        <a:t>廃棄物のリサイクルにおける課題・原因の特定</a:t>
                      </a:r>
                      <a:br>
                        <a:rPr kumimoji="0" lang="en-US" altLang="ja-JP" sz="1100" b="0" i="0" u="none" strike="noStrike" kern="1200" cap="none" spc="0" normalizeH="0" baseline="0" noProof="0" dirty="0">
                          <a:ln>
                            <a:noFill/>
                          </a:ln>
                          <a:solidFill>
                            <a:schemeClr val="tx1"/>
                          </a:solidFill>
                          <a:effectLst/>
                          <a:uLnTx/>
                          <a:uFillTx/>
                          <a:latin typeface="Trebuchet MS"/>
                          <a:ea typeface="+mn-ea"/>
                          <a:cs typeface="+mn-cs"/>
                        </a:rPr>
                      </a:br>
                      <a:r>
                        <a:rPr kumimoji="0" lang="ja-JP" altLang="en-US" sz="1100" b="0" i="0" u="none" strike="noStrike" kern="1200" cap="none" spc="0" normalizeH="0" baseline="0" noProof="0" dirty="0">
                          <a:ln>
                            <a:noFill/>
                          </a:ln>
                          <a:solidFill>
                            <a:schemeClr val="tx1"/>
                          </a:solidFill>
                          <a:effectLst/>
                          <a:uLnTx/>
                          <a:uFillTx/>
                          <a:latin typeface="Trebuchet MS"/>
                          <a:ea typeface="+mn-ea"/>
                          <a:cs typeface="+mn-cs"/>
                        </a:rPr>
                        <a:t>⇒全国規模の一斉回収が難しい</a:t>
                      </a:r>
                      <a:br>
                        <a:rPr kumimoji="0" lang="en-US" altLang="ja-JP" sz="1100" b="0" i="0" u="none" strike="noStrike" kern="1200" cap="none" spc="0" normalizeH="0" baseline="0" noProof="0" dirty="0">
                          <a:ln>
                            <a:noFill/>
                          </a:ln>
                          <a:solidFill>
                            <a:schemeClr val="tx1"/>
                          </a:solidFill>
                          <a:effectLst/>
                          <a:uLnTx/>
                          <a:uFillTx/>
                          <a:latin typeface="Trebuchet MS"/>
                          <a:ea typeface="+mn-ea"/>
                          <a:cs typeface="+mn-cs"/>
                        </a:rPr>
                      </a:br>
                      <a:r>
                        <a:rPr kumimoji="0" lang="ja-JP" altLang="en-US" sz="1100" b="0" i="0" u="none" strike="noStrike" kern="1200" cap="none" spc="0" normalizeH="0" baseline="0" noProof="0" dirty="0">
                          <a:ln>
                            <a:noFill/>
                          </a:ln>
                          <a:solidFill>
                            <a:schemeClr val="tx1"/>
                          </a:solidFill>
                          <a:effectLst/>
                          <a:uLnTx/>
                          <a:uFillTx/>
                          <a:latin typeface="Trebuchet MS"/>
                          <a:ea typeface="+mn-ea"/>
                          <a:cs typeface="+mn-cs"/>
                        </a:rPr>
                        <a:t>⇒コストが高い（特に複合素材のリサイクル）</a:t>
                      </a:r>
                      <a:br>
                        <a:rPr kumimoji="0" lang="en-US" altLang="ja-JP" sz="1100" b="0" i="0" u="none" strike="noStrike" kern="1200" cap="none" spc="0" normalizeH="0" baseline="0" noProof="0" dirty="0">
                          <a:ln>
                            <a:noFill/>
                          </a:ln>
                          <a:solidFill>
                            <a:schemeClr val="tx1"/>
                          </a:solidFill>
                          <a:effectLst/>
                          <a:uLnTx/>
                          <a:uFillTx/>
                          <a:latin typeface="Trebuchet MS"/>
                          <a:ea typeface="+mn-ea"/>
                          <a:cs typeface="+mn-cs"/>
                        </a:rPr>
                      </a:br>
                      <a:r>
                        <a:rPr kumimoji="0" lang="ja-JP" altLang="en-US" sz="1100" b="0" i="0" u="none" strike="noStrike" kern="1200" cap="none" spc="0" normalizeH="0" baseline="0" noProof="0" dirty="0">
                          <a:ln>
                            <a:noFill/>
                          </a:ln>
                          <a:solidFill>
                            <a:schemeClr val="tx1"/>
                          </a:solidFill>
                          <a:effectLst/>
                          <a:uLnTx/>
                          <a:uFillTx/>
                          <a:latin typeface="Trebuchet MS"/>
                          <a:ea typeface="+mn-ea"/>
                          <a:cs typeface="+mn-cs"/>
                        </a:rPr>
                        <a:t>⇒運輸時に</a:t>
                      </a:r>
                      <a:r>
                        <a:rPr kumimoji="0" lang="en-US" altLang="ja-JP" sz="1100" b="0" i="0" u="none" strike="noStrike" kern="1200" cap="none" spc="0" normalizeH="0" baseline="0" noProof="0" dirty="0">
                          <a:ln>
                            <a:noFill/>
                          </a:ln>
                          <a:solidFill>
                            <a:schemeClr val="tx1"/>
                          </a:solidFill>
                          <a:effectLst/>
                          <a:uLnTx/>
                          <a:uFillTx/>
                          <a:latin typeface="Trebuchet MS"/>
                          <a:ea typeface="+mn-ea"/>
                          <a:cs typeface="+mn-cs"/>
                        </a:rPr>
                        <a:t>CO2</a:t>
                      </a:r>
                      <a:r>
                        <a:rPr kumimoji="0" lang="ja-JP" altLang="en-US" sz="1100" b="0" i="0" u="none" strike="noStrike" kern="1200" cap="none" spc="0" normalizeH="0" baseline="0" noProof="0" dirty="0">
                          <a:ln>
                            <a:noFill/>
                          </a:ln>
                          <a:solidFill>
                            <a:schemeClr val="tx1"/>
                          </a:solidFill>
                          <a:effectLst/>
                          <a:uLnTx/>
                          <a:uFillTx/>
                          <a:latin typeface="Trebuchet MS"/>
                          <a:ea typeface="+mn-ea"/>
                          <a:cs typeface="+mn-cs"/>
                        </a:rPr>
                        <a:t>が排出される</a:t>
                      </a:r>
                      <a:endParaRPr kumimoji="0" lang="en-US" altLang="ja-JP" sz="1100" b="0" i="0" u="none" strike="noStrike" kern="1200" cap="none" spc="0" normalizeH="0" baseline="0" noProof="0" dirty="0">
                        <a:ln>
                          <a:noFill/>
                        </a:ln>
                        <a:solidFill>
                          <a:schemeClr val="tx1"/>
                        </a:solidFill>
                        <a:effectLst/>
                        <a:uLnTx/>
                        <a:uFillTx/>
                        <a:latin typeface="Trebuchet MS"/>
                        <a:ea typeface="+mn-ea"/>
                        <a:cs typeface="+mn-cs"/>
                      </a:endParaRPr>
                    </a:p>
                  </a:txBody>
                  <a:tcPr/>
                </a:tc>
                <a:extLst>
                  <a:ext uri="{0D108BD9-81ED-4DB2-BD59-A6C34878D82A}">
                    <a16:rowId xmlns:a16="http://schemas.microsoft.com/office/drawing/2014/main" val="1592274779"/>
                  </a:ext>
                </a:extLst>
              </a:tr>
              <a:tr h="341539">
                <a:tc>
                  <a:txBody>
                    <a:bodyPr/>
                    <a:lstStyle/>
                    <a:p>
                      <a:r>
                        <a:rPr lang="ja-JP" altLang="en-US" sz="1100" dirty="0">
                          <a:latin typeface="+mn-lt"/>
                        </a:rPr>
                        <a:t>⑭若者</a:t>
                      </a:r>
                      <a:endParaRPr lang="en-US" sz="1100" dirty="0">
                        <a:latin typeface="+mn-lt"/>
                      </a:endParaRPr>
                    </a:p>
                  </a:txBody>
                  <a:tcPr/>
                </a:tc>
                <a:tc>
                  <a:txBody>
                    <a:bodyPr/>
                    <a:lstStyle/>
                    <a:p>
                      <a:r>
                        <a:rPr lang="en-US" sz="1100" dirty="0">
                          <a:solidFill>
                            <a:schemeClr val="tx1"/>
                          </a:solidFill>
                          <a:latin typeface="+mn-lt"/>
                        </a:rPr>
                        <a:t>5</a:t>
                      </a:r>
                      <a:r>
                        <a:rPr lang="en-US" altLang="ja-JP" sz="1100" dirty="0">
                          <a:solidFill>
                            <a:schemeClr val="tx1"/>
                          </a:solidFill>
                          <a:latin typeface="+mn-lt"/>
                        </a:rPr>
                        <a:t>6</a:t>
                      </a:r>
                      <a:endParaRPr lang="en-US" sz="1100" dirty="0">
                        <a:solidFill>
                          <a:schemeClr val="tx1"/>
                        </a:solidFill>
                        <a:latin typeface="+mn-lt"/>
                      </a:endParaRPr>
                    </a:p>
                  </a:txBody>
                  <a:tcPr/>
                </a:tc>
                <a:tc>
                  <a:txBody>
                    <a:bodyPr/>
                    <a:lstStyle/>
                    <a:p>
                      <a:pPr marL="323850" marR="0" lvl="1" indent="-215900" algn="l" defTabSz="914400" rtl="0" eaLnBrk="1" fontAlgn="auto" latinLnBrk="0" hangingPunct="1">
                        <a:lnSpc>
                          <a:spcPct val="100000"/>
                        </a:lnSpc>
                        <a:spcBef>
                          <a:spcPts val="0"/>
                        </a:spcBef>
                        <a:spcAft>
                          <a:spcPts val="0"/>
                        </a:spcAft>
                        <a:buClr>
                          <a:srgbClr val="00B050"/>
                        </a:buClr>
                        <a:buSzPct val="100000"/>
                        <a:buFont typeface="Trebuchet MS" panose="020B0603020202020204" pitchFamily="34" charset="0"/>
                        <a:buChar char="•"/>
                        <a:tabLst/>
                        <a:defRPr/>
                      </a:pPr>
                      <a:r>
                        <a:rPr kumimoji="0" lang="ja-JP" altLang="en-US" sz="1100" b="0" i="0" u="none" strike="noStrike" kern="1200" cap="none" spc="0" normalizeH="0" baseline="0" noProof="0" dirty="0">
                          <a:ln>
                            <a:noFill/>
                          </a:ln>
                          <a:solidFill>
                            <a:schemeClr val="tx1"/>
                          </a:solidFill>
                          <a:effectLst/>
                          <a:uLnTx/>
                          <a:uFillTx/>
                          <a:latin typeface="+mn-lt"/>
                          <a:ea typeface="+mn-ea"/>
                          <a:cs typeface="+mn-cs"/>
                        </a:rPr>
                        <a:t>消費者の環境配慮型商品への購買意欲を向上させる取組方法の検討</a:t>
                      </a:r>
                      <a:br>
                        <a:rPr kumimoji="0" lang="en-US" altLang="ja-JP" sz="1100" b="0" i="0" u="none" strike="noStrike" kern="1200" cap="none" spc="0" normalizeH="0" baseline="0" noProof="0" dirty="0">
                          <a:ln>
                            <a:noFill/>
                          </a:ln>
                          <a:solidFill>
                            <a:schemeClr val="tx1"/>
                          </a:solidFill>
                          <a:effectLst/>
                          <a:uLnTx/>
                          <a:uFillTx/>
                          <a:latin typeface="+mn-lt"/>
                          <a:ea typeface="+mn-ea"/>
                          <a:cs typeface="+mn-cs"/>
                        </a:rPr>
                      </a:br>
                      <a:r>
                        <a:rPr kumimoji="0" lang="ja-JP" altLang="en-US" sz="1100" b="0" i="0" u="none" strike="noStrike" kern="1200" cap="none" spc="0" normalizeH="0" baseline="0" noProof="0" dirty="0">
                          <a:ln>
                            <a:noFill/>
                          </a:ln>
                          <a:solidFill>
                            <a:schemeClr val="tx1"/>
                          </a:solidFill>
                          <a:effectLst/>
                          <a:uLnTx/>
                          <a:uFillTx/>
                          <a:latin typeface="+mn-lt"/>
                          <a:ea typeface="+mn-ea"/>
                          <a:cs typeface="+mn-cs"/>
                        </a:rPr>
                        <a:t>⇒企業間イベント、インセンティブ付与の検討</a:t>
                      </a:r>
                      <a:endParaRPr kumimoji="0" lang="ja-JP" altLang="en-US" sz="1100" b="0" i="0" u="none" strike="noStrike" kern="1200" cap="none" spc="0" normalizeH="0" baseline="0" noProof="0" dirty="0">
                        <a:ln>
                          <a:noFill/>
                        </a:ln>
                        <a:solidFill>
                          <a:schemeClr val="tx1"/>
                        </a:solidFill>
                        <a:effectLst/>
                        <a:uLnTx/>
                        <a:uFillTx/>
                        <a:latin typeface="Trebuchet MS"/>
                        <a:ea typeface="+mn-ea"/>
                        <a:cs typeface="+mn-cs"/>
                      </a:endParaRPr>
                    </a:p>
                  </a:txBody>
                  <a:tcPr/>
                </a:tc>
                <a:extLst>
                  <a:ext uri="{0D108BD9-81ED-4DB2-BD59-A6C34878D82A}">
                    <a16:rowId xmlns:a16="http://schemas.microsoft.com/office/drawing/2014/main" val="3108558459"/>
                  </a:ext>
                </a:extLst>
              </a:tr>
            </a:tbl>
          </a:graphicData>
        </a:graphic>
      </p:graphicFrame>
    </p:spTree>
    <p:extLst>
      <p:ext uri="{BB962C8B-B14F-4D97-AF65-F5344CB8AC3E}">
        <p14:creationId xmlns:p14="http://schemas.microsoft.com/office/powerpoint/2010/main" val="7258108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4179353D-7FB6-4C62-B444-7D42D242469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4" name="オブジェクト 3" hidden="1">
                        <a:extLst>
                          <a:ext uri="{FF2B5EF4-FFF2-40B4-BE49-F238E27FC236}">
                            <a16:creationId xmlns:a16="http://schemas.microsoft.com/office/drawing/2014/main" id="{4179353D-7FB6-4C62-B444-7D42D2424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36D01967-8659-43C7-9DCB-F5B27B5E9C81}"/>
              </a:ext>
            </a:extLst>
          </p:cNvPr>
          <p:cNvSpPr>
            <a:spLocks noGrp="1"/>
          </p:cNvSpPr>
          <p:nvPr>
            <p:ph type="title"/>
          </p:nvPr>
        </p:nvSpPr>
        <p:spPr>
          <a:xfrm>
            <a:off x="162047" y="265945"/>
            <a:ext cx="8605363" cy="587854"/>
          </a:xfrm>
        </p:spPr>
        <p:txBody>
          <a:bodyPr vert="horz"/>
          <a:lstStyle/>
          <a:p>
            <a:r>
              <a:rPr kumimoji="1" lang="ja-JP" altLang="en-US" sz="2400" dirty="0"/>
              <a:t>デコ活応援団の位置付け、機能</a:t>
            </a:r>
            <a:endParaRPr kumimoji="1" lang="en-US" sz="2400" dirty="0"/>
          </a:p>
        </p:txBody>
      </p:sp>
      <p:sp>
        <p:nvSpPr>
          <p:cNvPr id="3" name="コンテンツ プレースホルダー 2">
            <a:extLst>
              <a:ext uri="{FF2B5EF4-FFF2-40B4-BE49-F238E27FC236}">
                <a16:creationId xmlns:a16="http://schemas.microsoft.com/office/drawing/2014/main" id="{04B79544-05DA-4D34-8A7A-04677CFE4AD9}"/>
              </a:ext>
            </a:extLst>
          </p:cNvPr>
          <p:cNvSpPr>
            <a:spLocks noGrp="1"/>
          </p:cNvSpPr>
          <p:nvPr>
            <p:ph sz="quarter" idx="12"/>
          </p:nvPr>
        </p:nvSpPr>
        <p:spPr>
          <a:xfrm>
            <a:off x="399000" y="1042964"/>
            <a:ext cx="9108000" cy="1572120"/>
          </a:xfrm>
          <a:ln w="28575">
            <a:solidFill>
              <a:srgbClr val="00584E"/>
            </a:solidFill>
          </a:ln>
        </p:spPr>
        <p:txBody>
          <a:bodyPr/>
          <a:lstStyle/>
          <a:p>
            <a:pPr marL="0" indent="0">
              <a:buNone/>
            </a:pPr>
            <a:r>
              <a:rPr kumimoji="1" lang="ja-JP" altLang="en-US" dirty="0"/>
              <a:t>○デコ活の中での協議会の位置付け</a:t>
            </a:r>
            <a:br>
              <a:rPr kumimoji="1" lang="en-US" altLang="ja-JP" dirty="0"/>
            </a:br>
            <a:r>
              <a:rPr kumimoji="1" lang="ja-JP" altLang="en-US" dirty="0"/>
              <a:t>＝</a:t>
            </a:r>
            <a:r>
              <a:rPr kumimoji="1" lang="ja-JP" altLang="en-US" dirty="0">
                <a:effectLst>
                  <a:glow rad="228600">
                    <a:srgbClr val="FFFF00">
                      <a:alpha val="40000"/>
                    </a:srgbClr>
                  </a:glow>
                </a:effectLst>
              </a:rPr>
              <a:t>国</a:t>
            </a:r>
            <a:r>
              <a:rPr kumimoji="1" lang="en-US" altLang="ja-JP" dirty="0">
                <a:effectLst>
                  <a:glow rad="228600">
                    <a:srgbClr val="FFFF00">
                      <a:alpha val="40000"/>
                    </a:srgbClr>
                  </a:glow>
                </a:effectLst>
              </a:rPr>
              <a:t>×</a:t>
            </a:r>
            <a:r>
              <a:rPr kumimoji="1" lang="ja-JP" altLang="en-US" dirty="0">
                <a:effectLst>
                  <a:glow rad="228600">
                    <a:srgbClr val="FFFF00">
                      <a:alpha val="40000"/>
                    </a:srgbClr>
                  </a:glow>
                </a:effectLst>
              </a:rPr>
              <a:t>自治体</a:t>
            </a:r>
            <a:r>
              <a:rPr kumimoji="1" lang="en-US" altLang="ja-JP" dirty="0">
                <a:effectLst>
                  <a:glow rad="228600">
                    <a:srgbClr val="FFFF00">
                      <a:alpha val="40000"/>
                    </a:srgbClr>
                  </a:glow>
                </a:effectLst>
              </a:rPr>
              <a:t>×</a:t>
            </a:r>
            <a:r>
              <a:rPr kumimoji="1" lang="ja-JP" altLang="en-US" dirty="0">
                <a:effectLst>
                  <a:glow rad="228600">
                    <a:srgbClr val="FFFF00">
                      <a:alpha val="40000"/>
                    </a:srgbClr>
                  </a:glow>
                </a:effectLst>
              </a:rPr>
              <a:t>企業</a:t>
            </a:r>
            <a:r>
              <a:rPr kumimoji="1" lang="en-US" altLang="ja-JP" dirty="0">
                <a:effectLst>
                  <a:glow rad="228600">
                    <a:srgbClr val="FFFF00">
                      <a:alpha val="40000"/>
                    </a:srgbClr>
                  </a:glow>
                </a:effectLst>
              </a:rPr>
              <a:t>×</a:t>
            </a:r>
            <a:r>
              <a:rPr kumimoji="1" lang="ja-JP" altLang="en-US" dirty="0">
                <a:effectLst>
                  <a:glow rad="228600">
                    <a:srgbClr val="FFFF00">
                      <a:alpha val="40000"/>
                    </a:srgbClr>
                  </a:glow>
                </a:effectLst>
              </a:rPr>
              <a:t>団体</a:t>
            </a:r>
            <a:r>
              <a:rPr kumimoji="1" lang="en-US" altLang="ja-JP" dirty="0">
                <a:effectLst>
                  <a:glow rad="228600">
                    <a:srgbClr val="FFFF00">
                      <a:alpha val="40000"/>
                    </a:srgbClr>
                  </a:glow>
                </a:effectLst>
              </a:rPr>
              <a:t>×</a:t>
            </a:r>
            <a:r>
              <a:rPr kumimoji="1" lang="ja-JP" altLang="en-US" dirty="0">
                <a:effectLst>
                  <a:glow rad="228600">
                    <a:srgbClr val="FFFF00">
                      <a:alpha val="40000"/>
                    </a:srgbClr>
                  </a:glow>
                </a:effectLst>
              </a:rPr>
              <a:t>消費者の連携・実践の場</a:t>
            </a:r>
            <a:r>
              <a:rPr kumimoji="1" lang="ja-JP" altLang="en-US" dirty="0"/>
              <a:t>＆</a:t>
            </a:r>
            <a:r>
              <a:rPr kumimoji="1" lang="ja-JP" altLang="en-US" dirty="0">
                <a:effectLst>
                  <a:glow rad="228600">
                    <a:schemeClr val="accent4">
                      <a:satMod val="175000"/>
                      <a:alpha val="40000"/>
                    </a:schemeClr>
                  </a:glow>
                </a:effectLst>
              </a:rPr>
              <a:t>最新情報・意見の共有・交換の機会</a:t>
            </a:r>
            <a:endParaRPr kumimoji="1" lang="en-US" altLang="ja-JP" dirty="0">
              <a:effectLst>
                <a:glow rad="228600">
                  <a:schemeClr val="accent4">
                    <a:satMod val="175000"/>
                    <a:alpha val="40000"/>
                  </a:schemeClr>
                </a:glow>
              </a:effectLst>
            </a:endParaRPr>
          </a:p>
          <a:p>
            <a:pPr marL="0" indent="0">
              <a:buNone/>
            </a:pPr>
            <a:r>
              <a:rPr lang="ja-JP" altLang="en-US" dirty="0"/>
              <a:t>○</a:t>
            </a:r>
            <a:r>
              <a:rPr lang="ja-JP" altLang="en-US" dirty="0">
                <a:effectLst>
                  <a:outerShdw blurRad="38100" dist="38100" dir="2700000" algn="tl">
                    <a:srgbClr val="000000">
                      <a:alpha val="43137"/>
                    </a:srgbClr>
                  </a:outerShdw>
                </a:effectLst>
              </a:rPr>
              <a:t>プロジェクト提案・実施、施策への意見・要望、参画主体間のつなぎ・照会</a:t>
            </a:r>
            <a:r>
              <a:rPr lang="ja-JP" altLang="en-US" dirty="0"/>
              <a:t>等をサポート</a:t>
            </a:r>
            <a:endParaRPr lang="en-US" altLang="ja-JP" dirty="0"/>
          </a:p>
          <a:p>
            <a:pPr marL="0" indent="0">
              <a:buNone/>
            </a:pPr>
            <a:r>
              <a:rPr kumimoji="1" lang="ja-JP" altLang="en-US" dirty="0"/>
              <a:t>　➡　皆様が</a:t>
            </a:r>
            <a:r>
              <a:rPr kumimoji="1" lang="en-US" altLang="ja-JP" dirty="0"/>
              <a:t>”</a:t>
            </a:r>
            <a:r>
              <a:rPr kumimoji="1" lang="ja-JP" altLang="en-US" dirty="0"/>
              <a:t>やりたいこと</a:t>
            </a:r>
            <a:r>
              <a:rPr kumimoji="1" lang="en-US" altLang="ja-JP" dirty="0"/>
              <a:t>”</a:t>
            </a:r>
            <a:r>
              <a:rPr kumimoji="1" lang="ja-JP" altLang="en-US" dirty="0"/>
              <a:t>を実現する場と</a:t>
            </a:r>
            <a:r>
              <a:rPr lang="ja-JP" altLang="en-US" dirty="0"/>
              <a:t>して、デコ活応援団をフルスイングでご活用</a:t>
            </a:r>
            <a:r>
              <a:rPr kumimoji="1" lang="ja-JP" altLang="en-US" dirty="0"/>
              <a:t>ください！</a:t>
            </a:r>
            <a:endParaRPr kumimoji="1" lang="en-US" altLang="ja-JP" dirty="0"/>
          </a:p>
        </p:txBody>
      </p:sp>
      <p:sp>
        <p:nvSpPr>
          <p:cNvPr id="5" name="四角形: 角を丸くする 4">
            <a:extLst>
              <a:ext uri="{FF2B5EF4-FFF2-40B4-BE49-F238E27FC236}">
                <a16:creationId xmlns:a16="http://schemas.microsoft.com/office/drawing/2014/main" id="{C3B61313-2117-436C-AB75-A330B573CB5B}"/>
              </a:ext>
            </a:extLst>
          </p:cNvPr>
          <p:cNvSpPr/>
          <p:nvPr/>
        </p:nvSpPr>
        <p:spPr>
          <a:xfrm>
            <a:off x="951536" y="1949482"/>
            <a:ext cx="7992877" cy="4301414"/>
          </a:xfrm>
          <a:prstGeom prst="round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pic>
        <p:nvPicPr>
          <p:cNvPr id="6" name="Picture 4">
            <a:extLst>
              <a:ext uri="{FF2B5EF4-FFF2-40B4-BE49-F238E27FC236}">
                <a16:creationId xmlns:a16="http://schemas.microsoft.com/office/drawing/2014/main" id="{047A535C-FD4D-E6F0-12AA-26B97F25AB4C}"/>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6306345" y="4114536"/>
            <a:ext cx="3455479" cy="2447559"/>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Rounded Corners 69">
            <a:extLst>
              <a:ext uri="{FF2B5EF4-FFF2-40B4-BE49-F238E27FC236}">
                <a16:creationId xmlns:a16="http://schemas.microsoft.com/office/drawing/2014/main" id="{7039A768-9F42-49BF-9CA1-4C67CEDEF0B5}"/>
              </a:ext>
            </a:extLst>
          </p:cNvPr>
          <p:cNvSpPr/>
          <p:nvPr/>
        </p:nvSpPr>
        <p:spPr>
          <a:xfrm>
            <a:off x="203669" y="2850766"/>
            <a:ext cx="2448000" cy="297939"/>
          </a:xfrm>
          <a:prstGeom prst="roundRect">
            <a:avLst>
              <a:gd name="adj" fmla="val 6927"/>
            </a:avLst>
          </a:prstGeom>
          <a:solidFill>
            <a:srgbClr val="177B5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ja-JP" altLang="en-US" sz="1600" dirty="0">
                <a:latin typeface="Trebuchet MS" panose="020B0603020202020204" pitchFamily="34" charset="0"/>
                <a:ea typeface="Meiryo UI" panose="020B0604030504040204" pitchFamily="50" charset="-128"/>
                <a:sym typeface="Meiryo UI" panose="020B0604030504040204" pitchFamily="50" charset="-128"/>
              </a:rPr>
              <a:t>デコ活応援団</a:t>
            </a:r>
            <a:endParaRPr kumimoji="1" lang="en-US" sz="1600" dirty="0">
              <a:solidFill>
                <a:srgbClr val="FFFFFF"/>
              </a:solidFill>
              <a:latin typeface="Trebuchet MS" panose="020B0603020202020204" pitchFamily="34" charset="0"/>
              <a:ea typeface="Meiryo UI" panose="020B0604030504040204" pitchFamily="50" charset="-128"/>
              <a:sym typeface="Meiryo UI" panose="020B0604030504040204" pitchFamily="50" charset="-128"/>
            </a:endParaRPr>
          </a:p>
        </p:txBody>
      </p:sp>
      <p:sp>
        <p:nvSpPr>
          <p:cNvPr id="7" name="Textfeld 1">
            <a:extLst>
              <a:ext uri="{FF2B5EF4-FFF2-40B4-BE49-F238E27FC236}">
                <a16:creationId xmlns:a16="http://schemas.microsoft.com/office/drawing/2014/main" id="{39F89DCB-1DEC-47D4-9E1F-07ED4019AAFF}"/>
              </a:ext>
            </a:extLst>
          </p:cNvPr>
          <p:cNvSpPr txBox="1"/>
          <p:nvPr/>
        </p:nvSpPr>
        <p:spPr>
          <a:xfrm>
            <a:off x="203669" y="3185564"/>
            <a:ext cx="6068885" cy="1695278"/>
          </a:xfrm>
          <a:prstGeom prst="roundRect">
            <a:avLst>
              <a:gd name="adj" fmla="val 9380"/>
            </a:avLst>
          </a:prstGeom>
          <a:noFill/>
          <a:ln w="28575" cap="flat" cmpd="sng" algn="ctr">
            <a:solidFill>
              <a:srgbClr val="5BAD82"/>
            </a:solidFill>
            <a:prstDash val="solid"/>
            <a:miter lim="800000"/>
            <a:headEnd type="none" w="lg" len="lg"/>
            <a:tailEnd type="none" w="lg" len="lg"/>
          </a:ln>
          <a:effectLst/>
        </p:spPr>
        <p:txBody>
          <a:bodyPr vert="horz" wrap="square" lIns="0" tIns="0" rIns="0" bIns="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324008" lvl="1" indent="-216006">
              <a:spcBef>
                <a:spcPts val="600"/>
              </a:spcBef>
              <a:buClr>
                <a:schemeClr val="tx2"/>
              </a:buClr>
              <a:buFont typeface="Trebuchet MS" panose="020B0603020202020204" pitchFamily="34" charset="0"/>
              <a:buChar char="•"/>
            </a:pPr>
            <a:r>
              <a:rPr lang="ja-JP" altLang="en-US" dirty="0">
                <a:latin typeface="+mj-lt"/>
                <a:ea typeface="Meiryo UI" panose="020B0604030504040204" pitchFamily="50" charset="-128"/>
                <a:sym typeface="Meiryo UI" panose="020B0604030504040204" pitchFamily="50" charset="-128"/>
              </a:rPr>
              <a:t>実証事業、普及啓発、実践事業・キャンペーン等の実施に対する関連予算の活用</a:t>
            </a:r>
            <a:r>
              <a:rPr lang="en-US" altLang="ja-JP" dirty="0">
                <a:latin typeface="+mj-lt"/>
                <a:ea typeface="Meiryo UI" panose="020B0604030504040204" pitchFamily="50" charset="-128"/>
                <a:sym typeface="Meiryo UI" panose="020B0604030504040204" pitchFamily="50" charset="-128"/>
              </a:rPr>
              <a:t>(</a:t>
            </a:r>
            <a:r>
              <a:rPr lang="ja-JP" altLang="en-US" dirty="0">
                <a:latin typeface="+mj-lt"/>
                <a:ea typeface="Meiryo UI" panose="020B0604030504040204" pitchFamily="50" charset="-128"/>
                <a:sym typeface="Meiryo UI" panose="020B0604030504040204" pitchFamily="50" charset="-128"/>
              </a:rPr>
              <a:t>シードマネー・呼び水的資金サポート等</a:t>
            </a:r>
            <a:r>
              <a:rPr lang="en-US" altLang="ja-JP" dirty="0">
                <a:latin typeface="+mj-lt"/>
                <a:ea typeface="Meiryo UI" panose="020B0604030504040204" pitchFamily="50" charset="-128"/>
                <a:sym typeface="Meiryo UI" panose="020B0604030504040204" pitchFamily="50" charset="-128"/>
              </a:rPr>
              <a:t>) </a:t>
            </a:r>
          </a:p>
          <a:p>
            <a:pPr marL="324008" lvl="1" indent="-216006">
              <a:spcBef>
                <a:spcPts val="1200"/>
              </a:spcBef>
              <a:buClr>
                <a:schemeClr val="tx2"/>
              </a:buClr>
              <a:buFont typeface="Trebuchet MS" panose="020B0603020202020204" pitchFamily="34" charset="0"/>
              <a:buChar char="•"/>
            </a:pPr>
            <a:r>
              <a:rPr lang="ja-JP" altLang="en-US" dirty="0">
                <a:ea typeface="Meiryo UI" panose="020B0604030504040204" pitchFamily="50" charset="-128"/>
                <a:sym typeface="Meiryo UI" panose="020B0604030504040204" pitchFamily="50" charset="-128"/>
              </a:rPr>
              <a:t>参画団体の皆様のご提案を踏まえた連携・マッチング</a:t>
            </a:r>
            <a:endParaRPr lang="en-US" altLang="ja-JP" dirty="0">
              <a:ea typeface="Meiryo UI" panose="020B0604030504040204" pitchFamily="50" charset="-128"/>
              <a:sym typeface="Meiryo UI" panose="020B0604030504040204" pitchFamily="50" charset="-128"/>
            </a:endParaRPr>
          </a:p>
          <a:p>
            <a:pPr marL="324008" lvl="1" indent="-216006">
              <a:spcBef>
                <a:spcPts val="1200"/>
              </a:spcBef>
              <a:buClr>
                <a:schemeClr val="tx2"/>
              </a:buClr>
              <a:buFont typeface="Trebuchet MS" panose="020B0603020202020204" pitchFamily="34" charset="0"/>
              <a:buChar char="•"/>
            </a:pPr>
            <a:r>
              <a:rPr lang="en-US" altLang="ja-JP" dirty="0">
                <a:ea typeface="Meiryo UI" panose="020B0604030504040204" pitchFamily="50" charset="-128"/>
                <a:sym typeface="Meiryo UI" panose="020B0604030504040204" pitchFamily="50" charset="-128"/>
              </a:rPr>
              <a:t>G</a:t>
            </a:r>
            <a:r>
              <a:rPr lang="ja-JP" altLang="en-US" dirty="0">
                <a:ea typeface="Meiryo UI" panose="020B0604030504040204" pitchFamily="50" charset="-128"/>
                <a:sym typeface="Meiryo UI" panose="020B0604030504040204" pitchFamily="50" charset="-128"/>
              </a:rPr>
              <a:t>７</a:t>
            </a:r>
            <a:r>
              <a:rPr lang="en-US" altLang="ja-JP" dirty="0">
                <a:ea typeface="Meiryo UI" panose="020B0604030504040204" pitchFamily="50" charset="-128"/>
                <a:sym typeface="Meiryo UI" panose="020B0604030504040204" pitchFamily="50" charset="-128"/>
              </a:rPr>
              <a:t>/G20</a:t>
            </a:r>
            <a:r>
              <a:rPr lang="ja-JP" altLang="en-US" dirty="0">
                <a:ea typeface="Meiryo UI" panose="020B0604030504040204" pitchFamily="50" charset="-128"/>
                <a:sym typeface="Meiryo UI" panose="020B0604030504040204" pitchFamily="50" charset="-128"/>
              </a:rPr>
              <a:t>等におけるグローバルな発信・</a:t>
            </a:r>
            <a:r>
              <a:rPr lang="en-US" altLang="ja-JP" dirty="0">
                <a:ea typeface="Meiryo UI" panose="020B0604030504040204" pitchFamily="50" charset="-128"/>
                <a:sym typeface="Meiryo UI" panose="020B0604030504040204" pitchFamily="50" charset="-128"/>
              </a:rPr>
              <a:t>PR</a:t>
            </a:r>
            <a:r>
              <a:rPr lang="ja-JP" altLang="en-US" dirty="0">
                <a:ea typeface="Meiryo UI" panose="020B0604030504040204" pitchFamily="50" charset="-128"/>
                <a:sym typeface="Meiryo UI" panose="020B0604030504040204" pitchFamily="50" charset="-128"/>
              </a:rPr>
              <a:t>の機会の確保など</a:t>
            </a:r>
            <a:endParaRPr lang="en-US" altLang="ja-JP" dirty="0">
              <a:ea typeface="Meiryo UI" panose="020B0604030504040204" pitchFamily="50" charset="-128"/>
              <a:sym typeface="Meiryo UI" panose="020B0604030504040204" pitchFamily="50" charset="-128"/>
            </a:endParaRPr>
          </a:p>
          <a:p>
            <a:pPr marL="324008" lvl="1" indent="-216006">
              <a:spcBef>
                <a:spcPts val="1200"/>
              </a:spcBef>
              <a:buClr>
                <a:schemeClr val="tx2"/>
              </a:buClr>
              <a:buFont typeface="Trebuchet MS" panose="020B0603020202020204" pitchFamily="34" charset="0"/>
              <a:buChar char="•"/>
            </a:pPr>
            <a:endParaRPr lang="en-US" altLang="ja-JP" dirty="0">
              <a:ea typeface="Meiryo UI" panose="020B0604030504040204" pitchFamily="50" charset="-128"/>
              <a:sym typeface="Meiryo UI" panose="020B0604030504040204" pitchFamily="50" charset="-128"/>
            </a:endParaRPr>
          </a:p>
        </p:txBody>
      </p:sp>
      <p:sp>
        <p:nvSpPr>
          <p:cNvPr id="18" name="Rectangle: Rounded Corners 69">
            <a:extLst>
              <a:ext uri="{FF2B5EF4-FFF2-40B4-BE49-F238E27FC236}">
                <a16:creationId xmlns:a16="http://schemas.microsoft.com/office/drawing/2014/main" id="{0924AF01-D04A-1C48-FF29-E6D7E3CC9D08}"/>
              </a:ext>
            </a:extLst>
          </p:cNvPr>
          <p:cNvSpPr/>
          <p:nvPr/>
        </p:nvSpPr>
        <p:spPr>
          <a:xfrm>
            <a:off x="7227026" y="3826019"/>
            <a:ext cx="1614115" cy="228780"/>
          </a:xfrm>
          <a:prstGeom prst="roundRect">
            <a:avLst>
              <a:gd name="adj" fmla="val 6927"/>
            </a:avLst>
          </a:prstGeom>
          <a:solidFill>
            <a:srgbClr val="CFA64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kumimoji="1" lang="en-US" altLang="ja-JP" sz="1400" dirty="0">
                <a:solidFill>
                  <a:srgbClr val="FFFFFF"/>
                </a:solidFill>
                <a:latin typeface="Trebuchet MS" panose="020B0603020202020204" pitchFamily="34" charset="0"/>
                <a:ea typeface="Meiryo UI" panose="020B0604030504040204" pitchFamily="50" charset="-128"/>
                <a:sym typeface="Meiryo UI" panose="020B0604030504040204" pitchFamily="50" charset="-128"/>
              </a:rPr>
              <a:t>10</a:t>
            </a:r>
            <a:r>
              <a:rPr kumimoji="1" lang="ja-JP" altLang="en-US" sz="1400" dirty="0">
                <a:solidFill>
                  <a:srgbClr val="FFFFFF"/>
                </a:solidFill>
                <a:latin typeface="Trebuchet MS" panose="020B0603020202020204" pitchFamily="34" charset="0"/>
                <a:ea typeface="Meiryo UI" panose="020B0604030504040204" pitchFamily="50" charset="-128"/>
                <a:sym typeface="Meiryo UI" panose="020B0604030504040204" pitchFamily="50" charset="-128"/>
              </a:rPr>
              <a:t>年後の絵姿</a:t>
            </a:r>
            <a:endParaRPr kumimoji="1" lang="en-US" sz="1400" dirty="0">
              <a:solidFill>
                <a:srgbClr val="FFFFFF"/>
              </a:solidFill>
              <a:latin typeface="Trebuchet MS" panose="020B0603020202020204" pitchFamily="34" charset="0"/>
              <a:ea typeface="Meiryo UI" panose="020B0604030504040204" pitchFamily="50" charset="-128"/>
              <a:sym typeface="Meiryo UI" panose="020B0604030504040204" pitchFamily="50" charset="-128"/>
            </a:endParaRPr>
          </a:p>
        </p:txBody>
      </p:sp>
      <p:sp>
        <p:nvSpPr>
          <p:cNvPr id="19" name="Rectangle: Rounded Corners 69">
            <a:extLst>
              <a:ext uri="{FF2B5EF4-FFF2-40B4-BE49-F238E27FC236}">
                <a16:creationId xmlns:a16="http://schemas.microsoft.com/office/drawing/2014/main" id="{77F060A9-D58F-7EA7-D172-57B594AF5E35}"/>
              </a:ext>
            </a:extLst>
          </p:cNvPr>
          <p:cNvSpPr/>
          <p:nvPr/>
        </p:nvSpPr>
        <p:spPr>
          <a:xfrm>
            <a:off x="158425" y="4999750"/>
            <a:ext cx="2964868" cy="249411"/>
          </a:xfrm>
          <a:prstGeom prst="roundRect">
            <a:avLst>
              <a:gd name="adj" fmla="val 5069"/>
            </a:avLst>
          </a:prstGeom>
          <a:solidFill>
            <a:srgbClr val="CFA649"/>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kumimoji="1" lang="ja-JP" altLang="en-US" sz="1200" dirty="0">
                <a:solidFill>
                  <a:srgbClr val="FFFFFF"/>
                </a:solidFill>
                <a:latin typeface="Trebuchet MS" panose="020B0603020202020204" pitchFamily="34" charset="0"/>
                <a:ea typeface="Meiryo UI" panose="020B0604030504040204" pitchFamily="50" charset="-128"/>
                <a:sym typeface="Meiryo UI" panose="020B0604030504040204" pitchFamily="50" charset="-128"/>
              </a:rPr>
              <a:t>個々の取組、製品・サービス等の発信・</a:t>
            </a:r>
            <a:r>
              <a:rPr kumimoji="1" lang="en-US" altLang="ja-JP" sz="1200" dirty="0">
                <a:solidFill>
                  <a:srgbClr val="FFFFFF"/>
                </a:solidFill>
                <a:latin typeface="Trebuchet MS" panose="020B0603020202020204" pitchFamily="34" charset="0"/>
                <a:ea typeface="Meiryo UI" panose="020B0604030504040204" pitchFamily="50" charset="-128"/>
                <a:sym typeface="Meiryo UI" panose="020B0604030504040204" pitchFamily="50" charset="-128"/>
              </a:rPr>
              <a:t>PR</a:t>
            </a:r>
            <a:r>
              <a:rPr kumimoji="1" lang="ja-JP" altLang="en-US" sz="1200" dirty="0">
                <a:solidFill>
                  <a:srgbClr val="FFFFFF"/>
                </a:solidFill>
                <a:latin typeface="Trebuchet MS" panose="020B0603020202020204" pitchFamily="34" charset="0"/>
                <a:ea typeface="Meiryo UI" panose="020B0604030504040204" pitchFamily="50" charset="-128"/>
                <a:sym typeface="Meiryo UI" panose="020B0604030504040204" pitchFamily="50" charset="-128"/>
              </a:rPr>
              <a:t>など</a:t>
            </a:r>
            <a:endParaRPr kumimoji="1" lang="en-US" altLang="ja-JP" sz="1200" dirty="0">
              <a:solidFill>
                <a:srgbClr val="FFFFFF"/>
              </a:solidFill>
              <a:latin typeface="Trebuchet MS" panose="020B0603020202020204" pitchFamily="34" charset="0"/>
              <a:ea typeface="Meiryo UI" panose="020B0604030504040204" pitchFamily="50" charset="-128"/>
              <a:sym typeface="Meiryo UI" panose="020B0604030504040204" pitchFamily="50" charset="-128"/>
            </a:endParaRPr>
          </a:p>
        </p:txBody>
      </p:sp>
      <p:pic>
        <p:nvPicPr>
          <p:cNvPr id="21" name="図 20">
            <a:extLst>
              <a:ext uri="{FF2B5EF4-FFF2-40B4-BE49-F238E27FC236}">
                <a16:creationId xmlns:a16="http://schemas.microsoft.com/office/drawing/2014/main" id="{B6863E19-7E26-D1E2-B0E8-29739147197C}"/>
              </a:ext>
            </a:extLst>
          </p:cNvPr>
          <p:cNvPicPr>
            <a:picLocks noChangeAspect="1"/>
          </p:cNvPicPr>
          <p:nvPr/>
        </p:nvPicPr>
        <p:blipFill>
          <a:blip r:embed="rId6"/>
          <a:stretch>
            <a:fillRect/>
          </a:stretch>
        </p:blipFill>
        <p:spPr>
          <a:xfrm>
            <a:off x="3996050" y="5310365"/>
            <a:ext cx="2071621" cy="1278833"/>
          </a:xfrm>
          <a:prstGeom prst="rect">
            <a:avLst/>
          </a:prstGeom>
          <a:ln>
            <a:solidFill>
              <a:schemeClr val="accent2"/>
            </a:solidFill>
          </a:ln>
        </p:spPr>
      </p:pic>
      <p:sp>
        <p:nvSpPr>
          <p:cNvPr id="22" name="矢印: 折線 21">
            <a:extLst>
              <a:ext uri="{FF2B5EF4-FFF2-40B4-BE49-F238E27FC236}">
                <a16:creationId xmlns:a16="http://schemas.microsoft.com/office/drawing/2014/main" id="{5F1AA863-69D0-6C0B-9D3A-A71BA8A8A469}"/>
              </a:ext>
            </a:extLst>
          </p:cNvPr>
          <p:cNvSpPr/>
          <p:nvPr/>
        </p:nvSpPr>
        <p:spPr>
          <a:xfrm rot="5400000">
            <a:off x="6308737" y="3376923"/>
            <a:ext cx="699715" cy="746495"/>
          </a:xfrm>
          <a:prstGeom prst="ben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23" name="矢印: 右 22">
            <a:extLst>
              <a:ext uri="{FF2B5EF4-FFF2-40B4-BE49-F238E27FC236}">
                <a16:creationId xmlns:a16="http://schemas.microsoft.com/office/drawing/2014/main" id="{D0280AD2-AD00-7FFC-C6F0-50B5947B6A73}"/>
              </a:ext>
            </a:extLst>
          </p:cNvPr>
          <p:cNvSpPr/>
          <p:nvPr/>
        </p:nvSpPr>
        <p:spPr>
          <a:xfrm>
            <a:off x="6021160" y="6169412"/>
            <a:ext cx="410477" cy="407191"/>
          </a:xfrm>
          <a:prstGeom prst="right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pic>
        <p:nvPicPr>
          <p:cNvPr id="27" name="図 26">
            <a:extLst>
              <a:ext uri="{FF2B5EF4-FFF2-40B4-BE49-F238E27FC236}">
                <a16:creationId xmlns:a16="http://schemas.microsoft.com/office/drawing/2014/main" id="{0DF5159F-304F-12CD-72E2-517438943871}"/>
              </a:ext>
            </a:extLst>
          </p:cNvPr>
          <p:cNvPicPr>
            <a:picLocks noChangeAspect="1"/>
          </p:cNvPicPr>
          <p:nvPr/>
        </p:nvPicPr>
        <p:blipFill>
          <a:blip r:embed="rId7"/>
          <a:stretch>
            <a:fillRect/>
          </a:stretch>
        </p:blipFill>
        <p:spPr>
          <a:xfrm>
            <a:off x="65298" y="5317392"/>
            <a:ext cx="1575561" cy="1271805"/>
          </a:xfrm>
          <a:prstGeom prst="rect">
            <a:avLst/>
          </a:prstGeom>
        </p:spPr>
      </p:pic>
      <p:sp>
        <p:nvSpPr>
          <p:cNvPr id="8" name="吹き出し: 線 7">
            <a:extLst>
              <a:ext uri="{FF2B5EF4-FFF2-40B4-BE49-F238E27FC236}">
                <a16:creationId xmlns:a16="http://schemas.microsoft.com/office/drawing/2014/main" id="{2984B126-5EF8-B846-33B3-6C5E14855C9D}"/>
              </a:ext>
            </a:extLst>
          </p:cNvPr>
          <p:cNvSpPr/>
          <p:nvPr/>
        </p:nvSpPr>
        <p:spPr>
          <a:xfrm>
            <a:off x="1670959" y="5617481"/>
            <a:ext cx="2166360" cy="923693"/>
          </a:xfrm>
          <a:prstGeom prst="borderCallout1">
            <a:avLst>
              <a:gd name="adj1" fmla="val 53322"/>
              <a:gd name="adj2" fmla="val 99286"/>
              <a:gd name="adj3" fmla="val 40583"/>
              <a:gd name="adj4" fmla="val 107116"/>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ポータル登録数</a:t>
            </a:r>
            <a:r>
              <a:rPr kumimoji="1" lang="en-US" altLang="ja-JP" sz="1400" b="0" i="0" u="none" strike="noStrike" kern="1200" cap="none" spc="0" normalizeH="0" baseline="0" noProof="0" dirty="0">
                <a:ln>
                  <a:noFill/>
                </a:ln>
                <a:solidFill>
                  <a:prstClr val="black"/>
                </a:solidFill>
                <a:effectLst/>
                <a:uLnTx/>
                <a:uFillTx/>
                <a:latin typeface="Meiryo UI"/>
                <a:ea typeface="Meiryo UI"/>
                <a:cs typeface="+mn-cs"/>
              </a:rPr>
              <a:t>:379</a:t>
            </a:r>
            <a:r>
              <a:rPr kumimoji="1" lang="ja-JP" altLang="en-US" sz="1400" b="0" i="0" u="none" strike="noStrike" kern="1200" cap="none" spc="0" normalizeH="0" baseline="0" noProof="0" dirty="0">
                <a:ln>
                  <a:noFill/>
                </a:ln>
                <a:solidFill>
                  <a:prstClr val="black"/>
                </a:solidFill>
                <a:effectLst/>
                <a:uLnTx/>
                <a:uFillTx/>
                <a:latin typeface="Meiryo UI"/>
                <a:ea typeface="Meiryo UI"/>
                <a:cs typeface="+mn-cs"/>
              </a:rPr>
              <a:t>件</a:t>
            </a:r>
            <a:endParaRPr kumimoji="1" lang="en-US" altLang="ja-JP" sz="1600" b="0" i="0" u="none" strike="noStrike" kern="1200" cap="none" spc="0" normalizeH="0" baseline="0" noProof="0" dirty="0">
              <a:ln>
                <a:noFill/>
              </a:ln>
              <a:solidFill>
                <a:prstClr val="black"/>
              </a:solidFill>
              <a:effectLst/>
              <a:uLnTx/>
              <a:uFillTx/>
              <a:latin typeface="Meiryo UI"/>
              <a:ea typeface="Meiryo UI"/>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dirty="0">
                <a:solidFill>
                  <a:prstClr val="black"/>
                </a:solidFill>
                <a:latin typeface="Meiryo UI"/>
                <a:ea typeface="Meiryo UI"/>
              </a:rPr>
              <a:t>デジタル関係</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en-US" altLang="ja-JP" sz="1200" dirty="0">
                <a:solidFill>
                  <a:prstClr val="black"/>
                </a:solidFill>
                <a:latin typeface="Meiryo UI"/>
                <a:ea typeface="Meiryo UI"/>
              </a:rPr>
              <a:t>37</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件、製品・サービス</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en-US" altLang="ja-JP" sz="1200" dirty="0">
                <a:solidFill>
                  <a:prstClr val="black"/>
                </a:solidFill>
                <a:latin typeface="Meiryo UI"/>
                <a:ea typeface="Meiryo UI"/>
              </a:rPr>
              <a:t>184</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件、インセンティブ</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b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br>
            <a:r>
              <a:rPr kumimoji="1" lang="en-US" altLang="ja-JP" sz="1200" dirty="0">
                <a:solidFill>
                  <a:prstClr val="black"/>
                </a:solidFill>
                <a:latin typeface="Meiryo UI"/>
                <a:ea typeface="Meiryo UI"/>
              </a:rPr>
              <a:t>124</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件、地域</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en-US" altLang="ja-JP" sz="1200" dirty="0">
                <a:solidFill>
                  <a:prstClr val="black"/>
                </a:solidFill>
                <a:latin typeface="Meiryo UI"/>
                <a:ea typeface="Meiryo UI"/>
              </a:rPr>
              <a:t>34</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件 </a:t>
            </a:r>
            <a:r>
              <a:rPr kumimoji="1" lang="en-US" altLang="ja-JP" sz="1200" b="0" i="0" u="none" strike="noStrike" kern="1200" cap="none" spc="0" normalizeH="0" baseline="0" noProof="0" dirty="0">
                <a:ln>
                  <a:noFill/>
                </a:ln>
                <a:solidFill>
                  <a:prstClr val="black"/>
                </a:solidFill>
                <a:effectLst/>
                <a:uLnTx/>
                <a:uFillTx/>
                <a:latin typeface="Meiryo UI"/>
                <a:ea typeface="Meiryo UI"/>
                <a:cs typeface="+mn-cs"/>
              </a:rPr>
              <a:t>※</a:t>
            </a:r>
            <a:r>
              <a:rPr kumimoji="1" lang="ja-JP" altLang="en-US" sz="1200" b="0" i="0" u="none" strike="noStrike" kern="1200" cap="none" spc="0" normalizeH="0" baseline="0" noProof="0" dirty="0">
                <a:ln>
                  <a:noFill/>
                </a:ln>
                <a:solidFill>
                  <a:prstClr val="black"/>
                </a:solidFill>
                <a:effectLst/>
                <a:uLnTx/>
                <a:uFillTx/>
                <a:latin typeface="Meiryo UI"/>
                <a:ea typeface="Meiryo UI"/>
                <a:cs typeface="+mn-cs"/>
              </a:rPr>
              <a:t>重複有）</a:t>
            </a:r>
            <a:endParaRPr kumimoji="0" lang="ja-JP" altLang="en-US" sz="1200" b="0" i="0" u="none" strike="noStrike" kern="1200" cap="none" spc="0" normalizeH="0" baseline="0" noProof="0" dirty="0">
              <a:ln>
                <a:noFill/>
              </a:ln>
              <a:solidFill>
                <a:prstClr val="black"/>
              </a:solidFill>
              <a:effectLst/>
              <a:uLnTx/>
              <a:uFillTx/>
              <a:latin typeface="Meiryo UI"/>
              <a:ea typeface="Meiryo UI"/>
              <a:cs typeface="+mn-cs"/>
            </a:endParaRPr>
          </a:p>
          <a:p>
            <a:pPr algn="ctr"/>
            <a:r>
              <a:rPr kumimoji="1" lang="ja-JP" altLang="en-US" sz="800" dirty="0">
                <a:solidFill>
                  <a:schemeClr val="tx1"/>
                </a:solidFill>
                <a:latin typeface="Meiryo UI" panose="020B0604030504040204" pitchFamily="50" charset="-128"/>
                <a:ea typeface="Meiryo UI" panose="020B0604030504040204" pitchFamily="50" charset="-128"/>
              </a:rPr>
              <a:t>令和６年１月</a:t>
            </a:r>
            <a:r>
              <a:rPr kumimoji="1" lang="en-US" altLang="ja-JP" sz="800" dirty="0">
                <a:solidFill>
                  <a:schemeClr val="tx1"/>
                </a:solidFill>
                <a:latin typeface="Meiryo UI" panose="020B0604030504040204" pitchFamily="50" charset="-128"/>
                <a:ea typeface="Meiryo UI" panose="020B0604030504040204" pitchFamily="50" charset="-128"/>
              </a:rPr>
              <a:t>31</a:t>
            </a:r>
            <a:r>
              <a:rPr kumimoji="1" lang="ja-JP" altLang="en-US" sz="800" dirty="0">
                <a:solidFill>
                  <a:schemeClr val="tx1"/>
                </a:solidFill>
                <a:latin typeface="Meiryo UI" panose="020B0604030504040204" pitchFamily="50" charset="-128"/>
                <a:ea typeface="Meiryo UI" panose="020B0604030504040204" pitchFamily="50" charset="-128"/>
              </a:rPr>
              <a:t>日時点</a:t>
            </a:r>
          </a:p>
        </p:txBody>
      </p:sp>
      <p:sp>
        <p:nvSpPr>
          <p:cNvPr id="10" name="吹き出し: 線 9">
            <a:extLst>
              <a:ext uri="{FF2B5EF4-FFF2-40B4-BE49-F238E27FC236}">
                <a16:creationId xmlns:a16="http://schemas.microsoft.com/office/drawing/2014/main" id="{CCFC8DF6-9E2F-FBCA-CDEF-1B06D39FB6B8}"/>
              </a:ext>
            </a:extLst>
          </p:cNvPr>
          <p:cNvSpPr/>
          <p:nvPr/>
        </p:nvSpPr>
        <p:spPr>
          <a:xfrm>
            <a:off x="7150140" y="2854932"/>
            <a:ext cx="2029743" cy="851006"/>
          </a:xfrm>
          <a:prstGeom prst="borderCallout1">
            <a:avLst>
              <a:gd name="adj1" fmla="val 46355"/>
              <a:gd name="adj2" fmla="val -420"/>
              <a:gd name="adj3" fmla="val 65334"/>
              <a:gd name="adj4" fmla="val -42903"/>
            </a:avLst>
          </a:prstGeom>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r>
              <a:rPr kumimoji="1" lang="en-US" altLang="ja-JP" sz="1400" dirty="0">
                <a:solidFill>
                  <a:schemeClr val="tx1"/>
                </a:solidFill>
                <a:latin typeface="Meiryo UI" panose="020B0604030504040204" pitchFamily="50" charset="-128"/>
                <a:ea typeface="Meiryo UI" panose="020B0604030504040204" pitchFamily="50" charset="-128"/>
              </a:rPr>
              <a:t>1,096</a:t>
            </a:r>
            <a:r>
              <a:rPr kumimoji="1" lang="ja-JP" altLang="en-US" sz="1400" dirty="0">
                <a:solidFill>
                  <a:schemeClr val="tx1"/>
                </a:solidFill>
                <a:latin typeface="Meiryo UI" panose="020B0604030504040204" pitchFamily="50" charset="-128"/>
                <a:ea typeface="Meiryo UI" panose="020B0604030504040204" pitchFamily="50" charset="-128"/>
              </a:rPr>
              <a:t>主体</a:t>
            </a:r>
            <a:endParaRPr kumimoji="1" lang="en-US" altLang="ja-JP" sz="14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a:t>
            </a:r>
            <a:r>
              <a:rPr kumimoji="1" lang="en-US" altLang="ja-JP" sz="1200" dirty="0">
                <a:solidFill>
                  <a:schemeClr val="tx1"/>
                </a:solidFill>
                <a:latin typeface="Meiryo UI" panose="020B0604030504040204" pitchFamily="50" charset="-128"/>
                <a:ea typeface="Meiryo UI" panose="020B0604030504040204" pitchFamily="50" charset="-128"/>
              </a:rPr>
              <a:t>297</a:t>
            </a:r>
            <a:r>
              <a:rPr kumimoji="1" lang="ja-JP" altLang="en-US" sz="1200" dirty="0">
                <a:solidFill>
                  <a:schemeClr val="tx1"/>
                </a:solidFill>
                <a:latin typeface="Meiryo UI" panose="020B0604030504040204" pitchFamily="50" charset="-128"/>
                <a:ea typeface="Meiryo UI" panose="020B0604030504040204" pitchFamily="50" charset="-128"/>
              </a:rPr>
              <a:t>自治体、</a:t>
            </a:r>
            <a:r>
              <a:rPr kumimoji="1" lang="en-US" altLang="ja-JP" sz="1200" dirty="0">
                <a:solidFill>
                  <a:schemeClr val="tx1"/>
                </a:solidFill>
                <a:latin typeface="Meiryo UI" panose="020B0604030504040204" pitchFamily="50" charset="-128"/>
                <a:ea typeface="Meiryo UI" panose="020B0604030504040204" pitchFamily="50" charset="-128"/>
              </a:rPr>
              <a:t>534</a:t>
            </a:r>
            <a:r>
              <a:rPr kumimoji="1" lang="ja-JP" altLang="en-US" sz="1200" dirty="0">
                <a:solidFill>
                  <a:schemeClr val="tx1"/>
                </a:solidFill>
                <a:latin typeface="Meiryo UI" panose="020B0604030504040204" pitchFamily="50" charset="-128"/>
                <a:ea typeface="Meiryo UI" panose="020B0604030504040204" pitchFamily="50" charset="-128"/>
              </a:rPr>
              <a:t>企業、</a:t>
            </a:r>
            <a:br>
              <a:rPr kumimoji="1" lang="en-US" altLang="ja-JP" sz="1200" dirty="0">
                <a:solidFill>
                  <a:schemeClr val="tx1"/>
                </a:solidFill>
                <a:latin typeface="Meiryo UI" panose="020B0604030504040204" pitchFamily="50" charset="-128"/>
                <a:ea typeface="Meiryo UI" panose="020B0604030504040204" pitchFamily="50" charset="-128"/>
              </a:rPr>
            </a:br>
            <a:r>
              <a:rPr kumimoji="1" lang="en-US" altLang="ja-JP" sz="1200" dirty="0">
                <a:solidFill>
                  <a:schemeClr val="tx1"/>
                </a:solidFill>
                <a:latin typeface="Meiryo UI" panose="020B0604030504040204" pitchFamily="50" charset="-128"/>
                <a:ea typeface="Meiryo UI" panose="020B0604030504040204" pitchFamily="50" charset="-128"/>
              </a:rPr>
              <a:t>222</a:t>
            </a:r>
            <a:r>
              <a:rPr kumimoji="1" lang="ja-JP" altLang="en-US" sz="1200" dirty="0">
                <a:solidFill>
                  <a:schemeClr val="tx1"/>
                </a:solidFill>
                <a:latin typeface="Meiryo UI" panose="020B0604030504040204" pitchFamily="50" charset="-128"/>
                <a:ea typeface="Meiryo UI" panose="020B0604030504040204" pitchFamily="50" charset="-128"/>
              </a:rPr>
              <a:t>団体、</a:t>
            </a:r>
            <a:r>
              <a:rPr kumimoji="1" lang="en-US" altLang="ja-JP" sz="1200" dirty="0">
                <a:solidFill>
                  <a:schemeClr val="tx1"/>
                </a:solidFill>
                <a:latin typeface="Meiryo UI" panose="020B0604030504040204" pitchFamily="50" charset="-128"/>
                <a:ea typeface="Meiryo UI" panose="020B0604030504040204" pitchFamily="50" charset="-128"/>
              </a:rPr>
              <a:t>43</a:t>
            </a:r>
            <a:r>
              <a:rPr kumimoji="1" lang="ja-JP" altLang="en-US" sz="1200" dirty="0">
                <a:solidFill>
                  <a:schemeClr val="tx1"/>
                </a:solidFill>
                <a:latin typeface="Meiryo UI" panose="020B0604030504040204" pitchFamily="50" charset="-128"/>
                <a:ea typeface="Meiryo UI" panose="020B0604030504040204" pitchFamily="50" charset="-128"/>
              </a:rPr>
              <a:t>個人）</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800" dirty="0">
                <a:solidFill>
                  <a:schemeClr val="tx1"/>
                </a:solidFill>
                <a:latin typeface="Meiryo UI" panose="020B0604030504040204" pitchFamily="50" charset="-128"/>
                <a:ea typeface="Meiryo UI" panose="020B0604030504040204" pitchFamily="50" charset="-128"/>
              </a:rPr>
              <a:t>令和６年１月</a:t>
            </a:r>
            <a:r>
              <a:rPr kumimoji="1" lang="en-US" altLang="ja-JP" sz="800" dirty="0">
                <a:solidFill>
                  <a:schemeClr val="tx1"/>
                </a:solidFill>
                <a:latin typeface="Meiryo UI" panose="020B0604030504040204" pitchFamily="50" charset="-128"/>
                <a:ea typeface="Meiryo UI" panose="020B0604030504040204" pitchFamily="50" charset="-128"/>
              </a:rPr>
              <a:t>31</a:t>
            </a:r>
            <a:r>
              <a:rPr kumimoji="1" lang="ja-JP" altLang="en-US" sz="800" dirty="0">
                <a:solidFill>
                  <a:schemeClr val="tx1"/>
                </a:solidFill>
                <a:latin typeface="Meiryo UI" panose="020B0604030504040204" pitchFamily="50" charset="-128"/>
                <a:ea typeface="Meiryo UI" panose="020B0604030504040204" pitchFamily="50" charset="-128"/>
              </a:rPr>
              <a:t>日時点</a:t>
            </a:r>
          </a:p>
          <a:p>
            <a:pPr algn="ctr"/>
            <a:endParaRPr kumimoji="1" lang="en-US" altLang="ja-JP" sz="12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332020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3BB9132F-0A71-4949-8CAE-C4D31BF5C409}"/>
              </a:ext>
            </a:extLst>
          </p:cNvPr>
          <p:cNvGraphicFramePr>
            <a:graphicFrameLocks noChangeAspect="1"/>
          </p:cNvGraphicFramePr>
          <p:nvPr>
            <p:custDataLst>
              <p:tags r:id="rId1"/>
            </p:custDataLst>
            <p:extLst>
              <p:ext uri="{D42A27DB-BD31-4B8C-83A1-F6EECF244321}">
                <p14:modId xmlns:p14="http://schemas.microsoft.com/office/powerpoint/2010/main" val="2271100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11" name="オブジェクト 10" hidden="1">
                        <a:extLst>
                          <a:ext uri="{FF2B5EF4-FFF2-40B4-BE49-F238E27FC236}">
                            <a16:creationId xmlns:a16="http://schemas.microsoft.com/office/drawing/2014/main" id="{3BB9132F-0A71-4949-8CAE-C4D31BF5C4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コンテンツ プレースホルダー 2">
            <a:extLst>
              <a:ext uri="{FF2B5EF4-FFF2-40B4-BE49-F238E27FC236}">
                <a16:creationId xmlns:a16="http://schemas.microsoft.com/office/drawing/2014/main" id="{C10A2178-6F1B-4795-91BA-C5A79F2C6033}"/>
              </a:ext>
            </a:extLst>
          </p:cNvPr>
          <p:cNvSpPr>
            <a:spLocks noGrp="1"/>
          </p:cNvSpPr>
          <p:nvPr>
            <p:ph sz="quarter" idx="12"/>
          </p:nvPr>
        </p:nvSpPr>
        <p:spPr>
          <a:xfrm>
            <a:off x="412507" y="917519"/>
            <a:ext cx="9080986" cy="634941"/>
          </a:xfrm>
          <a:ln w="28575">
            <a:solidFill>
              <a:srgbClr val="00584E"/>
            </a:solidFill>
          </a:ln>
        </p:spPr>
        <p:txBody>
          <a:bodyPr/>
          <a:lstStyle/>
          <a:p>
            <a:pPr marL="88902" indent="0">
              <a:buNone/>
            </a:pPr>
            <a:r>
              <a:rPr lang="ja-JP" altLang="en-US" sz="1600" dirty="0">
                <a:solidFill>
                  <a:prstClr val="black"/>
                </a:solidFill>
                <a:sym typeface="Meiryo UI" panose="020B0604030504040204" pitchFamily="50" charset="-128"/>
              </a:rPr>
              <a:t>○ </a:t>
            </a:r>
            <a:r>
              <a:rPr lang="ja-JP" altLang="en-US" sz="1600" dirty="0">
                <a:sym typeface="Meiryo UI" panose="020B0604030504040204" pitchFamily="50" charset="-128"/>
              </a:rPr>
              <a:t>「</a:t>
            </a:r>
            <a:r>
              <a:rPr lang="ja-JP" altLang="en-US" sz="2000" b="1" dirty="0">
                <a:solidFill>
                  <a:schemeClr val="tx2"/>
                </a:solidFill>
                <a:sym typeface="Meiryo UI" panose="020B0604030504040204" pitchFamily="50" charset="-128"/>
              </a:rPr>
              <a:t>ファッション</a:t>
            </a:r>
            <a:r>
              <a:rPr lang="ja-JP" altLang="en-US" sz="1600" dirty="0">
                <a:sym typeface="Meiryo UI" panose="020B0604030504040204" pitchFamily="50" charset="-128"/>
              </a:rPr>
              <a:t>」、「</a:t>
            </a:r>
            <a:r>
              <a:rPr lang="ja-JP" altLang="en-US" sz="2000" b="1" dirty="0">
                <a:solidFill>
                  <a:schemeClr val="tx2"/>
                </a:solidFill>
                <a:sym typeface="Meiryo UI" panose="020B0604030504040204" pitchFamily="50" charset="-128"/>
              </a:rPr>
              <a:t>住まい</a:t>
            </a:r>
            <a:r>
              <a:rPr lang="ja-JP" altLang="en-US" sz="1600" dirty="0">
                <a:sym typeface="Meiryo UI" panose="020B0604030504040204" pitchFamily="50" charset="-128"/>
              </a:rPr>
              <a:t>」、「</a:t>
            </a:r>
            <a:r>
              <a:rPr lang="ja-JP" altLang="en-US" sz="2000" b="1" dirty="0">
                <a:solidFill>
                  <a:schemeClr val="tx2"/>
                </a:solidFill>
                <a:sym typeface="Meiryo UI" panose="020B0604030504040204" pitchFamily="50" charset="-128"/>
              </a:rPr>
              <a:t>デジタルワーク</a:t>
            </a:r>
            <a:r>
              <a:rPr lang="ja-JP" altLang="en-US" sz="1600" dirty="0">
                <a:sym typeface="Meiryo UI" panose="020B0604030504040204" pitchFamily="50" charset="-128"/>
              </a:rPr>
              <a:t>」で、新しい豊かな暮らしを提案します。 </a:t>
            </a:r>
          </a:p>
        </p:txBody>
      </p:sp>
      <p:sp>
        <p:nvSpPr>
          <p:cNvPr id="15" name="Rectangle: Rounded Corners 37">
            <a:extLst>
              <a:ext uri="{FF2B5EF4-FFF2-40B4-BE49-F238E27FC236}">
                <a16:creationId xmlns:a16="http://schemas.microsoft.com/office/drawing/2014/main" id="{CE49CFEF-43B7-409C-B08A-7F2C94AE936A}"/>
              </a:ext>
            </a:extLst>
          </p:cNvPr>
          <p:cNvSpPr/>
          <p:nvPr/>
        </p:nvSpPr>
        <p:spPr>
          <a:xfrm>
            <a:off x="288549" y="5211591"/>
            <a:ext cx="9328907" cy="1291024"/>
          </a:xfrm>
          <a:prstGeom prst="roundRect">
            <a:avLst>
              <a:gd name="adj" fmla="val 619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939824">
              <a:lnSpc>
                <a:spcPct val="90000"/>
              </a:lnSpc>
              <a:spcAft>
                <a:spcPts val="600"/>
              </a:spcAft>
            </a:pPr>
            <a:endPar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4" name="Rectangle: Rounded Corners 37">
            <a:extLst>
              <a:ext uri="{FF2B5EF4-FFF2-40B4-BE49-F238E27FC236}">
                <a16:creationId xmlns:a16="http://schemas.microsoft.com/office/drawing/2014/main" id="{76D2D41E-4F11-4AE0-B72F-82F5BC60A773}"/>
              </a:ext>
            </a:extLst>
          </p:cNvPr>
          <p:cNvSpPr/>
          <p:nvPr/>
        </p:nvSpPr>
        <p:spPr>
          <a:xfrm>
            <a:off x="288549" y="3641009"/>
            <a:ext cx="9328907" cy="1291024"/>
          </a:xfrm>
          <a:prstGeom prst="roundRect">
            <a:avLst>
              <a:gd name="adj" fmla="val 619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939824">
              <a:lnSpc>
                <a:spcPct val="90000"/>
              </a:lnSpc>
              <a:spcAft>
                <a:spcPts val="600"/>
              </a:spcAft>
            </a:pPr>
            <a:endPar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3" name="Rectangle: Rounded Corners 37">
            <a:extLst>
              <a:ext uri="{FF2B5EF4-FFF2-40B4-BE49-F238E27FC236}">
                <a16:creationId xmlns:a16="http://schemas.microsoft.com/office/drawing/2014/main" id="{67BE7FE1-ABF6-4CB4-A9C2-9E30700BB977}"/>
              </a:ext>
            </a:extLst>
          </p:cNvPr>
          <p:cNvSpPr/>
          <p:nvPr/>
        </p:nvSpPr>
        <p:spPr>
          <a:xfrm>
            <a:off x="288549" y="1799315"/>
            <a:ext cx="9328907" cy="1562139"/>
          </a:xfrm>
          <a:prstGeom prst="roundRect">
            <a:avLst>
              <a:gd name="adj" fmla="val 6192"/>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marL="939824">
              <a:lnSpc>
                <a:spcPct val="90000"/>
              </a:lnSpc>
              <a:spcAft>
                <a:spcPts val="600"/>
              </a:spcAft>
            </a:pPr>
            <a:endParaRPr lang="ja-JP" altLang="en-US" sz="1600">
              <a:solidFill>
                <a:schemeClr val="tx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4" name="Textfeld 1">
            <a:extLst>
              <a:ext uri="{FF2B5EF4-FFF2-40B4-BE49-F238E27FC236}">
                <a16:creationId xmlns:a16="http://schemas.microsoft.com/office/drawing/2014/main" id="{7F8DC807-FD79-4DED-A3A0-9FA23FACE4D6}"/>
              </a:ext>
            </a:extLst>
          </p:cNvPr>
          <p:cNvSpPr txBox="1"/>
          <p:nvPr/>
        </p:nvSpPr>
        <p:spPr>
          <a:xfrm>
            <a:off x="2169155" y="3526437"/>
            <a:ext cx="7358668" cy="1381083"/>
          </a:xfrm>
          <a:prstGeom prst="rect">
            <a:avLst/>
          </a:prstGeom>
          <a:noFill/>
          <a:ln w="9525" cap="flat" cmpd="sng" algn="ctr">
            <a:noFill/>
            <a:prstDash val="solid"/>
            <a:miter lim="800000"/>
            <a:headEnd type="none" w="lg" len="lg"/>
            <a:tailEnd type="none" w="lg" len="lg"/>
          </a:ln>
          <a:effectLst/>
          <a:extLst>
            <a:ext uri="{91240B29-F687-4F45-9708-019B960494DF}">
              <a14:hiddenLine xmlns:a14="http://schemas.microsoft.com/office/drawing/2010/main" w="9525" cap="flat" cmpd="sng" algn="ctr">
                <a:solidFill>
                  <a:srgbClr val="9A9A9A"/>
                </a:solidFill>
                <a:prstDash val="solid"/>
                <a:miter lim="800000"/>
                <a:headEnd type="none" w="lg" len="lg"/>
                <a:tailEnd type="none" w="lg" len="lg"/>
              </a14:hiddenLine>
            </a:ext>
          </a:extLst>
        </p:spPr>
        <p:txBody>
          <a:bodyPr vert="horz" wrap="square" lIns="0" tIns="0" rIns="0" bIns="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pPr>
            <a:r>
              <a:rPr lang="ja-JP" altLang="en-US" sz="2000" dirty="0">
                <a:solidFill>
                  <a:srgbClr val="000000"/>
                </a:solidFill>
                <a:latin typeface="Meiryo UI" panose="020B0604030504040204" pitchFamily="50" charset="-128"/>
                <a:sym typeface="Meiryo UI" panose="020B0604030504040204" pitchFamily="50" charset="-128"/>
              </a:rPr>
              <a:t>快適で健康な暮らしにもつながる</a:t>
            </a:r>
            <a:r>
              <a:rPr lang="ja-JP" altLang="en-US" sz="2000" b="1" dirty="0">
                <a:solidFill>
                  <a:srgbClr val="000000"/>
                </a:solidFill>
                <a:latin typeface="Meiryo UI" panose="020B0604030504040204" pitchFamily="50" charset="-128"/>
                <a:sym typeface="Meiryo UI" panose="020B0604030504040204" pitchFamily="50" charset="-128"/>
              </a:rPr>
              <a:t>住宅の断熱リフォーム</a:t>
            </a:r>
            <a:r>
              <a:rPr lang="ja-JP" altLang="en-US" sz="2000" dirty="0">
                <a:solidFill>
                  <a:srgbClr val="000000"/>
                </a:solidFill>
                <a:latin typeface="Meiryo UI" panose="020B0604030504040204" pitchFamily="50" charset="-128"/>
                <a:sym typeface="Meiryo UI" panose="020B0604030504040204" pitchFamily="50" charset="-128"/>
              </a:rPr>
              <a:t>促進キャンペーン</a:t>
            </a:r>
            <a:endParaRPr lang="en-US" altLang="ja-JP" sz="2000" dirty="0">
              <a:solidFill>
                <a:srgbClr val="000000"/>
              </a:solidFill>
              <a:latin typeface="Meiryo UI" panose="020B0604030504040204" pitchFamily="50" charset="-128"/>
              <a:sym typeface="Meiryo UI" panose="020B0604030504040204" pitchFamily="50" charset="-128"/>
            </a:endParaRPr>
          </a:p>
          <a:p>
            <a:pPr>
              <a:lnSpc>
                <a:spcPct val="90000"/>
              </a:lnSpc>
            </a:pPr>
            <a:r>
              <a:rPr lang="ja-JP" altLang="en-US" sz="2000" dirty="0">
                <a:solidFill>
                  <a:srgbClr val="000000"/>
                </a:solidFill>
                <a:latin typeface="Meiryo UI" panose="020B0604030504040204" pitchFamily="50" charset="-128"/>
                <a:sym typeface="Meiryo UI" panose="020B0604030504040204" pitchFamily="50" charset="-128"/>
              </a:rPr>
              <a:t>　　　　　　　　　　　　　　　　　　　　　　　　　　　　　　　　　　　を展開します。</a:t>
            </a:r>
            <a:endParaRPr lang="en-US" altLang="zh-TW" sz="2000" dirty="0">
              <a:solidFill>
                <a:srgbClr val="000000"/>
              </a:solidFill>
              <a:latin typeface="Meiryo UI" panose="020B0604030504040204" pitchFamily="50" charset="-128"/>
              <a:sym typeface="Meiryo UI" panose="020B0604030504040204" pitchFamily="50" charset="-128"/>
            </a:endParaRPr>
          </a:p>
        </p:txBody>
      </p:sp>
      <p:sp>
        <p:nvSpPr>
          <p:cNvPr id="5" name="Textfeld 1">
            <a:extLst>
              <a:ext uri="{FF2B5EF4-FFF2-40B4-BE49-F238E27FC236}">
                <a16:creationId xmlns:a16="http://schemas.microsoft.com/office/drawing/2014/main" id="{66E6FBFC-496D-425A-890A-A8E1F4A30470}"/>
              </a:ext>
            </a:extLst>
          </p:cNvPr>
          <p:cNvSpPr txBox="1"/>
          <p:nvPr/>
        </p:nvSpPr>
        <p:spPr>
          <a:xfrm>
            <a:off x="2169157" y="5219649"/>
            <a:ext cx="7358669" cy="1381083"/>
          </a:xfrm>
          <a:prstGeom prst="rect">
            <a:avLst/>
          </a:prstGeom>
          <a:noFill/>
          <a:ln w="9525" cap="flat" cmpd="sng" algn="ctr">
            <a:noFill/>
            <a:prstDash val="solid"/>
            <a:miter lim="800000"/>
            <a:headEnd type="none" w="lg" len="lg"/>
            <a:tailEnd type="none" w="lg" len="lg"/>
          </a:ln>
          <a:effectLst/>
          <a:extLst>
            <a:ext uri="{91240B29-F687-4F45-9708-019B960494DF}">
              <a14:hiddenLine xmlns:a14="http://schemas.microsoft.com/office/drawing/2010/main" w="9525" cap="flat" cmpd="sng" algn="ctr">
                <a:solidFill>
                  <a:srgbClr val="9A9A9A"/>
                </a:solidFill>
                <a:prstDash val="solid"/>
                <a:miter lim="800000"/>
                <a:headEnd type="none" w="lg" len="lg"/>
                <a:tailEnd type="none" w="lg" len="lg"/>
              </a14:hiddenLine>
            </a:ext>
          </a:extLst>
        </p:spPr>
        <p:txBody>
          <a:bodyPr vert="horz" wrap="square" lIns="0" tIns="0" rIns="0" bIns="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pPr>
            <a:r>
              <a:rPr lang="ja-JP" altLang="en-US" sz="2000" b="1" dirty="0">
                <a:solidFill>
                  <a:srgbClr val="000000"/>
                </a:solidFill>
                <a:latin typeface="Meiryo UI" panose="020B0604030504040204" pitchFamily="50" charset="-128"/>
                <a:sym typeface="Meiryo UI" panose="020B0604030504040204" pitchFamily="50" charset="-128"/>
              </a:rPr>
              <a:t>テレワークの率先垂範</a:t>
            </a:r>
            <a:r>
              <a:rPr lang="ja-JP" altLang="en-US" sz="2000" dirty="0">
                <a:solidFill>
                  <a:srgbClr val="000000"/>
                </a:solidFill>
                <a:latin typeface="Meiryo UI" panose="020B0604030504040204" pitchFamily="50" charset="-128"/>
                <a:sym typeface="Meiryo UI" panose="020B0604030504040204" pitchFamily="50" charset="-128"/>
              </a:rPr>
              <a:t> を実行します。</a:t>
            </a:r>
            <a:endParaRPr lang="en-US" altLang="ja-JP" sz="2000" dirty="0">
              <a:solidFill>
                <a:srgbClr val="000000"/>
              </a:solidFill>
              <a:latin typeface="Meiryo UI" panose="020B0604030504040204" pitchFamily="50" charset="-128"/>
              <a:sym typeface="Meiryo UI" panose="020B0604030504040204" pitchFamily="50" charset="-128"/>
            </a:endParaRPr>
          </a:p>
          <a:p>
            <a:pPr>
              <a:lnSpc>
                <a:spcPct val="90000"/>
              </a:lnSpc>
            </a:pPr>
            <a:endParaRPr lang="en-US" altLang="ja-JP" sz="2000" b="1" dirty="0">
              <a:solidFill>
                <a:srgbClr val="000000"/>
              </a:solidFill>
              <a:latin typeface="Meiryo UI" panose="020B0604030504040204" pitchFamily="50" charset="-128"/>
              <a:sym typeface="Meiryo UI" panose="020B0604030504040204" pitchFamily="50" charset="-128"/>
            </a:endParaRPr>
          </a:p>
          <a:p>
            <a:pPr>
              <a:lnSpc>
                <a:spcPct val="90000"/>
              </a:lnSpc>
            </a:pPr>
            <a:r>
              <a:rPr lang="ja-JP" altLang="en-US" sz="2000" b="1" dirty="0">
                <a:solidFill>
                  <a:srgbClr val="000000"/>
                </a:solidFill>
                <a:latin typeface="Meiryo UI" panose="020B0604030504040204" pitchFamily="50" charset="-128"/>
                <a:sym typeface="Meiryo UI" panose="020B0604030504040204" pitchFamily="50" charset="-128"/>
              </a:rPr>
              <a:t>国立公園のデジタル化 </a:t>
            </a:r>
            <a:r>
              <a:rPr lang="en-US" altLang="ja-JP" sz="2000" dirty="0">
                <a:solidFill>
                  <a:srgbClr val="000000"/>
                </a:solidFill>
                <a:latin typeface="Meiryo UI" panose="020B0604030504040204" pitchFamily="50" charset="-128"/>
                <a:sym typeface="Meiryo UI" panose="020B0604030504040204" pitchFamily="50" charset="-128"/>
              </a:rPr>
              <a:t>(</a:t>
            </a:r>
            <a:r>
              <a:rPr lang="ja-JP" altLang="en-US" sz="2000" dirty="0">
                <a:solidFill>
                  <a:srgbClr val="000000"/>
                </a:solidFill>
                <a:latin typeface="Meiryo UI" panose="020B0604030504040204" pitchFamily="50" charset="-128"/>
                <a:sym typeface="Meiryo UI" panose="020B0604030504040204" pitchFamily="50" charset="-128"/>
              </a:rPr>
              <a:t>ワーケーション・インバウンド対応</a:t>
            </a:r>
            <a:r>
              <a:rPr lang="en-US" altLang="ja-JP" sz="2000" dirty="0">
                <a:solidFill>
                  <a:srgbClr val="000000"/>
                </a:solidFill>
                <a:latin typeface="Meiryo UI" panose="020B0604030504040204" pitchFamily="50" charset="-128"/>
                <a:sym typeface="Meiryo UI" panose="020B0604030504040204" pitchFamily="50" charset="-128"/>
              </a:rPr>
              <a:t>)</a:t>
            </a:r>
          </a:p>
          <a:p>
            <a:pPr>
              <a:lnSpc>
                <a:spcPct val="90000"/>
              </a:lnSpc>
            </a:pPr>
            <a:r>
              <a:rPr lang="en-US" altLang="ja-JP" sz="2000" dirty="0">
                <a:solidFill>
                  <a:srgbClr val="000000"/>
                </a:solidFill>
                <a:latin typeface="Meiryo UI" panose="020B0604030504040204" pitchFamily="50" charset="-128"/>
                <a:sym typeface="Meiryo UI" panose="020B0604030504040204" pitchFamily="50" charset="-128"/>
              </a:rPr>
              <a:t>                         </a:t>
            </a:r>
            <a:r>
              <a:rPr lang="ja-JP" altLang="en-US" sz="2000" dirty="0">
                <a:solidFill>
                  <a:srgbClr val="000000"/>
                </a:solidFill>
                <a:latin typeface="Meiryo UI" panose="020B0604030504040204" pitchFamily="50" charset="-128"/>
                <a:sym typeface="Meiryo UI" panose="020B0604030504040204" pitchFamily="50" charset="-128"/>
              </a:rPr>
              <a:t>と民間・自治体と連携した積極誘致を促進します。</a:t>
            </a:r>
            <a:endParaRPr lang="en-US" altLang="zh-TW" sz="2000" dirty="0">
              <a:solidFill>
                <a:srgbClr val="000000"/>
              </a:solidFill>
              <a:latin typeface="Meiryo UI" panose="020B0604030504040204" pitchFamily="50" charset="-128"/>
              <a:sym typeface="Meiryo UI" panose="020B0604030504040204" pitchFamily="50" charset="-128"/>
            </a:endParaRPr>
          </a:p>
        </p:txBody>
      </p:sp>
      <p:sp>
        <p:nvSpPr>
          <p:cNvPr id="6" name="Textfeld 1">
            <a:extLst>
              <a:ext uri="{FF2B5EF4-FFF2-40B4-BE49-F238E27FC236}">
                <a16:creationId xmlns:a16="http://schemas.microsoft.com/office/drawing/2014/main" id="{FAAC1551-9040-410B-9015-B300D4BD1137}"/>
              </a:ext>
            </a:extLst>
          </p:cNvPr>
          <p:cNvSpPr txBox="1"/>
          <p:nvPr/>
        </p:nvSpPr>
        <p:spPr>
          <a:xfrm>
            <a:off x="2210696" y="2048682"/>
            <a:ext cx="7358669" cy="1197329"/>
          </a:xfrm>
          <a:prstGeom prst="rect">
            <a:avLst/>
          </a:prstGeom>
          <a:noFill/>
          <a:ln w="9525" cap="flat" cmpd="sng" algn="ctr">
            <a:noFill/>
            <a:prstDash val="solid"/>
            <a:miter lim="800000"/>
            <a:headEnd type="none" w="lg" len="lg"/>
            <a:tailEnd type="none" w="lg" len="lg"/>
          </a:ln>
          <a:effectLst/>
          <a:extLst>
            <a:ext uri="{91240B29-F687-4F45-9708-019B960494DF}">
              <a14:hiddenLine xmlns:a14="http://schemas.microsoft.com/office/drawing/2010/main" w="9525" cap="flat" cmpd="sng" algn="ctr">
                <a:solidFill>
                  <a:srgbClr val="9A9A9A"/>
                </a:solidFill>
                <a:prstDash val="solid"/>
                <a:miter lim="800000"/>
                <a:headEnd type="none" w="lg" len="lg"/>
                <a:tailEnd type="none" w="lg" len="lg"/>
              </a14:hiddenLine>
            </a:ext>
          </a:extLst>
        </p:spPr>
        <p:txBody>
          <a:bodyPr vert="horz" wrap="square" lIns="0" tIns="0" rIns="0" bIns="0"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90000"/>
              </a:lnSpc>
            </a:pPr>
            <a:r>
              <a:rPr lang="ja-JP" altLang="en-US" sz="2000" dirty="0">
                <a:solidFill>
                  <a:srgbClr val="000000"/>
                </a:solidFill>
                <a:latin typeface="Meiryo UI" panose="020B0604030504040204" pitchFamily="50" charset="-128"/>
                <a:sym typeface="Meiryo UI" panose="020B0604030504040204" pitchFamily="50" charset="-128"/>
              </a:rPr>
              <a:t>若者含めた全世代が働きやすい服装を選べる</a:t>
            </a:r>
            <a:r>
              <a:rPr lang="en-US" altLang="ja-JP" sz="2000" dirty="0">
                <a:solidFill>
                  <a:srgbClr val="000000"/>
                </a:solidFill>
                <a:latin typeface="Meiryo UI" panose="020B0604030504040204" pitchFamily="50" charset="-128"/>
                <a:sym typeface="Meiryo UI" panose="020B0604030504040204" pitchFamily="50" charset="-128"/>
              </a:rPr>
              <a:t>“</a:t>
            </a:r>
            <a:r>
              <a:rPr lang="ja-JP" altLang="en-US" sz="2000" b="1" dirty="0">
                <a:solidFill>
                  <a:srgbClr val="000000"/>
                </a:solidFill>
                <a:latin typeface="Meiryo UI" panose="020B0604030504040204" pitchFamily="50" charset="-128"/>
                <a:sym typeface="Meiryo UI" panose="020B0604030504040204" pitchFamily="50" charset="-128"/>
              </a:rPr>
              <a:t>オフィス服装改革</a:t>
            </a:r>
            <a:r>
              <a:rPr lang="en-US" altLang="ja-JP" sz="2000" dirty="0">
                <a:solidFill>
                  <a:srgbClr val="000000"/>
                </a:solidFill>
                <a:latin typeface="Meiryo UI" panose="020B0604030504040204" pitchFamily="50" charset="-128"/>
                <a:sym typeface="Meiryo UI" panose="020B0604030504040204" pitchFamily="50" charset="-128"/>
              </a:rPr>
              <a:t>”</a:t>
            </a:r>
            <a:r>
              <a:rPr lang="ja-JP" altLang="en-US" sz="2000" dirty="0">
                <a:solidFill>
                  <a:srgbClr val="000000"/>
                </a:solidFill>
                <a:latin typeface="Meiryo UI" panose="020B0604030504040204" pitchFamily="50" charset="-128"/>
                <a:sym typeface="Meiryo UI" panose="020B0604030504040204" pitchFamily="50" charset="-128"/>
              </a:rPr>
              <a:t>を</a:t>
            </a:r>
            <a:br>
              <a:rPr lang="en-US" altLang="ja-JP" sz="2000" dirty="0">
                <a:solidFill>
                  <a:srgbClr val="000000"/>
                </a:solidFill>
                <a:latin typeface="Meiryo UI" panose="020B0604030504040204" pitchFamily="50" charset="-128"/>
                <a:sym typeface="Meiryo UI" panose="020B0604030504040204" pitchFamily="50" charset="-128"/>
              </a:rPr>
            </a:br>
            <a:r>
              <a:rPr lang="en-US" altLang="ja-JP" sz="2000" dirty="0">
                <a:solidFill>
                  <a:srgbClr val="000000"/>
                </a:solidFill>
                <a:latin typeface="Meiryo UI" panose="020B0604030504040204" pitchFamily="50" charset="-128"/>
                <a:sym typeface="Meiryo UI" panose="020B0604030504040204" pitchFamily="50" charset="-128"/>
              </a:rPr>
              <a:t>                                                                    </a:t>
            </a:r>
            <a:r>
              <a:rPr lang="ja-JP" altLang="en-US" sz="2000" dirty="0">
                <a:solidFill>
                  <a:srgbClr val="000000"/>
                </a:solidFill>
                <a:latin typeface="Meiryo UI" panose="020B0604030504040204" pitchFamily="50" charset="-128"/>
                <a:sym typeface="Meiryo UI" panose="020B0604030504040204" pitchFamily="50" charset="-128"/>
              </a:rPr>
              <a:t>呼びかけます。</a:t>
            </a:r>
            <a:endParaRPr lang="en-US" altLang="ja-JP" sz="2000" dirty="0">
              <a:solidFill>
                <a:srgbClr val="000000"/>
              </a:solidFill>
              <a:latin typeface="Meiryo UI" panose="020B0604030504040204" pitchFamily="50" charset="-128"/>
              <a:sym typeface="Meiryo UI" panose="020B0604030504040204" pitchFamily="50" charset="-128"/>
            </a:endParaRPr>
          </a:p>
          <a:p>
            <a:pPr>
              <a:lnSpc>
                <a:spcPct val="90000"/>
              </a:lnSpc>
            </a:pPr>
            <a:endParaRPr lang="en-US" altLang="ja-JP" sz="2000" dirty="0">
              <a:solidFill>
                <a:srgbClr val="000000"/>
              </a:solidFill>
              <a:latin typeface="Meiryo UI" panose="020B0604030504040204" pitchFamily="50" charset="-128"/>
              <a:sym typeface="Meiryo UI" panose="020B0604030504040204" pitchFamily="50" charset="-128"/>
            </a:endParaRPr>
          </a:p>
          <a:p>
            <a:pPr>
              <a:lnSpc>
                <a:spcPct val="90000"/>
              </a:lnSpc>
            </a:pPr>
            <a:endParaRPr lang="en-US" altLang="ja-JP" sz="2000" dirty="0">
              <a:solidFill>
                <a:srgbClr val="000000"/>
              </a:solidFill>
              <a:latin typeface="Meiryo UI" panose="020B0604030504040204" pitchFamily="50" charset="-128"/>
              <a:sym typeface="Meiryo UI" panose="020B0604030504040204" pitchFamily="50" charset="-128"/>
            </a:endParaRPr>
          </a:p>
          <a:p>
            <a:pPr>
              <a:lnSpc>
                <a:spcPct val="90000"/>
              </a:lnSpc>
            </a:pPr>
            <a:r>
              <a:rPr lang="ja-JP" altLang="en-US" sz="2000" dirty="0">
                <a:solidFill>
                  <a:srgbClr val="000000"/>
                </a:solidFill>
                <a:latin typeface="Meiryo UI" panose="020B0604030504040204" pitchFamily="50" charset="-128"/>
                <a:sym typeface="Meiryo UI" panose="020B0604030504040204" pitchFamily="50" charset="-128"/>
              </a:rPr>
              <a:t>業界の皆様と連携し、</a:t>
            </a:r>
            <a:r>
              <a:rPr lang="ja-JP" altLang="en-US" sz="2000" b="1" dirty="0">
                <a:solidFill>
                  <a:srgbClr val="000000"/>
                </a:solidFill>
                <a:latin typeface="Meiryo UI" panose="020B0604030504040204" pitchFamily="50" charset="-128"/>
                <a:sym typeface="Meiryo UI" panose="020B0604030504040204" pitchFamily="50" charset="-128"/>
              </a:rPr>
              <a:t>サステナブルファッション</a:t>
            </a:r>
            <a:r>
              <a:rPr lang="ja-JP" altLang="en-US" sz="2000" dirty="0">
                <a:solidFill>
                  <a:srgbClr val="000000"/>
                </a:solidFill>
                <a:latin typeface="Meiryo UI" panose="020B0604030504040204" pitchFamily="50" charset="-128"/>
                <a:sym typeface="Meiryo UI" panose="020B0604030504040204" pitchFamily="50" charset="-128"/>
              </a:rPr>
              <a:t>を浸透させます。</a:t>
            </a:r>
            <a:endParaRPr lang="en-US" altLang="zh-TW" sz="2000" dirty="0">
              <a:solidFill>
                <a:srgbClr val="000000"/>
              </a:solidFill>
              <a:latin typeface="Meiryo UI" panose="020B0604030504040204" pitchFamily="50" charset="-128"/>
              <a:sym typeface="Meiryo UI" panose="020B0604030504040204" pitchFamily="50" charset="-128"/>
            </a:endParaRPr>
          </a:p>
        </p:txBody>
      </p:sp>
      <p:grpSp>
        <p:nvGrpSpPr>
          <p:cNvPr id="7" name="Group 5">
            <a:extLst>
              <a:ext uri="{FF2B5EF4-FFF2-40B4-BE49-F238E27FC236}">
                <a16:creationId xmlns:a16="http://schemas.microsoft.com/office/drawing/2014/main" id="{9BEC2744-1DA2-458F-98F6-394939CFEA15}"/>
              </a:ext>
            </a:extLst>
          </p:cNvPr>
          <p:cNvGrpSpPr>
            <a:grpSpLocks noChangeAspect="1"/>
          </p:cNvGrpSpPr>
          <p:nvPr/>
        </p:nvGrpSpPr>
        <p:grpSpPr>
          <a:xfrm>
            <a:off x="5422070" y="2491175"/>
            <a:ext cx="280987" cy="280987"/>
            <a:chOff x="628650" y="1443038"/>
            <a:chExt cx="269875" cy="269875"/>
          </a:xfrm>
        </p:grpSpPr>
        <p:sp>
          <p:nvSpPr>
            <p:cNvPr id="9" name="Oval 6">
              <a:extLst>
                <a:ext uri="{FF2B5EF4-FFF2-40B4-BE49-F238E27FC236}">
                  <a16:creationId xmlns:a16="http://schemas.microsoft.com/office/drawing/2014/main" id="{B7A954F7-3DF5-4304-9DBC-28631F36CC75}"/>
                </a:ext>
              </a:extLst>
            </p:cNvPr>
            <p:cNvSpPr>
              <a:spLocks noChangeArrowheads="1"/>
            </p:cNvSpPr>
            <p:nvPr/>
          </p:nvSpPr>
          <p:spPr bwMode="auto">
            <a:xfrm>
              <a:off x="628650" y="1443038"/>
              <a:ext cx="269875" cy="269875"/>
            </a:xfrm>
            <a:prstGeom prst="ellipse">
              <a:avLst/>
            </a:prstGeom>
            <a:solidFill>
              <a:srgbClr val="233D5F"/>
            </a:solidFill>
            <a:ln>
              <a:noFill/>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000">
                <a:solidFill>
                  <a:schemeClr val="accent3">
                    <a:lumMod val="50000"/>
                  </a:schemeClr>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0" name="Freeform 7">
              <a:extLst>
                <a:ext uri="{FF2B5EF4-FFF2-40B4-BE49-F238E27FC236}">
                  <a16:creationId xmlns:a16="http://schemas.microsoft.com/office/drawing/2014/main" id="{EA9C14E4-CEBC-499D-9129-9BFD57E02452}"/>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000">
                <a:solidFill>
                  <a:srgbClr val="000000"/>
                </a:solidFill>
                <a:latin typeface="Meiryo UI" panose="020B0604030504040204" pitchFamily="50" charset="-128"/>
                <a:ea typeface="Meiryo UI" panose="020B0604030504040204" pitchFamily="50" charset="-128"/>
                <a:sym typeface="Meiryo UI" panose="020B0604030504040204" pitchFamily="50" charset="-128"/>
              </a:endParaRPr>
            </a:p>
          </p:txBody>
        </p:sp>
      </p:grpSp>
      <p:sp>
        <p:nvSpPr>
          <p:cNvPr id="21" name="Oval 22">
            <a:extLst>
              <a:ext uri="{FF2B5EF4-FFF2-40B4-BE49-F238E27FC236}">
                <a16:creationId xmlns:a16="http://schemas.microsoft.com/office/drawing/2014/main" id="{E52741B4-27AC-4CF9-9E36-6A24EFF7C7E0}"/>
              </a:ext>
            </a:extLst>
          </p:cNvPr>
          <p:cNvSpPr/>
          <p:nvPr/>
        </p:nvSpPr>
        <p:spPr>
          <a:xfrm>
            <a:off x="202067" y="1755081"/>
            <a:ext cx="383328" cy="383328"/>
          </a:xfrm>
          <a:prstGeom prst="ellipse">
            <a:avLst/>
          </a:prstGeom>
          <a:solidFill>
            <a:srgbClr val="29BA74"/>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23">
              <a:defRPr/>
            </a:pPr>
            <a:r>
              <a:rPr kumimoji="1" lang="en-US" altLang="ja-JP" sz="2000">
                <a:solidFill>
                  <a:srgbClr val="FFFFFF"/>
                </a:solidFill>
                <a:latin typeface="+mj-lt"/>
                <a:ea typeface="Meiryo UI" panose="020B0604030504040204" pitchFamily="50" charset="-128"/>
                <a:cs typeface="Arial" pitchFamily="34" charset="0"/>
              </a:rPr>
              <a:t>1</a:t>
            </a:r>
            <a:endParaRPr kumimoji="1" lang="ja-JP" altLang="en-US" sz="2000">
              <a:solidFill>
                <a:srgbClr val="FFFFFF"/>
              </a:solidFill>
              <a:latin typeface="+mj-lt"/>
              <a:ea typeface="Meiryo UI" panose="020B0604030504040204" pitchFamily="50" charset="-128"/>
              <a:cs typeface="Arial" pitchFamily="34" charset="0"/>
            </a:endParaRPr>
          </a:p>
        </p:txBody>
      </p:sp>
      <p:sp>
        <p:nvSpPr>
          <p:cNvPr id="22" name="Oval 22">
            <a:extLst>
              <a:ext uri="{FF2B5EF4-FFF2-40B4-BE49-F238E27FC236}">
                <a16:creationId xmlns:a16="http://schemas.microsoft.com/office/drawing/2014/main" id="{62D68E98-DE0D-4480-B790-076995EF3D79}"/>
              </a:ext>
            </a:extLst>
          </p:cNvPr>
          <p:cNvSpPr/>
          <p:nvPr/>
        </p:nvSpPr>
        <p:spPr>
          <a:xfrm>
            <a:off x="213084" y="3588696"/>
            <a:ext cx="383328" cy="383328"/>
          </a:xfrm>
          <a:prstGeom prst="ellipse">
            <a:avLst/>
          </a:prstGeom>
          <a:solidFill>
            <a:srgbClr val="29BA74"/>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23">
              <a:defRPr/>
            </a:pPr>
            <a:r>
              <a:rPr kumimoji="1" lang="en-US" altLang="ja-JP" sz="2000">
                <a:solidFill>
                  <a:srgbClr val="FFFFFF"/>
                </a:solidFill>
                <a:latin typeface="+mj-lt"/>
                <a:ea typeface="Meiryo UI" panose="020B0604030504040204" pitchFamily="50" charset="-128"/>
                <a:cs typeface="Arial" pitchFamily="34" charset="0"/>
              </a:rPr>
              <a:t>2</a:t>
            </a:r>
            <a:endParaRPr kumimoji="1" lang="ja-JP" altLang="en-US" sz="2000">
              <a:solidFill>
                <a:srgbClr val="FFFFFF"/>
              </a:solidFill>
              <a:latin typeface="+mj-lt"/>
              <a:ea typeface="Meiryo UI" panose="020B0604030504040204" pitchFamily="50" charset="-128"/>
              <a:cs typeface="Arial" pitchFamily="34" charset="0"/>
            </a:endParaRPr>
          </a:p>
        </p:txBody>
      </p:sp>
      <p:sp>
        <p:nvSpPr>
          <p:cNvPr id="23" name="Oval 22">
            <a:extLst>
              <a:ext uri="{FF2B5EF4-FFF2-40B4-BE49-F238E27FC236}">
                <a16:creationId xmlns:a16="http://schemas.microsoft.com/office/drawing/2014/main" id="{43DE3D22-06E4-4597-AEC7-AE8FBD7BE639}"/>
              </a:ext>
            </a:extLst>
          </p:cNvPr>
          <p:cNvSpPr/>
          <p:nvPr/>
        </p:nvSpPr>
        <p:spPr>
          <a:xfrm>
            <a:off x="224101" y="5160660"/>
            <a:ext cx="383328" cy="383328"/>
          </a:xfrm>
          <a:prstGeom prst="ellipse">
            <a:avLst/>
          </a:prstGeom>
          <a:solidFill>
            <a:srgbClr val="29BA74"/>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23">
              <a:defRPr/>
            </a:pPr>
            <a:r>
              <a:rPr kumimoji="1" lang="en-US" altLang="ja-JP" sz="2000">
                <a:solidFill>
                  <a:srgbClr val="FFFFFF"/>
                </a:solidFill>
                <a:latin typeface="+mj-lt"/>
                <a:ea typeface="Meiryo UI" panose="020B0604030504040204" pitchFamily="50" charset="-128"/>
                <a:cs typeface="Arial" pitchFamily="34" charset="0"/>
              </a:rPr>
              <a:t>3</a:t>
            </a:r>
            <a:endParaRPr kumimoji="1" lang="ja-JP" altLang="en-US" sz="2000">
              <a:solidFill>
                <a:srgbClr val="FFFFFF"/>
              </a:solidFill>
              <a:latin typeface="+mj-lt"/>
              <a:ea typeface="Meiryo UI" panose="020B0604030504040204" pitchFamily="50" charset="-128"/>
              <a:cs typeface="Arial" pitchFamily="34" charset="0"/>
            </a:endParaRPr>
          </a:p>
        </p:txBody>
      </p:sp>
      <p:pic>
        <p:nvPicPr>
          <p:cNvPr id="24" name="Picture 32">
            <a:extLst>
              <a:ext uri="{FF2B5EF4-FFF2-40B4-BE49-F238E27FC236}">
                <a16:creationId xmlns:a16="http://schemas.microsoft.com/office/drawing/2014/main" id="{FA398E40-4536-47E6-8C86-6023CE25576F}"/>
              </a:ext>
            </a:extLst>
          </p:cNvPr>
          <p:cNvPicPr>
            <a:picLocks noChangeAspect="1"/>
          </p:cNvPicPr>
          <p:nvPr/>
        </p:nvPicPr>
        <p:blipFill>
          <a:blip r:embed="rId5" cstate="hqprint">
            <a:extLst>
              <a:ext uri="{28A0092B-C50C-407E-A947-70E740481C1C}">
                <a14:useLocalDpi xmlns:a14="http://schemas.microsoft.com/office/drawing/2010/main"/>
              </a:ext>
            </a:extLst>
          </a:blip>
          <a:srcRect/>
          <a:stretch>
            <a:fillRect/>
          </a:stretch>
        </p:blipFill>
        <p:spPr>
          <a:xfrm>
            <a:off x="803844" y="1922070"/>
            <a:ext cx="1023804" cy="1023804"/>
          </a:xfrm>
          <a:custGeom>
            <a:avLst/>
            <a:gdLst>
              <a:gd name="connsiteX0" fmla="*/ 1180896 w 2361832"/>
              <a:gd name="connsiteY0" fmla="*/ 0 h 2361831"/>
              <a:gd name="connsiteX1" fmla="*/ 1180936 w 2361832"/>
              <a:gd name="connsiteY1" fmla="*/ 0 h 2361831"/>
              <a:gd name="connsiteX2" fmla="*/ 1301658 w 2361832"/>
              <a:gd name="connsiteY2" fmla="*/ 6096 h 2361831"/>
              <a:gd name="connsiteX3" fmla="*/ 2361832 w 2361832"/>
              <a:gd name="connsiteY3" fmla="*/ 1180915 h 2361831"/>
              <a:gd name="connsiteX4" fmla="*/ 1180916 w 2361832"/>
              <a:gd name="connsiteY4" fmla="*/ 2361831 h 2361831"/>
              <a:gd name="connsiteX5" fmla="*/ 0 w 2361832"/>
              <a:gd name="connsiteY5" fmla="*/ 1180915 h 2361831"/>
              <a:gd name="connsiteX6" fmla="*/ 1060174 w 2361832"/>
              <a:gd name="connsiteY6" fmla="*/ 6096 h 2361831"/>
              <a:gd name="connsiteX7" fmla="*/ 1180896 w 2361832"/>
              <a:gd name="connsiteY7" fmla="*/ 0 h 236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1832" h="2361831">
                <a:moveTo>
                  <a:pt x="1180896" y="0"/>
                </a:moveTo>
                <a:lnTo>
                  <a:pt x="1180936" y="0"/>
                </a:lnTo>
                <a:lnTo>
                  <a:pt x="1301658" y="6096"/>
                </a:lnTo>
                <a:cubicBezTo>
                  <a:pt x="1897142" y="66571"/>
                  <a:pt x="2361832" y="569476"/>
                  <a:pt x="2361832" y="1180915"/>
                </a:cubicBezTo>
                <a:cubicBezTo>
                  <a:pt x="2361832" y="1833117"/>
                  <a:pt x="1833118" y="2361831"/>
                  <a:pt x="1180916" y="2361831"/>
                </a:cubicBezTo>
                <a:cubicBezTo>
                  <a:pt x="528714" y="2361831"/>
                  <a:pt x="0" y="1833117"/>
                  <a:pt x="0" y="1180915"/>
                </a:cubicBezTo>
                <a:cubicBezTo>
                  <a:pt x="0" y="569476"/>
                  <a:pt x="464690" y="66571"/>
                  <a:pt x="1060174" y="6096"/>
                </a:cubicBezTo>
                <a:lnTo>
                  <a:pt x="1180896" y="0"/>
                </a:lnTo>
                <a:close/>
              </a:path>
            </a:pathLst>
          </a:custGeom>
          <a:effectLst>
            <a:outerShdw blurRad="50800" dist="38100" algn="l" rotWithShape="0">
              <a:prstClr val="black">
                <a:alpha val="40000"/>
              </a:prstClr>
            </a:outerShdw>
          </a:effectLst>
        </p:spPr>
      </p:pic>
      <p:pic>
        <p:nvPicPr>
          <p:cNvPr id="25" name="Picture 33">
            <a:extLst>
              <a:ext uri="{FF2B5EF4-FFF2-40B4-BE49-F238E27FC236}">
                <a16:creationId xmlns:a16="http://schemas.microsoft.com/office/drawing/2014/main" id="{DC675987-2C24-40AB-B050-7CE7DA59C25F}"/>
              </a:ext>
            </a:extLst>
          </p:cNvPr>
          <p:cNvPicPr>
            <a:picLocks noChangeAspect="1"/>
          </p:cNvPicPr>
          <p:nvPr/>
        </p:nvPicPr>
        <p:blipFill>
          <a:blip r:embed="rId6" cstate="hqprint">
            <a:extLst>
              <a:ext uri="{28A0092B-C50C-407E-A947-70E740481C1C}">
                <a14:useLocalDpi xmlns:a14="http://schemas.microsoft.com/office/drawing/2010/main"/>
              </a:ext>
            </a:extLst>
          </a:blip>
          <a:srcRect/>
          <a:stretch>
            <a:fillRect/>
          </a:stretch>
        </p:blipFill>
        <p:spPr>
          <a:xfrm>
            <a:off x="866893" y="3713456"/>
            <a:ext cx="892754" cy="892754"/>
          </a:xfrm>
          <a:custGeom>
            <a:avLst/>
            <a:gdLst>
              <a:gd name="connsiteX0" fmla="*/ 1180896 w 2361832"/>
              <a:gd name="connsiteY0" fmla="*/ 0 h 2361831"/>
              <a:gd name="connsiteX1" fmla="*/ 1180936 w 2361832"/>
              <a:gd name="connsiteY1" fmla="*/ 0 h 2361831"/>
              <a:gd name="connsiteX2" fmla="*/ 1301658 w 2361832"/>
              <a:gd name="connsiteY2" fmla="*/ 6096 h 2361831"/>
              <a:gd name="connsiteX3" fmla="*/ 2361832 w 2361832"/>
              <a:gd name="connsiteY3" fmla="*/ 1180915 h 2361831"/>
              <a:gd name="connsiteX4" fmla="*/ 1180916 w 2361832"/>
              <a:gd name="connsiteY4" fmla="*/ 2361831 h 2361831"/>
              <a:gd name="connsiteX5" fmla="*/ 0 w 2361832"/>
              <a:gd name="connsiteY5" fmla="*/ 1180915 h 2361831"/>
              <a:gd name="connsiteX6" fmla="*/ 1060174 w 2361832"/>
              <a:gd name="connsiteY6" fmla="*/ 6096 h 2361831"/>
              <a:gd name="connsiteX7" fmla="*/ 1180896 w 2361832"/>
              <a:gd name="connsiteY7" fmla="*/ 0 h 236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1832" h="2361831">
                <a:moveTo>
                  <a:pt x="1180896" y="0"/>
                </a:moveTo>
                <a:lnTo>
                  <a:pt x="1180936" y="0"/>
                </a:lnTo>
                <a:lnTo>
                  <a:pt x="1301658" y="6096"/>
                </a:lnTo>
                <a:cubicBezTo>
                  <a:pt x="1897142" y="66571"/>
                  <a:pt x="2361832" y="569476"/>
                  <a:pt x="2361832" y="1180915"/>
                </a:cubicBezTo>
                <a:cubicBezTo>
                  <a:pt x="2361832" y="1833117"/>
                  <a:pt x="1833118" y="2361831"/>
                  <a:pt x="1180916" y="2361831"/>
                </a:cubicBezTo>
                <a:cubicBezTo>
                  <a:pt x="528714" y="2361831"/>
                  <a:pt x="0" y="1833117"/>
                  <a:pt x="0" y="1180915"/>
                </a:cubicBezTo>
                <a:cubicBezTo>
                  <a:pt x="0" y="569476"/>
                  <a:pt x="464690" y="66571"/>
                  <a:pt x="1060174" y="6096"/>
                </a:cubicBezTo>
                <a:lnTo>
                  <a:pt x="1180896" y="0"/>
                </a:lnTo>
                <a:close/>
              </a:path>
            </a:pathLst>
          </a:custGeom>
          <a:effectLst>
            <a:outerShdw blurRad="50800" dist="38100" algn="l" rotWithShape="0">
              <a:prstClr val="black">
                <a:alpha val="40000"/>
              </a:prstClr>
            </a:outerShdw>
          </a:effectLst>
        </p:spPr>
      </p:pic>
      <p:pic>
        <p:nvPicPr>
          <p:cNvPr id="26" name="Picture 36">
            <a:extLst>
              <a:ext uri="{FF2B5EF4-FFF2-40B4-BE49-F238E27FC236}">
                <a16:creationId xmlns:a16="http://schemas.microsoft.com/office/drawing/2014/main" id="{21BC1A9C-33AF-406E-9039-D07916959613}"/>
              </a:ext>
            </a:extLst>
          </p:cNvPr>
          <p:cNvPicPr>
            <a:picLocks noChangeAspect="1"/>
          </p:cNvPicPr>
          <p:nvPr/>
        </p:nvPicPr>
        <p:blipFill>
          <a:blip r:embed="rId7" cstate="hqprint">
            <a:extLst>
              <a:ext uri="{28A0092B-C50C-407E-A947-70E740481C1C}">
                <a14:useLocalDpi xmlns:a14="http://schemas.microsoft.com/office/drawing/2010/main"/>
              </a:ext>
            </a:extLst>
          </a:blip>
          <a:srcRect/>
          <a:stretch>
            <a:fillRect/>
          </a:stretch>
        </p:blipFill>
        <p:spPr>
          <a:xfrm>
            <a:off x="824222" y="5246326"/>
            <a:ext cx="978096" cy="976712"/>
          </a:xfrm>
          <a:custGeom>
            <a:avLst/>
            <a:gdLst>
              <a:gd name="connsiteX0" fmla="*/ 1180896 w 2361832"/>
              <a:gd name="connsiteY0" fmla="*/ 0 h 2361831"/>
              <a:gd name="connsiteX1" fmla="*/ 1180936 w 2361832"/>
              <a:gd name="connsiteY1" fmla="*/ 0 h 2361831"/>
              <a:gd name="connsiteX2" fmla="*/ 1301658 w 2361832"/>
              <a:gd name="connsiteY2" fmla="*/ 6096 h 2361831"/>
              <a:gd name="connsiteX3" fmla="*/ 2361832 w 2361832"/>
              <a:gd name="connsiteY3" fmla="*/ 1180915 h 2361831"/>
              <a:gd name="connsiteX4" fmla="*/ 1180916 w 2361832"/>
              <a:gd name="connsiteY4" fmla="*/ 2361831 h 2361831"/>
              <a:gd name="connsiteX5" fmla="*/ 0 w 2361832"/>
              <a:gd name="connsiteY5" fmla="*/ 1180915 h 2361831"/>
              <a:gd name="connsiteX6" fmla="*/ 1060174 w 2361832"/>
              <a:gd name="connsiteY6" fmla="*/ 6096 h 2361831"/>
              <a:gd name="connsiteX7" fmla="*/ 1180896 w 2361832"/>
              <a:gd name="connsiteY7" fmla="*/ 0 h 236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1832" h="2361831">
                <a:moveTo>
                  <a:pt x="1180896" y="0"/>
                </a:moveTo>
                <a:lnTo>
                  <a:pt x="1180936" y="0"/>
                </a:lnTo>
                <a:lnTo>
                  <a:pt x="1301658" y="6096"/>
                </a:lnTo>
                <a:cubicBezTo>
                  <a:pt x="1897142" y="66571"/>
                  <a:pt x="2361832" y="569476"/>
                  <a:pt x="2361832" y="1180915"/>
                </a:cubicBezTo>
                <a:cubicBezTo>
                  <a:pt x="2361832" y="1833117"/>
                  <a:pt x="1833118" y="2361831"/>
                  <a:pt x="1180916" y="2361831"/>
                </a:cubicBezTo>
                <a:cubicBezTo>
                  <a:pt x="528714" y="2361831"/>
                  <a:pt x="0" y="1833117"/>
                  <a:pt x="0" y="1180915"/>
                </a:cubicBezTo>
                <a:cubicBezTo>
                  <a:pt x="0" y="569476"/>
                  <a:pt x="464690" y="66571"/>
                  <a:pt x="1060174" y="6096"/>
                </a:cubicBezTo>
                <a:lnTo>
                  <a:pt x="1180896" y="0"/>
                </a:lnTo>
                <a:close/>
              </a:path>
            </a:pathLst>
          </a:custGeom>
          <a:effectLst>
            <a:outerShdw blurRad="50800" dist="38100" algn="l" rotWithShape="0">
              <a:prstClr val="black">
                <a:alpha val="40000"/>
              </a:prstClr>
            </a:outerShdw>
          </a:effectLst>
        </p:spPr>
      </p:pic>
      <p:sp>
        <p:nvSpPr>
          <p:cNvPr id="27" name="正方形/長方形 26">
            <a:extLst>
              <a:ext uri="{FF2B5EF4-FFF2-40B4-BE49-F238E27FC236}">
                <a16:creationId xmlns:a16="http://schemas.microsoft.com/office/drawing/2014/main" id="{B0A4F0F0-05CF-40D1-87A5-B867DE4F9DC9}"/>
              </a:ext>
            </a:extLst>
          </p:cNvPr>
          <p:cNvSpPr/>
          <p:nvPr/>
        </p:nvSpPr>
        <p:spPr>
          <a:xfrm>
            <a:off x="803847" y="2936404"/>
            <a:ext cx="1023805" cy="385177"/>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b="1">
                <a:solidFill>
                  <a:schemeClr val="bg2"/>
                </a:solidFill>
              </a:rPr>
              <a:t>【</a:t>
            </a:r>
            <a:r>
              <a:rPr lang="ja-JP" altLang="en-US" b="1">
                <a:solidFill>
                  <a:schemeClr val="bg2"/>
                </a:solidFill>
              </a:rPr>
              <a:t>ファッション</a:t>
            </a:r>
            <a:r>
              <a:rPr lang="en-US" altLang="ja-JP" b="1">
                <a:solidFill>
                  <a:schemeClr val="bg2"/>
                </a:solidFill>
              </a:rPr>
              <a:t>】</a:t>
            </a:r>
            <a:endParaRPr lang="ja-JP" altLang="en-US" b="1">
              <a:solidFill>
                <a:schemeClr val="bg2"/>
              </a:solidFill>
            </a:endParaRPr>
          </a:p>
        </p:txBody>
      </p:sp>
      <p:sp>
        <p:nvSpPr>
          <p:cNvPr id="28" name="正方形/長方形 27">
            <a:extLst>
              <a:ext uri="{FF2B5EF4-FFF2-40B4-BE49-F238E27FC236}">
                <a16:creationId xmlns:a16="http://schemas.microsoft.com/office/drawing/2014/main" id="{40B26FE8-99AE-4462-8531-5285DB4233F5}"/>
              </a:ext>
            </a:extLst>
          </p:cNvPr>
          <p:cNvSpPr/>
          <p:nvPr/>
        </p:nvSpPr>
        <p:spPr>
          <a:xfrm>
            <a:off x="803847" y="4576056"/>
            <a:ext cx="1023805" cy="385177"/>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b="1">
                <a:solidFill>
                  <a:schemeClr val="bg2"/>
                </a:solidFill>
              </a:rPr>
              <a:t>【</a:t>
            </a:r>
            <a:r>
              <a:rPr lang="ja-JP" altLang="en-US" b="1">
                <a:solidFill>
                  <a:schemeClr val="bg2"/>
                </a:solidFill>
              </a:rPr>
              <a:t>住まい</a:t>
            </a:r>
            <a:r>
              <a:rPr lang="en-US" altLang="ja-JP" b="1">
                <a:solidFill>
                  <a:schemeClr val="bg2"/>
                </a:solidFill>
              </a:rPr>
              <a:t>】</a:t>
            </a:r>
            <a:endParaRPr lang="ja-JP" altLang="en-US" b="1">
              <a:solidFill>
                <a:schemeClr val="bg2"/>
              </a:solidFill>
            </a:endParaRPr>
          </a:p>
        </p:txBody>
      </p:sp>
      <p:sp>
        <p:nvSpPr>
          <p:cNvPr id="29" name="正方形/長方形 28">
            <a:extLst>
              <a:ext uri="{FF2B5EF4-FFF2-40B4-BE49-F238E27FC236}">
                <a16:creationId xmlns:a16="http://schemas.microsoft.com/office/drawing/2014/main" id="{FE8EAD06-560A-41C2-AA5C-E86DB2619DEA}"/>
              </a:ext>
            </a:extLst>
          </p:cNvPr>
          <p:cNvSpPr/>
          <p:nvPr/>
        </p:nvSpPr>
        <p:spPr>
          <a:xfrm>
            <a:off x="914017" y="6139117"/>
            <a:ext cx="1023805" cy="385177"/>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b="1">
                <a:solidFill>
                  <a:schemeClr val="bg2"/>
                </a:solidFill>
              </a:rPr>
              <a:t>【</a:t>
            </a:r>
            <a:r>
              <a:rPr lang="ja-JP" altLang="en-US" b="1">
                <a:solidFill>
                  <a:schemeClr val="bg2"/>
                </a:solidFill>
              </a:rPr>
              <a:t>デジタルワーク</a:t>
            </a:r>
            <a:r>
              <a:rPr lang="en-US" altLang="ja-JP" b="1">
                <a:solidFill>
                  <a:schemeClr val="bg2"/>
                </a:solidFill>
              </a:rPr>
              <a:t>】</a:t>
            </a:r>
            <a:endParaRPr lang="ja-JP" altLang="en-US" b="1">
              <a:solidFill>
                <a:schemeClr val="bg2"/>
              </a:solidFill>
            </a:endParaRPr>
          </a:p>
        </p:txBody>
      </p:sp>
      <p:grpSp>
        <p:nvGrpSpPr>
          <p:cNvPr id="8" name="Group 5">
            <a:extLst>
              <a:ext uri="{FF2B5EF4-FFF2-40B4-BE49-F238E27FC236}">
                <a16:creationId xmlns:a16="http://schemas.microsoft.com/office/drawing/2014/main" id="{E6D5B380-66A1-BD18-A399-120BDCB3CA15}"/>
              </a:ext>
            </a:extLst>
          </p:cNvPr>
          <p:cNvGrpSpPr>
            <a:grpSpLocks noChangeAspect="1"/>
          </p:cNvGrpSpPr>
          <p:nvPr/>
        </p:nvGrpSpPr>
        <p:grpSpPr>
          <a:xfrm>
            <a:off x="5422069" y="5624890"/>
            <a:ext cx="280987" cy="280987"/>
            <a:chOff x="628650" y="1443038"/>
            <a:chExt cx="269875" cy="269875"/>
          </a:xfrm>
        </p:grpSpPr>
        <p:sp>
          <p:nvSpPr>
            <p:cNvPr id="12" name="Oval 6">
              <a:extLst>
                <a:ext uri="{FF2B5EF4-FFF2-40B4-BE49-F238E27FC236}">
                  <a16:creationId xmlns:a16="http://schemas.microsoft.com/office/drawing/2014/main" id="{80B9B884-A7D4-0E10-6930-101EE12636CA}"/>
                </a:ext>
              </a:extLst>
            </p:cNvPr>
            <p:cNvSpPr>
              <a:spLocks noChangeArrowheads="1"/>
            </p:cNvSpPr>
            <p:nvPr/>
          </p:nvSpPr>
          <p:spPr bwMode="auto">
            <a:xfrm>
              <a:off x="628650" y="1443038"/>
              <a:ext cx="269875" cy="269875"/>
            </a:xfrm>
            <a:prstGeom prst="ellipse">
              <a:avLst/>
            </a:prstGeom>
            <a:solidFill>
              <a:srgbClr val="233D5F"/>
            </a:solidFill>
            <a:ln>
              <a:noFill/>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000">
                <a:solidFill>
                  <a:schemeClr val="accent3">
                    <a:lumMod val="50000"/>
                  </a:schemeClr>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16" name="Freeform 7">
              <a:extLst>
                <a:ext uri="{FF2B5EF4-FFF2-40B4-BE49-F238E27FC236}">
                  <a16:creationId xmlns:a16="http://schemas.microsoft.com/office/drawing/2014/main" id="{0C1001E3-75C7-5247-4249-8183D7185F97}"/>
                </a:ext>
              </a:extLst>
            </p:cNvPr>
            <p:cNvSpPr>
              <a:spLocks/>
            </p:cNvSpPr>
            <p:nvPr/>
          </p:nvSpPr>
          <p:spPr bwMode="auto">
            <a:xfrm>
              <a:off x="690562" y="1504950"/>
              <a:ext cx="146050" cy="146050"/>
            </a:xfrm>
            <a:custGeom>
              <a:avLst/>
              <a:gdLst>
                <a:gd name="T0" fmla="*/ 50 w 92"/>
                <a:gd name="T1" fmla="*/ 0 h 92"/>
                <a:gd name="T2" fmla="*/ 41 w 92"/>
                <a:gd name="T3" fmla="*/ 0 h 92"/>
                <a:gd name="T4" fmla="*/ 41 w 92"/>
                <a:gd name="T5" fmla="*/ 42 h 92"/>
                <a:gd name="T6" fmla="*/ 0 w 92"/>
                <a:gd name="T7" fmla="*/ 42 h 92"/>
                <a:gd name="T8" fmla="*/ 0 w 92"/>
                <a:gd name="T9" fmla="*/ 51 h 92"/>
                <a:gd name="T10" fmla="*/ 41 w 92"/>
                <a:gd name="T11" fmla="*/ 51 h 92"/>
                <a:gd name="T12" fmla="*/ 41 w 92"/>
                <a:gd name="T13" fmla="*/ 92 h 92"/>
                <a:gd name="T14" fmla="*/ 50 w 92"/>
                <a:gd name="T15" fmla="*/ 92 h 92"/>
                <a:gd name="T16" fmla="*/ 50 w 92"/>
                <a:gd name="T17" fmla="*/ 51 h 92"/>
                <a:gd name="T18" fmla="*/ 92 w 92"/>
                <a:gd name="T19" fmla="*/ 51 h 92"/>
                <a:gd name="T20" fmla="*/ 92 w 92"/>
                <a:gd name="T21" fmla="*/ 42 h 92"/>
                <a:gd name="T22" fmla="*/ 50 w 92"/>
                <a:gd name="T23" fmla="*/ 42 h 92"/>
                <a:gd name="T24" fmla="*/ 50 w 92"/>
                <a:gd name="T2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 h="92">
                  <a:moveTo>
                    <a:pt x="50" y="0"/>
                  </a:moveTo>
                  <a:lnTo>
                    <a:pt x="41" y="0"/>
                  </a:lnTo>
                  <a:lnTo>
                    <a:pt x="41" y="42"/>
                  </a:lnTo>
                  <a:lnTo>
                    <a:pt x="0" y="42"/>
                  </a:lnTo>
                  <a:lnTo>
                    <a:pt x="0" y="51"/>
                  </a:lnTo>
                  <a:lnTo>
                    <a:pt x="41" y="51"/>
                  </a:lnTo>
                  <a:lnTo>
                    <a:pt x="41" y="92"/>
                  </a:lnTo>
                  <a:lnTo>
                    <a:pt x="50" y="92"/>
                  </a:lnTo>
                  <a:lnTo>
                    <a:pt x="50" y="51"/>
                  </a:lnTo>
                  <a:lnTo>
                    <a:pt x="92" y="51"/>
                  </a:lnTo>
                  <a:lnTo>
                    <a:pt x="92" y="42"/>
                  </a:lnTo>
                  <a:lnTo>
                    <a:pt x="50" y="42"/>
                  </a:lnTo>
                  <a:lnTo>
                    <a:pt x="50"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2000">
                <a:solidFill>
                  <a:srgbClr val="000000"/>
                </a:solidFill>
                <a:latin typeface="Meiryo UI" panose="020B0604030504040204" pitchFamily="50" charset="-128"/>
                <a:ea typeface="Meiryo UI" panose="020B0604030504040204" pitchFamily="50" charset="-128"/>
                <a:sym typeface="Meiryo UI" panose="020B0604030504040204" pitchFamily="50" charset="-128"/>
              </a:endParaRPr>
            </a:p>
          </p:txBody>
        </p:sp>
      </p:grpSp>
      <p:sp>
        <p:nvSpPr>
          <p:cNvPr id="17" name="爆発: 8 pt 16">
            <a:extLst>
              <a:ext uri="{FF2B5EF4-FFF2-40B4-BE49-F238E27FC236}">
                <a16:creationId xmlns:a16="http://schemas.microsoft.com/office/drawing/2014/main" id="{24F67775-F273-8BDE-D6F1-2AC2F6C21137}"/>
              </a:ext>
            </a:extLst>
          </p:cNvPr>
          <p:cNvSpPr/>
          <p:nvPr/>
        </p:nvSpPr>
        <p:spPr>
          <a:xfrm rot="20670658">
            <a:off x="125056" y="142806"/>
            <a:ext cx="1105040" cy="773184"/>
          </a:xfrm>
          <a:prstGeom prst="irregularSeal1">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ln w="0"/>
                <a:solidFill>
                  <a:schemeClr val="tx1"/>
                </a:solidFill>
                <a:effectLst>
                  <a:outerShdw blurRad="38100" dist="19050" dir="2700000" algn="tl" rotWithShape="0">
                    <a:schemeClr val="dk1">
                      <a:alpha val="40000"/>
                    </a:schemeClr>
                  </a:outerShdw>
                </a:effectLst>
                <a:latin typeface="Meiryo UI" panose="020B0604030504040204" pitchFamily="50" charset="-128"/>
                <a:ea typeface="Meiryo UI" panose="020B0604030504040204" pitchFamily="50" charset="-128"/>
              </a:rPr>
              <a:t>第１弾</a:t>
            </a:r>
          </a:p>
        </p:txBody>
      </p:sp>
      <p:sp>
        <p:nvSpPr>
          <p:cNvPr id="30" name="タイトル 1">
            <a:extLst>
              <a:ext uri="{FF2B5EF4-FFF2-40B4-BE49-F238E27FC236}">
                <a16:creationId xmlns:a16="http://schemas.microsoft.com/office/drawing/2014/main" id="{E5AB1BE9-4F6F-9FAC-CDEF-E023AD29E994}"/>
              </a:ext>
            </a:extLst>
          </p:cNvPr>
          <p:cNvSpPr>
            <a:spLocks noGrp="1"/>
          </p:cNvSpPr>
          <p:nvPr>
            <p:ph type="title"/>
          </p:nvPr>
        </p:nvSpPr>
        <p:spPr>
          <a:xfrm>
            <a:off x="1037510" y="256045"/>
            <a:ext cx="8604250" cy="588963"/>
          </a:xfrm>
        </p:spPr>
        <p:txBody>
          <a:bodyPr vert="horz"/>
          <a:lstStyle/>
          <a:p>
            <a:r>
              <a:rPr lang="ja-JP" altLang="en-US" sz="2400" dirty="0">
                <a:latin typeface="Meiryo UI"/>
                <a:ea typeface="Meiryo UI"/>
              </a:rPr>
              <a:t>「新しい豊かな暮らし」に向けた個別アクション</a:t>
            </a:r>
            <a:endParaRPr lang="en-US" sz="2400" dirty="0">
              <a:latin typeface="Meiryo UI"/>
              <a:ea typeface="Meiryo UI"/>
            </a:endParaRPr>
          </a:p>
        </p:txBody>
      </p:sp>
    </p:spTree>
    <p:extLst>
      <p:ext uri="{BB962C8B-B14F-4D97-AF65-F5344CB8AC3E}">
        <p14:creationId xmlns:p14="http://schemas.microsoft.com/office/powerpoint/2010/main" val="10906575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CAA3BAA6-CC14-4039-885B-D18EC8A85FC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4" name="オブジェクト 3" hidden="1">
                        <a:extLst>
                          <a:ext uri="{FF2B5EF4-FFF2-40B4-BE49-F238E27FC236}">
                            <a16:creationId xmlns:a16="http://schemas.microsoft.com/office/drawing/2014/main" id="{CAA3BAA6-CC14-4039-885B-D18EC8A85F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5184ADA-76FD-4C7C-B35D-9C80B08B4D22}"/>
              </a:ext>
            </a:extLst>
          </p:cNvPr>
          <p:cNvSpPr>
            <a:spLocks noGrp="1"/>
          </p:cNvSpPr>
          <p:nvPr>
            <p:ph type="title"/>
          </p:nvPr>
        </p:nvSpPr>
        <p:spPr/>
        <p:txBody>
          <a:bodyPr vert="horz"/>
          <a:lstStyle/>
          <a:p>
            <a:r>
              <a:rPr lang="ja-JP" altLang="en-US" sz="2400" dirty="0">
                <a:sym typeface="Meiryo UI" panose="020B0604030504040204" pitchFamily="50" charset="-128"/>
              </a:rPr>
              <a:t>住宅省エネ対策（断熱リフォーム）の推進</a:t>
            </a:r>
            <a:endParaRPr kumimoji="1" lang="en-US" dirty="0">
              <a:sym typeface="Meiryo UI" panose="020B0604030504040204" pitchFamily="50" charset="-128"/>
            </a:endParaRPr>
          </a:p>
        </p:txBody>
      </p:sp>
      <p:sp>
        <p:nvSpPr>
          <p:cNvPr id="3" name="コンテンツ プレースホルダー 2">
            <a:extLst>
              <a:ext uri="{FF2B5EF4-FFF2-40B4-BE49-F238E27FC236}">
                <a16:creationId xmlns:a16="http://schemas.microsoft.com/office/drawing/2014/main" id="{5A25173F-0D4C-48B2-8971-DEACE004885F}"/>
              </a:ext>
            </a:extLst>
          </p:cNvPr>
          <p:cNvSpPr>
            <a:spLocks noGrp="1"/>
          </p:cNvSpPr>
          <p:nvPr>
            <p:ph sz="quarter" idx="12"/>
          </p:nvPr>
        </p:nvSpPr>
        <p:spPr>
          <a:xfrm>
            <a:off x="412507" y="935442"/>
            <a:ext cx="9080986" cy="903518"/>
          </a:xfrm>
          <a:ln w="28575">
            <a:solidFill>
              <a:srgbClr val="00584E"/>
            </a:solidFill>
          </a:ln>
        </p:spPr>
        <p:txBody>
          <a:bodyPr wrap="square" lIns="180000" tIns="144000" rIns="180000" bIns="144000" anchor="ctr" anchorCtr="0">
            <a:noAutofit/>
          </a:bodyPr>
          <a:lstStyle/>
          <a:p>
            <a:pPr marL="0" indent="0">
              <a:buNone/>
            </a:pPr>
            <a:r>
              <a:rPr lang="ja-JP" altLang="en-US" sz="1600" dirty="0">
                <a:latin typeface="Meiryo UI"/>
                <a:ea typeface="Meiryo UI"/>
                <a:sym typeface="Meiryo UI" panose="020B0604030504040204" pitchFamily="50" charset="-128"/>
              </a:rPr>
              <a:t>○家庭部門の省エネを強力に推進するため、住宅の断熱性の向上や高効率給湯器の導入等の住宅省エネ</a:t>
            </a:r>
            <a:br>
              <a:rPr lang="en-US" altLang="ja-JP" sz="1600" dirty="0">
                <a:latin typeface="Meiryo UI"/>
                <a:ea typeface="Meiryo UI"/>
                <a:sym typeface="Meiryo UI" panose="020B0604030504040204" pitchFamily="50" charset="-128"/>
              </a:rPr>
            </a:br>
            <a:r>
              <a:rPr lang="ja-JP" altLang="en-US" sz="1600" dirty="0">
                <a:latin typeface="Meiryo UI"/>
                <a:ea typeface="Meiryo UI"/>
                <a:sym typeface="Meiryo UI" panose="020B0604030504040204" pitchFamily="50" charset="-128"/>
              </a:rPr>
              <a:t>　 化を支援します。</a:t>
            </a:r>
            <a:endParaRPr lang="en-US" altLang="ja-JP" sz="1600" dirty="0">
              <a:latin typeface="Meiryo UI"/>
              <a:ea typeface="Meiryo UI"/>
              <a:sym typeface="Meiryo UI" panose="020B0604030504040204" pitchFamily="50" charset="-128"/>
            </a:endParaRPr>
          </a:p>
          <a:p>
            <a:pPr marL="0" indent="0">
              <a:buNone/>
            </a:pPr>
            <a:r>
              <a:rPr lang="ja-JP" altLang="en-US" sz="1600" dirty="0">
                <a:latin typeface="Meiryo UI"/>
                <a:ea typeface="Meiryo UI"/>
                <a:sym typeface="Meiryo UI" panose="020B0604030504040204" pitchFamily="50" charset="-128"/>
              </a:rPr>
              <a:t>○昨年に引き続き本キャンペーンへのご協力をお願いします。</a:t>
            </a:r>
            <a:endParaRPr lang="en-US" altLang="ja-JP" sz="1600" dirty="0">
              <a:latin typeface="Meiryo UI"/>
              <a:ea typeface="Meiryo UI"/>
              <a:sym typeface="Meiryo UI" panose="020B0604030504040204" pitchFamily="50" charset="-128"/>
            </a:endParaRPr>
          </a:p>
        </p:txBody>
      </p:sp>
      <p:pic>
        <p:nvPicPr>
          <p:cNvPr id="9" name="図 8">
            <a:extLst>
              <a:ext uri="{FF2B5EF4-FFF2-40B4-BE49-F238E27FC236}">
                <a16:creationId xmlns:a16="http://schemas.microsoft.com/office/drawing/2014/main" id="{E2E0A9D3-7705-289C-8644-ED6498AC47FA}"/>
              </a:ext>
            </a:extLst>
          </p:cNvPr>
          <p:cNvPicPr>
            <a:picLocks noChangeAspect="1"/>
          </p:cNvPicPr>
          <p:nvPr/>
        </p:nvPicPr>
        <p:blipFill>
          <a:blip r:embed="rId5"/>
          <a:stretch>
            <a:fillRect/>
          </a:stretch>
        </p:blipFill>
        <p:spPr>
          <a:xfrm>
            <a:off x="1331836" y="1928667"/>
            <a:ext cx="7242327" cy="4929333"/>
          </a:xfrm>
          <a:prstGeom prst="rect">
            <a:avLst/>
          </a:prstGeom>
        </p:spPr>
      </p:pic>
    </p:spTree>
    <p:extLst>
      <p:ext uri="{BB962C8B-B14F-4D97-AF65-F5344CB8AC3E}">
        <p14:creationId xmlns:p14="http://schemas.microsoft.com/office/powerpoint/2010/main" val="122547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CEEAE67D-34C5-4C8D-998C-05E707C542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4" name="オブジェクト 3" hidden="1">
                        <a:extLst>
                          <a:ext uri="{FF2B5EF4-FFF2-40B4-BE49-F238E27FC236}">
                            <a16:creationId xmlns:a16="http://schemas.microsoft.com/office/drawing/2014/main" id="{CEEAE67D-34C5-4C8D-998C-05E707C542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Textfeld 1">
            <a:extLst>
              <a:ext uri="{FF2B5EF4-FFF2-40B4-BE49-F238E27FC236}">
                <a16:creationId xmlns:a16="http://schemas.microsoft.com/office/drawing/2014/main" id="{FE82F263-1FDD-4A96-B0AC-FB223A0246CB}"/>
              </a:ext>
            </a:extLst>
          </p:cNvPr>
          <p:cNvSpPr txBox="1"/>
          <p:nvPr/>
        </p:nvSpPr>
        <p:spPr>
          <a:xfrm>
            <a:off x="150024" y="3962401"/>
            <a:ext cx="9437936" cy="2799150"/>
          </a:xfrm>
          <a:prstGeom prst="roundRect">
            <a:avLst>
              <a:gd name="adj" fmla="val 9380"/>
            </a:avLst>
          </a:prstGeom>
          <a:noFill/>
          <a:ln w="28575" cap="flat" cmpd="sng" algn="ctr">
            <a:solidFill>
              <a:srgbClr val="5BAD82"/>
            </a:solidFill>
            <a:prstDash val="solid"/>
            <a:miter lim="800000"/>
            <a:headEnd type="none" w="lg" len="lg"/>
            <a:tailEnd type="none" w="lg" len="lg"/>
          </a:ln>
          <a:effectLst/>
        </p:spPr>
        <p:txBody>
          <a:bodyPr vert="horz" wrap="square" lIns="0" tIns="0" rIns="0" bIns="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8002" lvl="1" defTabSz="457212">
              <a:spcBef>
                <a:spcPts val="600"/>
              </a:spcBef>
              <a:buClr>
                <a:srgbClr val="009C89"/>
              </a:buClr>
              <a:defRPr/>
            </a:pPr>
            <a:endParaRPr lang="en-US" altLang="ja-JP">
              <a:solidFill>
                <a:prstClr val="black"/>
              </a:solidFill>
              <a:latin typeface="Trebuchet MS" panose="020B0603020202020204" pitchFamily="34" charset="0"/>
              <a:ea typeface="Meiryo UI" panose="020B0604030504040204" pitchFamily="50" charset="-128"/>
              <a:sym typeface="Meiryo UI" panose="020B0604030504040204" pitchFamily="50" charset="-128"/>
            </a:endParaRPr>
          </a:p>
        </p:txBody>
      </p:sp>
      <p:sp>
        <p:nvSpPr>
          <p:cNvPr id="3" name="コンテンツ プレースホルダー 2">
            <a:extLst>
              <a:ext uri="{FF2B5EF4-FFF2-40B4-BE49-F238E27FC236}">
                <a16:creationId xmlns:a16="http://schemas.microsoft.com/office/drawing/2014/main" id="{9760D4E4-1A53-4BEC-A77C-69E1151BA104}"/>
              </a:ext>
            </a:extLst>
          </p:cNvPr>
          <p:cNvSpPr>
            <a:spLocks noGrp="1"/>
          </p:cNvSpPr>
          <p:nvPr>
            <p:ph sz="quarter" idx="12"/>
          </p:nvPr>
        </p:nvSpPr>
        <p:spPr>
          <a:xfrm>
            <a:off x="412507" y="938757"/>
            <a:ext cx="9080986" cy="1194068"/>
          </a:xfrm>
          <a:ln w="28575">
            <a:solidFill>
              <a:srgbClr val="00584E"/>
            </a:solidFill>
          </a:ln>
        </p:spPr>
        <p:txBody>
          <a:bodyPr/>
          <a:lstStyle/>
          <a:p>
            <a:pPr marL="0" indent="0">
              <a:buNone/>
            </a:pPr>
            <a:r>
              <a:rPr lang="ja-JP" altLang="en-US" sz="1600" dirty="0">
                <a:latin typeface="+mn-ea"/>
                <a:ea typeface="+mn-ea"/>
              </a:rPr>
              <a:t>○個別アクション第２弾として、</a:t>
            </a:r>
            <a:r>
              <a:rPr lang="en-US" altLang="ja-JP" sz="1600" dirty="0">
                <a:latin typeface="+mn-ea"/>
                <a:ea typeface="+mn-ea"/>
              </a:rPr>
              <a:t>”</a:t>
            </a:r>
            <a:r>
              <a:rPr lang="ja-JP" altLang="en-US" sz="1600" dirty="0">
                <a:latin typeface="+mn-ea"/>
                <a:ea typeface="+mn-ea"/>
              </a:rPr>
              <a:t>スイッチを消してお出かけ</a:t>
            </a:r>
            <a:r>
              <a:rPr lang="ja-JP" altLang="en-US" sz="1600" dirty="0">
                <a:latin typeface="Meiryo UI"/>
                <a:ea typeface="Meiryo UI"/>
              </a:rPr>
              <a:t>省エネ・節電キャンペーン</a:t>
            </a:r>
            <a:r>
              <a:rPr lang="en-US" altLang="ja-JP" sz="1600" dirty="0">
                <a:latin typeface="Meiryo UI"/>
                <a:ea typeface="Meiryo UI"/>
              </a:rPr>
              <a:t>”</a:t>
            </a:r>
            <a:r>
              <a:rPr lang="ja-JP" altLang="en-US" sz="1600" dirty="0">
                <a:latin typeface="+mn-ea"/>
                <a:ea typeface="+mn-ea"/>
              </a:rPr>
              <a:t>を推進中です。</a:t>
            </a:r>
            <a:endParaRPr lang="en-US" altLang="ja-JP" sz="1600" dirty="0">
              <a:latin typeface="+mn-ea"/>
              <a:ea typeface="+mn-ea"/>
            </a:endParaRPr>
          </a:p>
          <a:p>
            <a:pPr marL="0" indent="0">
              <a:buNone/>
            </a:pPr>
            <a:r>
              <a:rPr lang="ja-JP" altLang="en-US" sz="1600" dirty="0">
                <a:latin typeface="+mn-ea"/>
                <a:ea typeface="+mn-ea"/>
              </a:rPr>
              <a:t>○「実践・体験の場」や「製品・サービス」をお持ちの企業、地域の旗振り役となる自治体・団体をはじめ、</a:t>
            </a:r>
            <a:endParaRPr lang="en-US" altLang="ja-JP" sz="1600" dirty="0">
              <a:latin typeface="+mn-ea"/>
              <a:ea typeface="+mn-ea"/>
            </a:endParaRPr>
          </a:p>
          <a:p>
            <a:pPr marL="0" indent="0">
              <a:buNone/>
            </a:pPr>
            <a:r>
              <a:rPr lang="ja-JP" altLang="en-US" sz="1600" dirty="0">
                <a:latin typeface="+mn-ea"/>
                <a:ea typeface="+mn-ea"/>
              </a:rPr>
              <a:t>　　本キャンペーンに賛同・連携いただける方を募りますので、奮って参画をお願いします。</a:t>
            </a:r>
            <a:endParaRPr kumimoji="1" lang="en-US" sz="1600" dirty="0">
              <a:latin typeface="+mn-ea"/>
              <a:ea typeface="+mn-ea"/>
            </a:endParaRPr>
          </a:p>
        </p:txBody>
      </p:sp>
      <p:sp>
        <p:nvSpPr>
          <p:cNvPr id="6" name="Textfeld 1">
            <a:extLst>
              <a:ext uri="{FF2B5EF4-FFF2-40B4-BE49-F238E27FC236}">
                <a16:creationId xmlns:a16="http://schemas.microsoft.com/office/drawing/2014/main" id="{52A4C37A-01A9-493E-8C6D-CADC7C96A994}"/>
              </a:ext>
            </a:extLst>
          </p:cNvPr>
          <p:cNvSpPr txBox="1"/>
          <p:nvPr/>
        </p:nvSpPr>
        <p:spPr>
          <a:xfrm>
            <a:off x="150024" y="2958265"/>
            <a:ext cx="9151421" cy="566437"/>
          </a:xfrm>
          <a:prstGeom prst="rect">
            <a:avLst/>
          </a:prstGeom>
          <a:noFill/>
          <a:ln w="9525" cap="flat" cmpd="sng" algn="ctr">
            <a:noFill/>
            <a:prstDash val="solid"/>
            <a:miter lim="800000"/>
            <a:headEnd type="none" w="lg" len="lg"/>
            <a:tailEnd type="none" w="lg" len="lg"/>
          </a:ln>
          <a:effectLst/>
          <a:extLst>
            <a:ext uri="{91240B29-F687-4F45-9708-019B960494DF}">
              <a14:hiddenLine xmlns:a14="http://schemas.microsoft.com/office/drawing/2010/main" w="9525" cap="flat" cmpd="sng" algn="ctr">
                <a:solidFill>
                  <a:srgbClr val="9A9A9A"/>
                </a:solidFill>
                <a:prstDash val="solid"/>
                <a:miter lim="800000"/>
                <a:headEnd type="none" w="lg" len="lg"/>
                <a:tailEnd type="none" w="lg" len="lg"/>
              </a14:hiddenLine>
            </a:ext>
          </a:extLst>
        </p:spPr>
        <p:txBody>
          <a:bodyPr vert="horz" wrap="square" lIns="0" tIns="0" rIns="0" bIns="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648016" lvl="2" indent="-216006">
              <a:buClr>
                <a:schemeClr val="tx2"/>
              </a:buClr>
              <a:buFont typeface="Trebuchet MS" panose="020B0603020202020204" pitchFamily="34" charset="0"/>
              <a:buChar char="–"/>
            </a:pPr>
            <a:r>
              <a:rPr lang="ja-JP" altLang="en-US" dirty="0">
                <a:latin typeface="+mn-ea"/>
                <a:sym typeface="Meiryo UI" panose="020B0604030504040204" pitchFamily="50" charset="-128"/>
              </a:rPr>
              <a:t>家庭の冷暖房、照明を切って、まちに出てお店で買い物や食事等をすることで、楽しみながら、エネルギー消費を減らすことができます。</a:t>
            </a:r>
            <a:endParaRPr lang="en-US" altLang="ja-JP" dirty="0">
              <a:latin typeface="+mn-ea"/>
              <a:sym typeface="Meiryo UI" panose="020B0604030504040204" pitchFamily="50" charset="-128"/>
            </a:endParaRPr>
          </a:p>
        </p:txBody>
      </p:sp>
      <p:sp>
        <p:nvSpPr>
          <p:cNvPr id="18" name="Textfeld 1">
            <a:extLst>
              <a:ext uri="{FF2B5EF4-FFF2-40B4-BE49-F238E27FC236}">
                <a16:creationId xmlns:a16="http://schemas.microsoft.com/office/drawing/2014/main" id="{90332992-16A9-49F7-B3AE-B3CB28AE5DB8}"/>
              </a:ext>
            </a:extLst>
          </p:cNvPr>
          <p:cNvSpPr txBox="1"/>
          <p:nvPr/>
        </p:nvSpPr>
        <p:spPr>
          <a:xfrm>
            <a:off x="150024" y="3682100"/>
            <a:ext cx="9605952" cy="3017885"/>
          </a:xfrm>
          <a:prstGeom prst="roundRect">
            <a:avLst>
              <a:gd name="adj" fmla="val 9380"/>
            </a:avLst>
          </a:prstGeom>
          <a:noFill/>
          <a:ln w="28575" cap="flat" cmpd="sng" algn="ctr">
            <a:noFill/>
            <a:prstDash val="solid"/>
            <a:miter lim="800000"/>
            <a:headEnd type="none" w="lg" len="lg"/>
            <a:tailEnd type="none" w="lg" len="lg"/>
          </a:ln>
          <a:effectLst/>
        </p:spPr>
        <p:txBody>
          <a:bodyPr vert="horz" wrap="square" lIns="0" tIns="0" rIns="0" bIns="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08002" lvl="1" defTabSz="457212">
              <a:spcBef>
                <a:spcPts val="600"/>
              </a:spcBef>
              <a:buClr>
                <a:srgbClr val="009C89"/>
              </a:buClr>
              <a:defRPr/>
            </a:pPr>
            <a:endParaRPr lang="en-US" altLang="ja-JP">
              <a:solidFill>
                <a:prstClr val="black"/>
              </a:solidFill>
              <a:latin typeface="Trebuchet MS" panose="020B0603020202020204" pitchFamily="34" charset="0"/>
              <a:ea typeface="Meiryo UI" panose="020B0604030504040204" pitchFamily="50" charset="-128"/>
              <a:sym typeface="Meiryo UI" panose="020B0604030504040204" pitchFamily="50" charset="-128"/>
            </a:endParaRPr>
          </a:p>
        </p:txBody>
      </p:sp>
      <p:sp>
        <p:nvSpPr>
          <p:cNvPr id="19" name="Rectangle: Rounded Corners 69">
            <a:extLst>
              <a:ext uri="{FF2B5EF4-FFF2-40B4-BE49-F238E27FC236}">
                <a16:creationId xmlns:a16="http://schemas.microsoft.com/office/drawing/2014/main" id="{006BCEFC-BE0F-4479-92C5-04851E205B06}"/>
              </a:ext>
            </a:extLst>
          </p:cNvPr>
          <p:cNvSpPr/>
          <p:nvPr/>
        </p:nvSpPr>
        <p:spPr>
          <a:xfrm>
            <a:off x="222245" y="3656481"/>
            <a:ext cx="6816118" cy="548437"/>
          </a:xfrm>
          <a:prstGeom prst="roundRect">
            <a:avLst>
              <a:gd name="adj" fmla="val 6927"/>
            </a:avLst>
          </a:prstGeom>
          <a:solidFill>
            <a:srgbClr val="00584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defTabSz="457212">
              <a:defRPr/>
            </a:pPr>
            <a:r>
              <a:rPr kumimoji="1" lang="ja-JP" altLang="en-US" sz="1400" dirty="0">
                <a:solidFill>
                  <a:prstClr val="white"/>
                </a:solidFill>
                <a:latin typeface="+mn-ea"/>
                <a:sym typeface="Meiryo UI" panose="020B0604030504040204" pitchFamily="50" charset="-128"/>
              </a:rPr>
              <a:t>事例紹介：東急（株）が実施する「東急沿線お出かけ節電プロジェクト「</a:t>
            </a:r>
            <a:r>
              <a:rPr kumimoji="1" lang="en-US" altLang="ja-JP" sz="1400" dirty="0">
                <a:solidFill>
                  <a:prstClr val="white"/>
                </a:solidFill>
                <a:latin typeface="+mn-ea"/>
                <a:sym typeface="Meiryo UI" panose="020B0604030504040204" pitchFamily="50" charset="-128"/>
              </a:rPr>
              <a:t>OFF&amp;GO</a:t>
            </a:r>
            <a:r>
              <a:rPr kumimoji="1" lang="ja-JP" altLang="en-US" sz="1400" dirty="0">
                <a:solidFill>
                  <a:prstClr val="white"/>
                </a:solidFill>
                <a:latin typeface="+mn-ea"/>
                <a:sym typeface="Meiryo UI" panose="020B0604030504040204" pitchFamily="50" charset="-128"/>
              </a:rPr>
              <a:t>」アクション」</a:t>
            </a:r>
            <a:endParaRPr kumimoji="1" lang="en-US" sz="1400" dirty="0">
              <a:solidFill>
                <a:srgbClr val="FFFFFF"/>
              </a:solidFill>
              <a:latin typeface="+mn-ea"/>
              <a:sym typeface="Meiryo UI" panose="020B0604030504040204" pitchFamily="50" charset="-128"/>
            </a:endParaRPr>
          </a:p>
        </p:txBody>
      </p:sp>
      <p:pic>
        <p:nvPicPr>
          <p:cNvPr id="13" name="Picture 12">
            <a:extLst>
              <a:ext uri="{FF2B5EF4-FFF2-40B4-BE49-F238E27FC236}">
                <a16:creationId xmlns:a16="http://schemas.microsoft.com/office/drawing/2014/main" id="{651A6CBF-721B-4480-B056-78BE7F2FCEF8}"/>
              </a:ext>
            </a:extLst>
          </p:cNvPr>
          <p:cNvPicPr>
            <a:picLocks noChangeAspect="1"/>
          </p:cNvPicPr>
          <p:nvPr/>
        </p:nvPicPr>
        <p:blipFill>
          <a:blip r:embed="rId5"/>
          <a:stretch>
            <a:fillRect/>
          </a:stretch>
        </p:blipFill>
        <p:spPr>
          <a:xfrm>
            <a:off x="436542" y="4954464"/>
            <a:ext cx="5598205" cy="1628636"/>
          </a:xfrm>
          <a:prstGeom prst="rect">
            <a:avLst/>
          </a:prstGeom>
        </p:spPr>
      </p:pic>
      <p:sp>
        <p:nvSpPr>
          <p:cNvPr id="20" name="TextBox 19">
            <a:extLst>
              <a:ext uri="{FF2B5EF4-FFF2-40B4-BE49-F238E27FC236}">
                <a16:creationId xmlns:a16="http://schemas.microsoft.com/office/drawing/2014/main" id="{9A38B645-23FD-4974-9D7F-2DE70828A6C0}"/>
              </a:ext>
            </a:extLst>
          </p:cNvPr>
          <p:cNvSpPr txBox="1"/>
          <p:nvPr/>
        </p:nvSpPr>
        <p:spPr>
          <a:xfrm>
            <a:off x="360761" y="4361020"/>
            <a:ext cx="5913230" cy="461665"/>
          </a:xfrm>
          <a:prstGeom prst="rect">
            <a:avLst/>
          </a:prstGeom>
          <a:noFill/>
          <a:ln w="19050">
            <a:noFill/>
          </a:ln>
        </p:spPr>
        <p:txBody>
          <a:bodyPr wrap="square" lIns="91440" tIns="45720" rIns="91440" bIns="45720" anchor="t">
            <a:spAutoFit/>
          </a:bodyPr>
          <a:lstStyle/>
          <a:p>
            <a:r>
              <a:rPr lang="ja-JP" altLang="en-US" sz="1200" dirty="0">
                <a:latin typeface="+mn-ea"/>
              </a:rPr>
              <a:t>省エネと今冬の節電を楽しい取組とするため、東急グループの商業施設</a:t>
            </a:r>
            <a:r>
              <a:rPr lang="en-US" altLang="ja-JP" sz="1200" dirty="0">
                <a:latin typeface="+mn-ea"/>
              </a:rPr>
              <a:t>145</a:t>
            </a:r>
            <a:r>
              <a:rPr lang="ja-JP" altLang="en-US" sz="1200" dirty="0">
                <a:latin typeface="+mn-ea"/>
              </a:rPr>
              <a:t>店舗で使えるクーポンを提供して、家の電気を</a:t>
            </a:r>
            <a:r>
              <a:rPr lang="en-US" altLang="ja-JP" sz="1200" dirty="0">
                <a:latin typeface="+mn-ea"/>
              </a:rPr>
              <a:t>OFF</a:t>
            </a:r>
            <a:r>
              <a:rPr lang="ja-JP" altLang="en-US" sz="1200" dirty="0">
                <a:latin typeface="+mn-ea"/>
              </a:rPr>
              <a:t>→お出かけへ</a:t>
            </a:r>
            <a:r>
              <a:rPr lang="en-US" altLang="ja-JP" sz="1200" dirty="0">
                <a:latin typeface="+mn-ea"/>
              </a:rPr>
              <a:t>GO</a:t>
            </a:r>
            <a:r>
              <a:rPr lang="ja-JP" altLang="en-US" sz="1200" dirty="0">
                <a:latin typeface="+mn-ea"/>
              </a:rPr>
              <a:t>を提案します。</a:t>
            </a:r>
          </a:p>
        </p:txBody>
      </p:sp>
      <p:sp>
        <p:nvSpPr>
          <p:cNvPr id="21" name="TextBox 20">
            <a:extLst>
              <a:ext uri="{FF2B5EF4-FFF2-40B4-BE49-F238E27FC236}">
                <a16:creationId xmlns:a16="http://schemas.microsoft.com/office/drawing/2014/main" id="{E37C80F2-B367-40F1-AFBA-1AEAA5374B62}"/>
              </a:ext>
            </a:extLst>
          </p:cNvPr>
          <p:cNvSpPr txBox="1"/>
          <p:nvPr/>
        </p:nvSpPr>
        <p:spPr>
          <a:xfrm>
            <a:off x="6484729" y="4141138"/>
            <a:ext cx="3060510" cy="606343"/>
          </a:xfrm>
          <a:prstGeom prst="rect">
            <a:avLst/>
          </a:prstGeom>
          <a:ln w="19050">
            <a:noFill/>
          </a:ln>
        </p:spPr>
        <p:txBody>
          <a:bodyPr wrap="square" lIns="180000" tIns="180000" rIns="180000" bIns="144000" rtlCol="0" anchor="ctr" anchorCtr="0">
            <a:noAutofit/>
          </a:bodyPr>
          <a:lstStyle/>
          <a:p>
            <a:pPr algn="l"/>
            <a:r>
              <a:rPr kumimoji="1" lang="ja-JP" altLang="en-US" sz="1200" dirty="0"/>
              <a:t>令和５年１月には、渋谷ヒカリエでの取組を</a:t>
            </a:r>
            <a:br>
              <a:rPr kumimoji="1" lang="en-US" altLang="ja-JP" sz="1200" dirty="0"/>
            </a:br>
            <a:r>
              <a:rPr kumimoji="1" lang="ja-JP" altLang="en-US" sz="1200" dirty="0"/>
              <a:t>西村環境大臣</a:t>
            </a:r>
            <a:r>
              <a:rPr kumimoji="1" lang="en-US" altLang="ja-JP" sz="1200" dirty="0"/>
              <a:t>(</a:t>
            </a:r>
            <a:r>
              <a:rPr kumimoji="1" lang="ja-JP" altLang="en-US" sz="1200" dirty="0"/>
              <a:t>当時</a:t>
            </a:r>
            <a:r>
              <a:rPr kumimoji="1" lang="en-US" altLang="ja-JP" sz="1200" dirty="0"/>
              <a:t>)</a:t>
            </a:r>
            <a:r>
              <a:rPr kumimoji="1" lang="ja-JP" altLang="en-US" sz="1200" dirty="0"/>
              <a:t>が視察しました。</a:t>
            </a:r>
            <a:endParaRPr kumimoji="1" lang="en-US" sz="1200" dirty="0"/>
          </a:p>
        </p:txBody>
      </p:sp>
      <p:sp>
        <p:nvSpPr>
          <p:cNvPr id="24" name="Rectangle: Rounded Corners 69">
            <a:extLst>
              <a:ext uri="{FF2B5EF4-FFF2-40B4-BE49-F238E27FC236}">
                <a16:creationId xmlns:a16="http://schemas.microsoft.com/office/drawing/2014/main" id="{9D32BFD1-B9A8-4DA2-B131-4B9AD999A9F8}"/>
              </a:ext>
            </a:extLst>
          </p:cNvPr>
          <p:cNvSpPr/>
          <p:nvPr/>
        </p:nvSpPr>
        <p:spPr>
          <a:xfrm>
            <a:off x="222245" y="2490172"/>
            <a:ext cx="3276798" cy="310695"/>
          </a:xfrm>
          <a:prstGeom prst="roundRect">
            <a:avLst>
              <a:gd name="adj" fmla="val 6927"/>
            </a:avLst>
          </a:prstGeom>
          <a:solidFill>
            <a:srgbClr val="00584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defTabSz="457212">
              <a:defRPr/>
            </a:pPr>
            <a:r>
              <a:rPr kumimoji="1" lang="ja-JP" altLang="en-US" sz="1400" dirty="0">
                <a:solidFill>
                  <a:prstClr val="white"/>
                </a:solidFill>
                <a:latin typeface="+mn-ea"/>
                <a:sym typeface="Meiryo UI" panose="020B0604030504040204" pitchFamily="50" charset="-128"/>
              </a:rPr>
              <a:t>「</a:t>
            </a:r>
            <a:r>
              <a:rPr lang="ja-JP" altLang="en-US" sz="1400" kern="0" dirty="0">
                <a:solidFill>
                  <a:srgbClr val="FFFFFF"/>
                </a:solidFill>
                <a:latin typeface="Meiryo UI" panose="020B0604030504040204" pitchFamily="50" charset="-128"/>
                <a:ea typeface="Meiryo UI" panose="020B0604030504040204" pitchFamily="50" charset="-128"/>
                <a:sym typeface="Meiryo UI" panose="020B0604030504040204" pitchFamily="50" charset="-128"/>
              </a:rPr>
              <a:t>スイッチを消してお出かけ</a:t>
            </a:r>
            <a:r>
              <a:rPr kumimoji="1" lang="ja-JP" altLang="en-US" sz="1400" dirty="0">
                <a:latin typeface="Meiryo UI"/>
                <a:ea typeface="Meiryo UI"/>
              </a:rPr>
              <a:t>省エネ・節電</a:t>
            </a:r>
            <a:r>
              <a:rPr kumimoji="1" lang="ja-JP" altLang="en-US" sz="1400" dirty="0">
                <a:solidFill>
                  <a:prstClr val="white"/>
                </a:solidFill>
                <a:latin typeface="+mn-ea"/>
                <a:sym typeface="Meiryo UI" panose="020B0604030504040204" pitchFamily="50" charset="-128"/>
              </a:rPr>
              <a:t>」とは</a:t>
            </a:r>
            <a:endParaRPr kumimoji="1" lang="en-US" sz="1400" dirty="0">
              <a:solidFill>
                <a:srgbClr val="FFFFFF"/>
              </a:solidFill>
              <a:latin typeface="+mn-ea"/>
              <a:sym typeface="Meiryo UI" panose="020B0604030504040204" pitchFamily="50" charset="-128"/>
            </a:endParaRPr>
          </a:p>
        </p:txBody>
      </p:sp>
      <p:pic>
        <p:nvPicPr>
          <p:cNvPr id="8" name="図 7" descr="屋内, 人, 天井, テーブル が含まれている画像&#10;&#10;自動的に生成された説明">
            <a:extLst>
              <a:ext uri="{FF2B5EF4-FFF2-40B4-BE49-F238E27FC236}">
                <a16:creationId xmlns:a16="http://schemas.microsoft.com/office/drawing/2014/main" id="{A9A6A9D6-3426-3F67-6AF3-488423F3B2B3}"/>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6646059" y="4747481"/>
            <a:ext cx="2569839" cy="1697484"/>
          </a:xfrm>
          <a:prstGeom prst="rect">
            <a:avLst/>
          </a:prstGeom>
        </p:spPr>
      </p:pic>
      <p:sp>
        <p:nvSpPr>
          <p:cNvPr id="12" name="タイトル 1">
            <a:extLst>
              <a:ext uri="{FF2B5EF4-FFF2-40B4-BE49-F238E27FC236}">
                <a16:creationId xmlns:a16="http://schemas.microsoft.com/office/drawing/2014/main" id="{DFAB67FA-FF28-92D7-89B8-24098B848BFD}"/>
              </a:ext>
            </a:extLst>
          </p:cNvPr>
          <p:cNvSpPr>
            <a:spLocks noGrp="1"/>
          </p:cNvSpPr>
          <p:nvPr>
            <p:ph type="title"/>
          </p:nvPr>
        </p:nvSpPr>
        <p:spPr>
          <a:xfrm>
            <a:off x="1042988" y="257882"/>
            <a:ext cx="8604250" cy="588963"/>
          </a:xfrm>
        </p:spPr>
        <p:txBody>
          <a:bodyPr vert="horz"/>
          <a:lstStyle/>
          <a:p>
            <a:r>
              <a:rPr lang="ja-JP" altLang="en-US" sz="2400" dirty="0">
                <a:latin typeface="Meiryo UI"/>
                <a:ea typeface="Meiryo UI"/>
              </a:rPr>
              <a:t>「新しい豊かな暮らし」に向けた個別アクション</a:t>
            </a:r>
            <a:endParaRPr lang="en-US" sz="2400" dirty="0">
              <a:latin typeface="Meiryo UI"/>
              <a:ea typeface="Meiryo UI"/>
            </a:endParaRPr>
          </a:p>
        </p:txBody>
      </p:sp>
      <p:sp>
        <p:nvSpPr>
          <p:cNvPr id="2" name="爆発: 8 pt 1">
            <a:extLst>
              <a:ext uri="{FF2B5EF4-FFF2-40B4-BE49-F238E27FC236}">
                <a16:creationId xmlns:a16="http://schemas.microsoft.com/office/drawing/2014/main" id="{F2206D0A-F3F5-FA7D-C27B-45A0C88D9C01}"/>
              </a:ext>
            </a:extLst>
          </p:cNvPr>
          <p:cNvSpPr/>
          <p:nvPr/>
        </p:nvSpPr>
        <p:spPr>
          <a:xfrm rot="20670658">
            <a:off x="125056" y="142806"/>
            <a:ext cx="1105040" cy="773184"/>
          </a:xfrm>
          <a:prstGeom prst="irregularSeal1">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1600" dirty="0">
                <a:ln w="0"/>
                <a:solidFill>
                  <a:schemeClr val="tx1"/>
                </a:solidFill>
                <a:effectLst>
                  <a:outerShdw blurRad="38100" dist="19050" dir="2700000" algn="tl" rotWithShape="0">
                    <a:schemeClr val="dk1">
                      <a:alpha val="40000"/>
                    </a:schemeClr>
                  </a:outerShdw>
                </a:effectLst>
                <a:latin typeface="Meiryo UI" panose="020B0604030504040204" pitchFamily="50" charset="-128"/>
                <a:ea typeface="Meiryo UI" panose="020B0604030504040204" pitchFamily="50" charset="-128"/>
              </a:rPr>
              <a:t>第２弾</a:t>
            </a:r>
          </a:p>
        </p:txBody>
      </p:sp>
    </p:spTree>
    <p:extLst>
      <p:ext uri="{BB962C8B-B14F-4D97-AF65-F5344CB8AC3E}">
        <p14:creationId xmlns:p14="http://schemas.microsoft.com/office/powerpoint/2010/main" val="38863617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CEEAE67D-34C5-4C8D-998C-05E707C542A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4" name="オブジェクト 3" hidden="1">
                        <a:extLst>
                          <a:ext uri="{FF2B5EF4-FFF2-40B4-BE49-F238E27FC236}">
                            <a16:creationId xmlns:a16="http://schemas.microsoft.com/office/drawing/2014/main" id="{CEEAE67D-34C5-4C8D-998C-05E707C542A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56621F48-973D-4F47-90F4-BABA65C59E39}"/>
              </a:ext>
            </a:extLst>
          </p:cNvPr>
          <p:cNvSpPr>
            <a:spLocks noGrp="1"/>
          </p:cNvSpPr>
          <p:nvPr>
            <p:ph type="title"/>
          </p:nvPr>
        </p:nvSpPr>
        <p:spPr/>
        <p:txBody>
          <a:bodyPr vert="horz"/>
          <a:lstStyle/>
          <a:p>
            <a:r>
              <a:rPr lang="ja-JP" altLang="en-US" sz="2000" dirty="0"/>
              <a:t>クールビズ</a:t>
            </a:r>
            <a:r>
              <a:rPr lang="en-US" altLang="ja-JP" sz="2000" dirty="0"/>
              <a:t>×</a:t>
            </a:r>
            <a:r>
              <a:rPr lang="ja-JP" altLang="en-US" sz="2000" dirty="0"/>
              <a:t>サステナブルファッション、熱中症予防キャンペーン</a:t>
            </a:r>
            <a:endParaRPr lang="en-US" sz="2000" dirty="0"/>
          </a:p>
        </p:txBody>
      </p:sp>
      <p:sp>
        <p:nvSpPr>
          <p:cNvPr id="3" name="コンテンツ プレースホルダー 2">
            <a:extLst>
              <a:ext uri="{FF2B5EF4-FFF2-40B4-BE49-F238E27FC236}">
                <a16:creationId xmlns:a16="http://schemas.microsoft.com/office/drawing/2014/main" id="{9760D4E4-1A53-4BEC-A77C-69E1151BA104}"/>
              </a:ext>
            </a:extLst>
          </p:cNvPr>
          <p:cNvSpPr>
            <a:spLocks noGrp="1"/>
          </p:cNvSpPr>
          <p:nvPr>
            <p:ph sz="quarter" idx="12"/>
          </p:nvPr>
        </p:nvSpPr>
        <p:spPr>
          <a:xfrm>
            <a:off x="412507" y="928825"/>
            <a:ext cx="9080986" cy="1194068"/>
          </a:xfrm>
          <a:ln w="28575">
            <a:solidFill>
              <a:srgbClr val="00584E"/>
            </a:solidFill>
          </a:ln>
        </p:spPr>
        <p:txBody>
          <a:bodyPr/>
          <a:lstStyle/>
          <a:p>
            <a:pPr marL="0" indent="0">
              <a:buNone/>
            </a:pPr>
            <a:r>
              <a:rPr lang="ja-JP" altLang="en-US" sz="1600" dirty="0"/>
              <a:t>○令和５年</a:t>
            </a:r>
            <a:r>
              <a:rPr lang="en-US" altLang="ja-JP" sz="1600" dirty="0"/>
              <a:t>5</a:t>
            </a:r>
            <a:r>
              <a:rPr lang="ja-JP" altLang="en-US" sz="1600" dirty="0"/>
              <a:t>月より、①クールビズ</a:t>
            </a:r>
            <a:r>
              <a:rPr lang="en-US" altLang="ja-JP" sz="1600" dirty="0"/>
              <a:t>×</a:t>
            </a:r>
            <a:r>
              <a:rPr lang="ja-JP" altLang="en-US" sz="1600" dirty="0"/>
              <a:t>サステナブルファッション、②熱中症予防キャンペーンを展開しています。</a:t>
            </a:r>
            <a:endParaRPr lang="en-US" altLang="ja-JP" sz="1600" dirty="0"/>
          </a:p>
          <a:p>
            <a:pPr marL="0" indent="0">
              <a:buNone/>
            </a:pPr>
            <a:r>
              <a:rPr lang="ja-JP" altLang="en-US" sz="1600" dirty="0">
                <a:latin typeface="+mn-ea"/>
                <a:ea typeface="+mn-ea"/>
              </a:rPr>
              <a:t>○「実践・体験の場」や「製品・サービス」をお持ちの企業、地域の旗振り役となる自治体・団体をはじめ、</a:t>
            </a:r>
            <a:endParaRPr lang="en-US" altLang="ja-JP" sz="1600" dirty="0">
              <a:latin typeface="+mn-ea"/>
              <a:ea typeface="+mn-ea"/>
            </a:endParaRPr>
          </a:p>
          <a:p>
            <a:pPr marL="0" indent="0">
              <a:buNone/>
            </a:pPr>
            <a:r>
              <a:rPr lang="ja-JP" altLang="en-US" sz="1600" dirty="0">
                <a:latin typeface="+mn-ea"/>
                <a:ea typeface="+mn-ea"/>
              </a:rPr>
              <a:t>　 本キャンペーンに賛同・連携いただける方を募りますので、奮って参画をお願いします。</a:t>
            </a:r>
          </a:p>
        </p:txBody>
      </p:sp>
      <p:sp>
        <p:nvSpPr>
          <p:cNvPr id="5" name="Flowchart: Alternate Process 9">
            <a:extLst>
              <a:ext uri="{FF2B5EF4-FFF2-40B4-BE49-F238E27FC236}">
                <a16:creationId xmlns:a16="http://schemas.microsoft.com/office/drawing/2014/main" id="{E65FFED8-47A1-412E-81B9-CAA7282AF3BB}"/>
              </a:ext>
            </a:extLst>
          </p:cNvPr>
          <p:cNvSpPr/>
          <p:nvPr/>
        </p:nvSpPr>
        <p:spPr>
          <a:xfrm>
            <a:off x="238780" y="2558049"/>
            <a:ext cx="3519488" cy="364113"/>
          </a:xfrm>
          <a:prstGeom prst="flowChartAlternateProcess">
            <a:avLst/>
          </a:prstGeom>
          <a:solidFill>
            <a:srgbClr val="00584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12">
              <a:defRPr/>
            </a:pPr>
            <a:r>
              <a:rPr kumimoji="1" lang="ja-JP" altLang="en-US" dirty="0">
                <a:solidFill>
                  <a:schemeClr val="bg1"/>
                </a:solidFill>
                <a:latin typeface="+mn-ea"/>
                <a:sym typeface="Meiryo UI" panose="020B0604030504040204" pitchFamily="50" charset="-128"/>
              </a:rPr>
              <a:t>①クールビズ</a:t>
            </a:r>
            <a:r>
              <a:rPr kumimoji="1" lang="en-US" altLang="ja-JP" dirty="0">
                <a:solidFill>
                  <a:schemeClr val="bg1"/>
                </a:solidFill>
                <a:latin typeface="+mn-ea"/>
                <a:sym typeface="Meiryo UI" panose="020B0604030504040204" pitchFamily="50" charset="-128"/>
              </a:rPr>
              <a:t>×</a:t>
            </a:r>
            <a:r>
              <a:rPr kumimoji="1" lang="ja-JP" altLang="en-US" dirty="0">
                <a:solidFill>
                  <a:schemeClr val="bg1"/>
                </a:solidFill>
                <a:latin typeface="+mn-ea"/>
                <a:sym typeface="Meiryo UI" panose="020B0604030504040204" pitchFamily="50" charset="-128"/>
              </a:rPr>
              <a:t>サステナブルファッション</a:t>
            </a:r>
            <a:endParaRPr kumimoji="1" lang="en-US" dirty="0">
              <a:solidFill>
                <a:schemeClr val="bg1"/>
              </a:solidFill>
              <a:latin typeface="+mn-ea"/>
              <a:sym typeface="Meiryo UI" panose="020B0604030504040204" pitchFamily="50" charset="-128"/>
            </a:endParaRPr>
          </a:p>
        </p:txBody>
      </p:sp>
      <p:sp>
        <p:nvSpPr>
          <p:cNvPr id="6" name="Textfeld 1">
            <a:extLst>
              <a:ext uri="{FF2B5EF4-FFF2-40B4-BE49-F238E27FC236}">
                <a16:creationId xmlns:a16="http://schemas.microsoft.com/office/drawing/2014/main" id="{52A4C37A-01A9-493E-8C6D-CADC7C96A994}"/>
              </a:ext>
            </a:extLst>
          </p:cNvPr>
          <p:cNvSpPr txBox="1"/>
          <p:nvPr/>
        </p:nvSpPr>
        <p:spPr>
          <a:xfrm>
            <a:off x="305962" y="3023755"/>
            <a:ext cx="7418542" cy="1162116"/>
          </a:xfrm>
          <a:prstGeom prst="rect">
            <a:avLst/>
          </a:prstGeom>
          <a:noFill/>
          <a:ln w="9525" cap="flat" cmpd="sng" algn="ctr">
            <a:noFill/>
            <a:prstDash val="solid"/>
            <a:miter lim="800000"/>
            <a:headEnd type="none" w="lg" len="lg"/>
            <a:tailEnd type="none" w="lg" len="lg"/>
          </a:ln>
          <a:effectLst/>
          <a:extLst>
            <a:ext uri="{91240B29-F687-4F45-9708-019B960494DF}">
              <a14:hiddenLine xmlns:a14="http://schemas.microsoft.com/office/drawing/2010/main" w="9525" cap="flat" cmpd="sng" algn="ctr">
                <a:solidFill>
                  <a:srgbClr val="9A9A9A"/>
                </a:solidFill>
                <a:prstDash val="solid"/>
                <a:miter lim="800000"/>
                <a:headEnd type="none" w="lg" len="lg"/>
                <a:tailEnd type="none" w="lg" len="lg"/>
              </a14:hiddenLine>
            </a:ext>
          </a:extLst>
        </p:spPr>
        <p:txBody>
          <a:bodyPr vert="horz" wrap="square" lIns="0" tIns="0" rIns="0" bIns="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324008" lvl="1" indent="-216006" defTabSz="457212">
              <a:spcBef>
                <a:spcPts val="600"/>
              </a:spcBef>
              <a:buClr>
                <a:srgbClr val="009C89"/>
              </a:buClr>
              <a:buFont typeface="Trebuchet MS" panose="020B0603020202020204" pitchFamily="34" charset="0"/>
              <a:buChar char="•"/>
              <a:defRPr/>
            </a:pPr>
            <a:r>
              <a:rPr lang="ja-JP" altLang="en-US" sz="1600" dirty="0">
                <a:solidFill>
                  <a:prstClr val="black"/>
                </a:solidFill>
                <a:latin typeface="+mn-ea"/>
                <a:sym typeface="Meiryo UI" panose="020B0604030504040204" pitchFamily="50" charset="-128"/>
              </a:rPr>
              <a:t>クールビズに、衣類のリサイクル</a:t>
            </a:r>
            <a:r>
              <a:rPr lang="en-US" altLang="ja-JP" sz="1600" dirty="0">
                <a:solidFill>
                  <a:prstClr val="black"/>
                </a:solidFill>
                <a:latin typeface="+mn-ea"/>
                <a:sym typeface="Meiryo UI" panose="020B0604030504040204" pitchFamily="50" charset="-128"/>
              </a:rPr>
              <a:t>/</a:t>
            </a:r>
            <a:r>
              <a:rPr lang="ja-JP" altLang="en-US" sz="1600" dirty="0">
                <a:solidFill>
                  <a:prstClr val="black"/>
                </a:solidFill>
                <a:latin typeface="+mn-ea"/>
                <a:sym typeface="Meiryo UI" panose="020B0604030504040204" pitchFamily="50" charset="-128"/>
              </a:rPr>
              <a:t>アップサイクル等、一つの衣服を長く活用するサステナブルファッションを併せ、新たな夏の装い創出につなげます。</a:t>
            </a:r>
            <a:endParaRPr lang="en-US" altLang="ja-JP" sz="1600" dirty="0">
              <a:solidFill>
                <a:prstClr val="black"/>
              </a:solidFill>
              <a:latin typeface="+mn-ea"/>
              <a:sym typeface="Meiryo UI" panose="020B0604030504040204" pitchFamily="50" charset="-128"/>
            </a:endParaRPr>
          </a:p>
          <a:p>
            <a:pPr marL="648016" lvl="2" indent="-216006" defTabSz="457212">
              <a:spcBef>
                <a:spcPts val="600"/>
              </a:spcBef>
              <a:buClr>
                <a:srgbClr val="009C89"/>
              </a:buClr>
              <a:buFont typeface="Trebuchet MS" panose="020B0603020202020204" pitchFamily="34" charset="0"/>
              <a:buChar char="–"/>
              <a:defRPr/>
            </a:pPr>
            <a:r>
              <a:rPr lang="ja-JP" altLang="en-US" sz="1600" dirty="0">
                <a:solidFill>
                  <a:prstClr val="black"/>
                </a:solidFill>
                <a:latin typeface="+mn-ea"/>
                <a:sym typeface="Meiryo UI" panose="020B0604030504040204" pitchFamily="50" charset="-128"/>
              </a:rPr>
              <a:t>クールビス（軽装励行）を超えた、</a:t>
            </a:r>
            <a:r>
              <a:rPr lang="en-US" altLang="ja-JP" sz="1600" dirty="0">
                <a:solidFill>
                  <a:prstClr val="black"/>
                </a:solidFill>
                <a:latin typeface="+mn-ea"/>
                <a:sym typeface="Meiryo UI" panose="020B0604030504040204" pitchFamily="50" charset="-128"/>
              </a:rPr>
              <a:t>TPO</a:t>
            </a:r>
            <a:r>
              <a:rPr lang="ja-JP" altLang="en-US" sz="1600" dirty="0">
                <a:solidFill>
                  <a:prstClr val="black"/>
                </a:solidFill>
                <a:latin typeface="+mn-ea"/>
                <a:sym typeface="Meiryo UI" panose="020B0604030504040204" pitchFamily="50" charset="-128"/>
              </a:rPr>
              <a:t>に応じた服装の自由化につなげます。</a:t>
            </a:r>
            <a:endParaRPr lang="en-US" altLang="ja-JP" sz="1600" dirty="0">
              <a:solidFill>
                <a:prstClr val="black"/>
              </a:solidFill>
              <a:latin typeface="+mn-ea"/>
              <a:sym typeface="Meiryo UI" panose="020B0604030504040204" pitchFamily="50" charset="-128"/>
            </a:endParaRPr>
          </a:p>
          <a:p>
            <a:pPr marL="648016" lvl="2" indent="-216006" defTabSz="457212">
              <a:spcBef>
                <a:spcPts val="600"/>
              </a:spcBef>
              <a:buClr>
                <a:srgbClr val="009C89"/>
              </a:buClr>
              <a:buFont typeface="Trebuchet MS" panose="020B0603020202020204" pitchFamily="34" charset="0"/>
              <a:buChar char="–"/>
              <a:defRPr/>
            </a:pPr>
            <a:r>
              <a:rPr lang="ja-JP" altLang="en-US" sz="1600" dirty="0">
                <a:solidFill>
                  <a:prstClr val="black"/>
                </a:solidFill>
                <a:latin typeface="+mn-ea"/>
                <a:sym typeface="Meiryo UI" panose="020B0604030504040204" pitchFamily="50" charset="-128"/>
              </a:rPr>
              <a:t>サステナブルファッションの浸透促進により、大量生産・大量消費型から廃棄を少なくする循環型への移行を推進します。</a:t>
            </a:r>
            <a:endParaRPr lang="en-US" altLang="ja-JP" sz="1600" dirty="0">
              <a:solidFill>
                <a:prstClr val="black"/>
              </a:solidFill>
              <a:latin typeface="+mn-ea"/>
              <a:sym typeface="Meiryo UI" panose="020B0604030504040204" pitchFamily="50" charset="-128"/>
            </a:endParaRPr>
          </a:p>
        </p:txBody>
      </p:sp>
      <p:sp>
        <p:nvSpPr>
          <p:cNvPr id="10" name="Flowchart: Alternate Process 9">
            <a:extLst>
              <a:ext uri="{FF2B5EF4-FFF2-40B4-BE49-F238E27FC236}">
                <a16:creationId xmlns:a16="http://schemas.microsoft.com/office/drawing/2014/main" id="{087BECFE-83A5-4FC4-97F4-4ACBF23CD978}"/>
              </a:ext>
            </a:extLst>
          </p:cNvPr>
          <p:cNvSpPr/>
          <p:nvPr/>
        </p:nvSpPr>
        <p:spPr>
          <a:xfrm>
            <a:off x="238781" y="4658638"/>
            <a:ext cx="1679679" cy="364112"/>
          </a:xfrm>
          <a:prstGeom prst="flowChartAlternateProcess">
            <a:avLst/>
          </a:prstGeom>
          <a:solidFill>
            <a:srgbClr val="00584E"/>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457212">
              <a:defRPr/>
            </a:pPr>
            <a:r>
              <a:rPr kumimoji="1" lang="ja-JP" altLang="en-US" dirty="0">
                <a:solidFill>
                  <a:schemeClr val="bg1"/>
                </a:solidFill>
                <a:latin typeface="+mn-ea"/>
                <a:sym typeface="Meiryo UI" panose="020B0604030504040204" pitchFamily="50" charset="-128"/>
              </a:rPr>
              <a:t>②熱中症予防</a:t>
            </a:r>
            <a:endParaRPr kumimoji="1" lang="en-US" dirty="0">
              <a:solidFill>
                <a:schemeClr val="bg1"/>
              </a:solidFill>
              <a:latin typeface="+mn-ea"/>
              <a:sym typeface="Meiryo UI" panose="020B0604030504040204" pitchFamily="50" charset="-128"/>
            </a:endParaRPr>
          </a:p>
        </p:txBody>
      </p:sp>
      <p:sp>
        <p:nvSpPr>
          <p:cNvPr id="17" name="Textfeld 1">
            <a:extLst>
              <a:ext uri="{FF2B5EF4-FFF2-40B4-BE49-F238E27FC236}">
                <a16:creationId xmlns:a16="http://schemas.microsoft.com/office/drawing/2014/main" id="{58102EBD-3BF6-4103-89CC-882B67AA8AA4}"/>
              </a:ext>
            </a:extLst>
          </p:cNvPr>
          <p:cNvSpPr txBox="1"/>
          <p:nvPr/>
        </p:nvSpPr>
        <p:spPr>
          <a:xfrm>
            <a:off x="326318" y="5056184"/>
            <a:ext cx="8027840" cy="885522"/>
          </a:xfrm>
          <a:prstGeom prst="rect">
            <a:avLst/>
          </a:prstGeom>
          <a:noFill/>
          <a:ln w="9525" cap="flat" cmpd="sng" algn="ctr">
            <a:noFill/>
            <a:prstDash val="solid"/>
            <a:miter lim="800000"/>
            <a:headEnd type="none" w="lg" len="lg"/>
            <a:tailEnd type="none" w="lg" len="lg"/>
          </a:ln>
          <a:effectLst/>
          <a:extLst>
            <a:ext uri="{91240B29-F687-4F45-9708-019B960494DF}">
              <a14:hiddenLine xmlns:a14="http://schemas.microsoft.com/office/drawing/2010/main" w="9525" cap="flat" cmpd="sng" algn="ctr">
                <a:solidFill>
                  <a:srgbClr val="9A9A9A"/>
                </a:solidFill>
                <a:prstDash val="solid"/>
                <a:miter lim="800000"/>
                <a:headEnd type="none" w="lg" len="lg"/>
                <a:tailEnd type="none" w="lg" len="lg"/>
              </a14:hiddenLine>
            </a:ext>
          </a:extLst>
        </p:spPr>
        <p:txBody>
          <a:bodyPr vert="horz" wrap="square" lIns="0" tIns="0" rIns="0" bIns="0" anchor="t"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324008" lvl="1" indent="-216006" defTabSz="457212">
              <a:spcBef>
                <a:spcPts val="600"/>
              </a:spcBef>
              <a:buClr>
                <a:srgbClr val="009C89"/>
              </a:buClr>
              <a:buFont typeface="Trebuchet MS" panose="020B0603020202020204" pitchFamily="34" charset="0"/>
              <a:buChar char="•"/>
              <a:defRPr/>
            </a:pPr>
            <a:r>
              <a:rPr lang="ja-JP" altLang="en-US" sz="1600" dirty="0">
                <a:solidFill>
                  <a:prstClr val="black"/>
                </a:solidFill>
                <a:latin typeface="+mn-ea"/>
                <a:sym typeface="Meiryo UI" panose="020B0604030504040204" pitchFamily="50" charset="-128"/>
              </a:rPr>
              <a:t>夏場から秋口の熱中症増加に備え、広く熱中症予防の必要性と重要性を呼びかけます。</a:t>
            </a:r>
            <a:endParaRPr lang="en-US" altLang="ja-JP" sz="1600" dirty="0">
              <a:solidFill>
                <a:prstClr val="black"/>
              </a:solidFill>
              <a:latin typeface="+mn-ea"/>
              <a:sym typeface="Meiryo UI" panose="020B0604030504040204" pitchFamily="50" charset="-128"/>
            </a:endParaRPr>
          </a:p>
          <a:p>
            <a:pPr marL="324008" lvl="1" indent="-216006" defTabSz="457212">
              <a:spcBef>
                <a:spcPts val="600"/>
              </a:spcBef>
              <a:buClr>
                <a:srgbClr val="009C89"/>
              </a:buClr>
              <a:buFont typeface="Trebuchet MS" panose="020B0603020202020204" pitchFamily="34" charset="0"/>
              <a:buChar char="•"/>
              <a:defRPr/>
            </a:pPr>
            <a:r>
              <a:rPr lang="ja-JP" altLang="en-US" sz="1600" dirty="0">
                <a:solidFill>
                  <a:prstClr val="black"/>
                </a:solidFill>
                <a:latin typeface="+mn-ea"/>
                <a:sym typeface="Meiryo UI" panose="020B0604030504040204" pitchFamily="50" charset="-128"/>
              </a:rPr>
              <a:t>熱中症予防につながる「機会・場」や「製品・サービス」のご提案をお願いします。</a:t>
            </a:r>
            <a:endParaRPr lang="en-US" altLang="ja-JP" sz="1600" dirty="0">
              <a:solidFill>
                <a:prstClr val="black"/>
              </a:solidFill>
              <a:latin typeface="+mn-ea"/>
              <a:sym typeface="Meiryo UI" panose="020B0604030504040204" pitchFamily="50" charset="-128"/>
            </a:endParaRPr>
          </a:p>
        </p:txBody>
      </p:sp>
      <p:sp>
        <p:nvSpPr>
          <p:cNvPr id="8" name="Rectangle: Rounded Corners 7">
            <a:extLst>
              <a:ext uri="{FF2B5EF4-FFF2-40B4-BE49-F238E27FC236}">
                <a16:creationId xmlns:a16="http://schemas.microsoft.com/office/drawing/2014/main" id="{51BE4B69-6DB0-4109-BB0C-6CE46AFF79F0}"/>
              </a:ext>
            </a:extLst>
          </p:cNvPr>
          <p:cNvSpPr/>
          <p:nvPr/>
        </p:nvSpPr>
        <p:spPr>
          <a:xfrm>
            <a:off x="994974" y="6090846"/>
            <a:ext cx="8027840" cy="575939"/>
          </a:xfrm>
          <a:prstGeom prst="roundRect">
            <a:avLst/>
          </a:prstGeom>
          <a:solidFill>
            <a:srgbClr val="00584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solidFill>
                  <a:schemeClr val="bg1"/>
                </a:solidFill>
                <a:latin typeface="Meiryo UI" panose="020B0604030504040204" pitchFamily="50" charset="-128"/>
                <a:ea typeface="Meiryo UI" panose="020B0604030504040204" pitchFamily="50" charset="-128"/>
              </a:rPr>
              <a:t>「新しい豊かな暮らし」における暑い時期の過ごし方を是非ご提案ください！</a:t>
            </a:r>
            <a:endParaRPr kumimoji="1" lang="en-US" b="1" dirty="0">
              <a:solidFill>
                <a:schemeClr val="bg1"/>
              </a:solidFill>
              <a:latin typeface="Meiryo UI" panose="020B0604030504040204" pitchFamily="50" charset="-128"/>
              <a:ea typeface="Meiryo UI" panose="020B0604030504040204" pitchFamily="50" charset="-128"/>
            </a:endParaRPr>
          </a:p>
        </p:txBody>
      </p:sp>
      <p:pic>
        <p:nvPicPr>
          <p:cNvPr id="22" name="Picture 21">
            <a:extLst>
              <a:ext uri="{FF2B5EF4-FFF2-40B4-BE49-F238E27FC236}">
                <a16:creationId xmlns:a16="http://schemas.microsoft.com/office/drawing/2014/main" id="{1CBF7F5B-0F99-4E3F-9A92-AAB42890812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8182975" y="4774343"/>
            <a:ext cx="1679679" cy="1099160"/>
          </a:xfrm>
          <a:prstGeom prst="rect">
            <a:avLst/>
          </a:prstGeom>
        </p:spPr>
      </p:pic>
      <p:pic>
        <p:nvPicPr>
          <p:cNvPr id="24" name="Picture 23">
            <a:extLst>
              <a:ext uri="{FF2B5EF4-FFF2-40B4-BE49-F238E27FC236}">
                <a16:creationId xmlns:a16="http://schemas.microsoft.com/office/drawing/2014/main" id="{4D247EE5-2750-40C8-946A-26C11781056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182974" y="2970051"/>
            <a:ext cx="1679679" cy="1119674"/>
          </a:xfrm>
          <a:prstGeom prst="rect">
            <a:avLst/>
          </a:prstGeom>
        </p:spPr>
      </p:pic>
    </p:spTree>
    <p:extLst>
      <p:ext uri="{BB962C8B-B14F-4D97-AF65-F5344CB8AC3E}">
        <p14:creationId xmlns:p14="http://schemas.microsoft.com/office/powerpoint/2010/main" val="33513862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3E129463-D383-45C7-90B4-FE4C235D26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95" imgH="396" progId="TCLayout.ActiveDocument.1">
                  <p:embed/>
                </p:oleObj>
              </mc:Choice>
              <mc:Fallback>
                <p:oleObj name="think-cell スライド" r:id="rId3" imgW="395" imgH="396" progId="TCLayout.ActiveDocument.1">
                  <p:embed/>
                  <p:pic>
                    <p:nvPicPr>
                      <p:cNvPr id="4" name="オブジェクト 3" hidden="1">
                        <a:extLst>
                          <a:ext uri="{FF2B5EF4-FFF2-40B4-BE49-F238E27FC236}">
                            <a16:creationId xmlns:a16="http://schemas.microsoft.com/office/drawing/2014/main" id="{3E129463-D383-45C7-90B4-FE4C235D26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17368899-270B-4C43-AE3F-11660E6AF18A}"/>
              </a:ext>
            </a:extLst>
          </p:cNvPr>
          <p:cNvSpPr>
            <a:spLocks noGrp="1"/>
          </p:cNvSpPr>
          <p:nvPr>
            <p:ph type="title"/>
          </p:nvPr>
        </p:nvSpPr>
        <p:spPr>
          <a:xfrm>
            <a:off x="150026" y="257881"/>
            <a:ext cx="9394515" cy="587854"/>
          </a:xfrm>
        </p:spPr>
        <p:txBody>
          <a:bodyPr vert="horz"/>
          <a:lstStyle/>
          <a:p>
            <a:r>
              <a:rPr lang="ja-JP" altLang="en-US" sz="2400" dirty="0">
                <a:latin typeface="+mj-lt"/>
              </a:rPr>
              <a:t>製品・サービス・取組の登録と発信</a:t>
            </a:r>
            <a:endParaRPr lang="en-US" sz="2000" dirty="0">
              <a:latin typeface="+mj-lt"/>
            </a:endParaRPr>
          </a:p>
        </p:txBody>
      </p:sp>
      <p:pic>
        <p:nvPicPr>
          <p:cNvPr id="8" name="図 7">
            <a:extLst>
              <a:ext uri="{FF2B5EF4-FFF2-40B4-BE49-F238E27FC236}">
                <a16:creationId xmlns:a16="http://schemas.microsoft.com/office/drawing/2014/main" id="{8E7CF5AF-B19D-EE98-67DF-2B65E1A00B46}"/>
              </a:ext>
            </a:extLst>
          </p:cNvPr>
          <p:cNvPicPr>
            <a:picLocks noChangeAspect="1"/>
          </p:cNvPicPr>
          <p:nvPr/>
        </p:nvPicPr>
        <p:blipFill rotWithShape="1">
          <a:blip r:embed="rId5"/>
          <a:srcRect b="55049"/>
          <a:stretch/>
        </p:blipFill>
        <p:spPr>
          <a:xfrm>
            <a:off x="2585356" y="2154697"/>
            <a:ext cx="4735287" cy="871272"/>
          </a:xfrm>
          <a:prstGeom prst="rect">
            <a:avLst/>
          </a:prstGeom>
        </p:spPr>
      </p:pic>
      <p:pic>
        <p:nvPicPr>
          <p:cNvPr id="12" name="図 11">
            <a:extLst>
              <a:ext uri="{FF2B5EF4-FFF2-40B4-BE49-F238E27FC236}">
                <a16:creationId xmlns:a16="http://schemas.microsoft.com/office/drawing/2014/main" id="{C1D49C43-917D-E9EE-7C74-5F94C7082D14}"/>
              </a:ext>
            </a:extLst>
          </p:cNvPr>
          <p:cNvPicPr>
            <a:picLocks noChangeAspect="1"/>
          </p:cNvPicPr>
          <p:nvPr/>
        </p:nvPicPr>
        <p:blipFill>
          <a:blip r:embed="rId6"/>
          <a:stretch>
            <a:fillRect/>
          </a:stretch>
        </p:blipFill>
        <p:spPr>
          <a:xfrm>
            <a:off x="807540" y="3170358"/>
            <a:ext cx="4145459" cy="3600000"/>
          </a:xfrm>
          <a:prstGeom prst="rect">
            <a:avLst/>
          </a:prstGeom>
        </p:spPr>
      </p:pic>
      <p:pic>
        <p:nvPicPr>
          <p:cNvPr id="15" name="図 14">
            <a:extLst>
              <a:ext uri="{FF2B5EF4-FFF2-40B4-BE49-F238E27FC236}">
                <a16:creationId xmlns:a16="http://schemas.microsoft.com/office/drawing/2014/main" id="{6C016018-5863-6AD3-E1A3-FD1B93EF59F1}"/>
              </a:ext>
            </a:extLst>
          </p:cNvPr>
          <p:cNvPicPr>
            <a:picLocks noChangeAspect="1"/>
          </p:cNvPicPr>
          <p:nvPr/>
        </p:nvPicPr>
        <p:blipFill>
          <a:blip r:embed="rId7"/>
          <a:stretch>
            <a:fillRect/>
          </a:stretch>
        </p:blipFill>
        <p:spPr>
          <a:xfrm>
            <a:off x="4952999" y="3189306"/>
            <a:ext cx="4179624" cy="3562104"/>
          </a:xfrm>
          <a:prstGeom prst="rect">
            <a:avLst/>
          </a:prstGeom>
        </p:spPr>
      </p:pic>
      <p:sp>
        <p:nvSpPr>
          <p:cNvPr id="3" name="正方形/長方形 9">
            <a:extLst>
              <a:ext uri="{FF2B5EF4-FFF2-40B4-BE49-F238E27FC236}">
                <a16:creationId xmlns:a16="http://schemas.microsoft.com/office/drawing/2014/main" id="{475E4BF3-381E-2602-F2DB-0DB707D7A6FC}"/>
              </a:ext>
            </a:extLst>
          </p:cNvPr>
          <p:cNvSpPr/>
          <p:nvPr/>
        </p:nvSpPr>
        <p:spPr>
          <a:xfrm>
            <a:off x="412506" y="1037119"/>
            <a:ext cx="9080986" cy="980401"/>
          </a:xfrm>
          <a:prstGeom prst="rect">
            <a:avLst/>
          </a:prstGeom>
          <a:noFill/>
          <a:ln w="28575">
            <a:solidFill>
              <a:srgbClr val="00584E"/>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265120" indent="-176217"/>
            <a:r>
              <a:rPr lang="ja-JP" altLang="en-US" sz="1600" dirty="0">
                <a:solidFill>
                  <a:prstClr val="black"/>
                </a:solidFill>
                <a:latin typeface="+mn-ea"/>
              </a:rPr>
              <a:t>○</a:t>
            </a:r>
            <a:r>
              <a:rPr lang="ja-JP" altLang="en-US" sz="1600" dirty="0">
                <a:solidFill>
                  <a:prstClr val="black"/>
                </a:solidFill>
                <a:latin typeface="Meiryo UI" panose="020B0604030504040204" pitchFamily="50" charset="-128"/>
                <a:ea typeface="Meiryo UI" panose="020B0604030504040204" pitchFamily="50" charset="-128"/>
              </a:rPr>
              <a:t>ポータルサイト（</a:t>
            </a:r>
            <a:r>
              <a:rPr lang="en-US" altLang="ja-JP" sz="1600" dirty="0">
                <a:solidFill>
                  <a:srgbClr val="C41300"/>
                </a:solidFill>
                <a:latin typeface="Arial" panose="020B0604020202020204" pitchFamily="34" charset="0"/>
                <a:ea typeface="Meiryo UI" panose="020B0604030504040204" pitchFamily="50" charset="-128"/>
                <a:hlinkClick r:id="rId8"/>
              </a:rPr>
              <a:t>https://ondankataisaku.env.go.jp/decokatsu/</a:t>
            </a:r>
            <a:r>
              <a:rPr lang="ja-JP" altLang="en-US" sz="1600" dirty="0">
                <a:solidFill>
                  <a:prstClr val="black"/>
                </a:solidFill>
                <a:latin typeface="Meiryo UI" panose="020B0604030504040204" pitchFamily="50" charset="-128"/>
                <a:ea typeface="Meiryo UI" panose="020B0604030504040204" pitchFamily="50" charset="-128"/>
              </a:rPr>
              <a:t>）において、「脱炭素につながる新しい豊かな暮らしを支える取組、製品・サービス」の登録を広く受け付けています。</a:t>
            </a:r>
            <a:endParaRPr lang="en-US" altLang="ja-JP" sz="1600" dirty="0">
              <a:solidFill>
                <a:prstClr val="black"/>
              </a:solidFill>
              <a:latin typeface="Meiryo UI" panose="020B0604030504040204" pitchFamily="50" charset="-128"/>
              <a:ea typeface="Meiryo UI" panose="020B0604030504040204" pitchFamily="50" charset="-128"/>
            </a:endParaRPr>
          </a:p>
          <a:p>
            <a:pPr marL="265120" indent="-176217"/>
            <a:r>
              <a:rPr lang="ja-JP" altLang="en-US" sz="1600" dirty="0">
                <a:solidFill>
                  <a:prstClr val="black"/>
                </a:solidFill>
                <a:latin typeface="+mn-ea"/>
              </a:rPr>
              <a:t>○登録いただいたものは、ポータルサイトや</a:t>
            </a:r>
            <a:r>
              <a:rPr lang="en-US" altLang="ja-JP" sz="1600" dirty="0">
                <a:solidFill>
                  <a:prstClr val="black"/>
                </a:solidFill>
                <a:latin typeface="+mn-ea"/>
              </a:rPr>
              <a:t>SNS</a:t>
            </a:r>
            <a:r>
              <a:rPr lang="ja-JP" altLang="en-US" sz="1600" dirty="0">
                <a:solidFill>
                  <a:prstClr val="black"/>
                </a:solidFill>
                <a:latin typeface="+mn-ea"/>
              </a:rPr>
              <a:t>等で発信・</a:t>
            </a:r>
            <a:r>
              <a:rPr lang="en-US" altLang="ja-JP" sz="1600" dirty="0">
                <a:solidFill>
                  <a:prstClr val="black"/>
                </a:solidFill>
                <a:latin typeface="+mn-ea"/>
              </a:rPr>
              <a:t>PR</a:t>
            </a:r>
            <a:r>
              <a:rPr lang="ja-JP" altLang="en-US" sz="1600" dirty="0">
                <a:solidFill>
                  <a:prstClr val="black"/>
                </a:solidFill>
                <a:latin typeface="+mn-ea"/>
              </a:rPr>
              <a:t>します。</a:t>
            </a:r>
          </a:p>
        </p:txBody>
      </p:sp>
    </p:spTree>
    <p:extLst>
      <p:ext uri="{BB962C8B-B14F-4D97-AF65-F5344CB8AC3E}">
        <p14:creationId xmlns:p14="http://schemas.microsoft.com/office/powerpoint/2010/main" val="27415494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四角形: 角を丸くする 13">
            <a:extLst>
              <a:ext uri="{FF2B5EF4-FFF2-40B4-BE49-F238E27FC236}">
                <a16:creationId xmlns:a16="http://schemas.microsoft.com/office/drawing/2014/main" id="{00C02146-BB20-4415-6450-7B518E98BBEF}"/>
              </a:ext>
            </a:extLst>
          </p:cNvPr>
          <p:cNvSpPr/>
          <p:nvPr/>
        </p:nvSpPr>
        <p:spPr>
          <a:xfrm>
            <a:off x="412506" y="4077635"/>
            <a:ext cx="9080985" cy="2308324"/>
          </a:xfrm>
          <a:prstGeom prst="roundRect">
            <a:avLst/>
          </a:prstGeom>
          <a:ln w="28575">
            <a:solidFill>
              <a:srgbClr val="00584E"/>
            </a:solid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marL="0" marR="0" indent="0" algn="ctr" defTabSz="914400" rtl="0" eaLnBrk="1" fontAlgn="auto" latinLnBrk="0" hangingPunct="1">
              <a:lnSpc>
                <a:spcPct val="100000"/>
              </a:lnSpc>
              <a:spcBef>
                <a:spcPts val="0"/>
              </a:spcBef>
              <a:spcAft>
                <a:spcPts val="0"/>
              </a:spcAft>
              <a:buClrTx/>
              <a:buSzTx/>
              <a:buFontTx/>
              <a:buNone/>
              <a:tabLst/>
            </a:pP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6" name="Object 5" hidden="1">
            <a:extLst>
              <a:ext uri="{FF2B5EF4-FFF2-40B4-BE49-F238E27FC236}">
                <a16:creationId xmlns:a16="http://schemas.microsoft.com/office/drawing/2014/main" id="{7FAEF7E0-5AA7-4D1A-96C7-FA78BCDEC336}"/>
              </a:ext>
            </a:extLst>
          </p:cNvPr>
          <p:cNvGraphicFramePr>
            <a:graphicFrameLocks noChangeAspect="1"/>
          </p:cNvGraphicFramePr>
          <p:nvPr>
            <p:custDataLst>
              <p:tags r:id="rId1"/>
            </p:custDataLst>
            <p:extLst>
              <p:ext uri="{D42A27DB-BD31-4B8C-83A1-F6EECF244321}">
                <p14:modId xmlns:p14="http://schemas.microsoft.com/office/powerpoint/2010/main" val="1065409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395" imgH="396" progId="TCLayout.ActiveDocument.1">
                  <p:embed/>
                </p:oleObj>
              </mc:Choice>
              <mc:Fallback>
                <p:oleObj name="think-cell スライド" r:id="rId4" imgW="395" imgH="396" progId="TCLayout.ActiveDocument.1">
                  <p:embed/>
                  <p:pic>
                    <p:nvPicPr>
                      <p:cNvPr id="6" name="Object 5" hidden="1">
                        <a:extLst>
                          <a:ext uri="{FF2B5EF4-FFF2-40B4-BE49-F238E27FC236}">
                            <a16:creationId xmlns:a16="http://schemas.microsoft.com/office/drawing/2014/main" id="{7FAEF7E0-5AA7-4D1A-96C7-FA78BCDEC3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E75C3DE-31EF-4D5C-BA25-644F29F8EE89}"/>
              </a:ext>
            </a:extLst>
          </p:cNvPr>
          <p:cNvSpPr>
            <a:spLocks noGrp="1"/>
          </p:cNvSpPr>
          <p:nvPr>
            <p:ph type="title"/>
          </p:nvPr>
        </p:nvSpPr>
        <p:spPr/>
        <p:txBody>
          <a:bodyPr vert="horz"/>
          <a:lstStyle/>
          <a:p>
            <a:r>
              <a:rPr lang="en-US" altLang="ja-JP" sz="2400" dirty="0">
                <a:latin typeface="Meiryo UI"/>
                <a:ea typeface="Meiryo UI"/>
              </a:rPr>
              <a:t>【</a:t>
            </a:r>
            <a:r>
              <a:rPr lang="ja-JP" altLang="en-US" sz="2400" dirty="0">
                <a:latin typeface="Meiryo UI"/>
                <a:ea typeface="Meiryo UI"/>
              </a:rPr>
              <a:t>参考</a:t>
            </a:r>
            <a:r>
              <a:rPr lang="en-US" altLang="ja-JP" sz="2400" dirty="0">
                <a:latin typeface="Meiryo UI"/>
                <a:ea typeface="Meiryo UI"/>
              </a:rPr>
              <a:t>】</a:t>
            </a:r>
            <a:r>
              <a:rPr lang="ja-JP" altLang="en-US" sz="2400" dirty="0">
                <a:latin typeface="Meiryo UI"/>
                <a:ea typeface="Meiryo UI"/>
              </a:rPr>
              <a:t>官民連携実践プロジェクト・応援の場の支援のあり方</a:t>
            </a:r>
            <a:endParaRPr lang="en-US" sz="2400" dirty="0">
              <a:latin typeface="Meiryo UI"/>
              <a:ea typeface="Meiryo UI"/>
            </a:endParaRPr>
          </a:p>
        </p:txBody>
      </p:sp>
      <mc:AlternateContent xmlns:mc="http://schemas.openxmlformats.org/markup-compatibility/2006" xmlns:p14="http://schemas.microsoft.com/office/powerpoint/2010/main">
        <mc:Choice Requires="p14">
          <p:contentPart p14:bwMode="auto" r:id="rId6">
            <p14:nvContentPartPr>
              <p14:cNvPr id="11" name="インク 10">
                <a:extLst>
                  <a:ext uri="{FF2B5EF4-FFF2-40B4-BE49-F238E27FC236}">
                    <a16:creationId xmlns:a16="http://schemas.microsoft.com/office/drawing/2014/main" id="{B1F096BC-7892-A009-D024-0FE31E640C2A}"/>
                  </a:ext>
                </a:extLst>
              </p14:cNvPr>
              <p14:cNvContentPartPr/>
              <p14:nvPr/>
            </p14:nvContentPartPr>
            <p14:xfrm>
              <a:off x="1294139" y="595521"/>
              <a:ext cx="360" cy="360"/>
            </p14:xfrm>
          </p:contentPart>
        </mc:Choice>
        <mc:Fallback xmlns="">
          <p:pic>
            <p:nvPicPr>
              <p:cNvPr id="11" name="インク 10">
                <a:extLst>
                  <a:ext uri="{FF2B5EF4-FFF2-40B4-BE49-F238E27FC236}">
                    <a16:creationId xmlns:a16="http://schemas.microsoft.com/office/drawing/2014/main" id="{B1F096BC-7892-A009-D024-0FE31E640C2A}"/>
                  </a:ext>
                </a:extLst>
              </p:cNvPr>
              <p:cNvPicPr/>
              <p:nvPr/>
            </p:nvPicPr>
            <p:blipFill>
              <a:blip r:embed="rId8"/>
              <a:stretch>
                <a:fillRect/>
              </a:stretch>
            </p:blipFill>
            <p:spPr>
              <a:xfrm>
                <a:off x="1285139" y="586521"/>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12" name="インク 11">
                <a:extLst>
                  <a:ext uri="{FF2B5EF4-FFF2-40B4-BE49-F238E27FC236}">
                    <a16:creationId xmlns:a16="http://schemas.microsoft.com/office/drawing/2014/main" id="{E8ABA65E-BAC8-DAD1-CD07-6F2A7D424DD6}"/>
                  </a:ext>
                </a:extLst>
              </p14:cNvPr>
              <p14:cNvContentPartPr/>
              <p14:nvPr/>
            </p14:nvContentPartPr>
            <p14:xfrm>
              <a:off x="965099" y="472041"/>
              <a:ext cx="360" cy="360"/>
            </p14:xfrm>
          </p:contentPart>
        </mc:Choice>
        <mc:Fallback xmlns="">
          <p:pic>
            <p:nvPicPr>
              <p:cNvPr id="12" name="インク 11">
                <a:extLst>
                  <a:ext uri="{FF2B5EF4-FFF2-40B4-BE49-F238E27FC236}">
                    <a16:creationId xmlns:a16="http://schemas.microsoft.com/office/drawing/2014/main" id="{E8ABA65E-BAC8-DAD1-CD07-6F2A7D424DD6}"/>
                  </a:ext>
                </a:extLst>
              </p:cNvPr>
              <p:cNvPicPr/>
              <p:nvPr/>
            </p:nvPicPr>
            <p:blipFill>
              <a:blip r:embed="rId8"/>
              <a:stretch>
                <a:fillRect/>
              </a:stretch>
            </p:blipFill>
            <p:spPr>
              <a:xfrm>
                <a:off x="956099" y="463041"/>
                <a:ext cx="18000" cy="18000"/>
              </a:xfrm>
              <a:prstGeom prst="rect">
                <a:avLst/>
              </a:prstGeom>
            </p:spPr>
          </p:pic>
        </mc:Fallback>
      </mc:AlternateContent>
      <p:sp>
        <p:nvSpPr>
          <p:cNvPr id="7" name="Rectangle 6">
            <a:extLst>
              <a:ext uri="{FF2B5EF4-FFF2-40B4-BE49-F238E27FC236}">
                <a16:creationId xmlns:a16="http://schemas.microsoft.com/office/drawing/2014/main" id="{865C6B23-BF6D-BB79-D46C-42992AE3D128}"/>
              </a:ext>
            </a:extLst>
          </p:cNvPr>
          <p:cNvSpPr/>
          <p:nvPr/>
        </p:nvSpPr>
        <p:spPr>
          <a:xfrm>
            <a:off x="412507" y="1052592"/>
            <a:ext cx="9080985" cy="2746614"/>
          </a:xfrm>
          <a:prstGeom prst="rect">
            <a:avLst/>
          </a:prstGeom>
          <a:solidFill>
            <a:srgbClr val="C9E7CA"/>
          </a:solidFill>
          <a:ln w="28575">
            <a:solidFill>
              <a:srgbClr val="00584E"/>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08000" lvl="1">
              <a:spcAft>
                <a:spcPts val="600"/>
              </a:spcAft>
              <a:buClr>
                <a:schemeClr val="tx2"/>
              </a:buClr>
            </a:pPr>
            <a:r>
              <a:rPr kumimoji="1" lang="ja-JP" altLang="en-US" sz="2000" dirty="0">
                <a:solidFill>
                  <a:schemeClr val="tx1"/>
                </a:solidFill>
                <a:latin typeface="Trebuchet MS" panose="020B0603020202020204" pitchFamily="34" charset="0"/>
                <a:ea typeface="Meiryo UI" panose="020B0604030504040204" pitchFamily="50" charset="-128"/>
              </a:rPr>
              <a:t>○　官民連携実践プロジェクトの</a:t>
            </a:r>
            <a:r>
              <a:rPr kumimoji="1" lang="ja-JP" altLang="en-US" sz="2000" b="1" dirty="0">
                <a:solidFill>
                  <a:schemeClr val="tx1"/>
                </a:solidFill>
                <a:latin typeface="Trebuchet MS" panose="020B0603020202020204" pitchFamily="34" charset="0"/>
                <a:ea typeface="Meiryo UI" panose="020B0604030504040204" pitchFamily="50" charset="-128"/>
              </a:rPr>
              <a:t>組成から実施、実施後フォローまで、事務局等が</a:t>
            </a:r>
            <a:endParaRPr kumimoji="1" lang="en-US" altLang="ja-JP" sz="2000" b="1" dirty="0">
              <a:solidFill>
                <a:schemeClr val="tx1"/>
              </a:solidFill>
              <a:latin typeface="Trebuchet MS" panose="020B0603020202020204" pitchFamily="34" charset="0"/>
              <a:ea typeface="Meiryo UI" panose="020B0604030504040204" pitchFamily="50" charset="-128"/>
            </a:endParaRPr>
          </a:p>
          <a:p>
            <a:pPr marL="108000" lvl="1">
              <a:spcAft>
                <a:spcPts val="600"/>
              </a:spcAft>
              <a:buClr>
                <a:schemeClr val="tx2"/>
              </a:buClr>
            </a:pPr>
            <a:r>
              <a:rPr kumimoji="1" lang="ja-JP" altLang="en-US" sz="2000" b="1" dirty="0">
                <a:solidFill>
                  <a:schemeClr val="tx1"/>
                </a:solidFill>
                <a:latin typeface="Trebuchet MS" panose="020B0603020202020204" pitchFamily="34" charset="0"/>
                <a:ea typeface="Meiryo UI" panose="020B0604030504040204" pitchFamily="50" charset="-128"/>
              </a:rPr>
              <a:t>　　　サポート</a:t>
            </a:r>
            <a:r>
              <a:rPr kumimoji="1" lang="ja-JP" altLang="en-US" sz="2000" dirty="0">
                <a:solidFill>
                  <a:schemeClr val="tx1"/>
                </a:solidFill>
                <a:latin typeface="Trebuchet MS" panose="020B0603020202020204" pitchFamily="34" charset="0"/>
                <a:ea typeface="Meiryo UI" panose="020B0604030504040204" pitchFamily="50" charset="-128"/>
              </a:rPr>
              <a:t>します。</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108000" lvl="1">
              <a:spcAft>
                <a:spcPts val="600"/>
              </a:spcAft>
              <a:buClr>
                <a:schemeClr val="tx2"/>
              </a:buClr>
            </a:pPr>
            <a:r>
              <a:rPr kumimoji="1" lang="ja-JP" altLang="en-US" sz="2000" dirty="0">
                <a:solidFill>
                  <a:schemeClr val="tx1"/>
                </a:solidFill>
                <a:latin typeface="Trebuchet MS" panose="020B0603020202020204" pitchFamily="34" charset="0"/>
                <a:ea typeface="Meiryo UI" panose="020B0604030504040204" pitchFamily="50" charset="-128"/>
              </a:rPr>
              <a:t>　</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432000" lvl="2">
              <a:spcAft>
                <a:spcPts val="600"/>
              </a:spcAft>
              <a:buClr>
                <a:schemeClr val="tx2"/>
              </a:buClr>
            </a:pPr>
            <a:r>
              <a:rPr kumimoji="1" lang="ja-JP" altLang="en-US" sz="2000" dirty="0">
                <a:solidFill>
                  <a:schemeClr val="tx1"/>
                </a:solidFill>
                <a:latin typeface="Trebuchet MS" panose="020B0603020202020204" pitchFamily="34" charset="0"/>
                <a:ea typeface="Meiryo UI" panose="020B0604030504040204" pitchFamily="50" charset="-128"/>
              </a:rPr>
              <a:t>➡　</a:t>
            </a:r>
            <a:r>
              <a:rPr kumimoji="1" lang="ja-JP" altLang="en-US" sz="2000" b="1" dirty="0">
                <a:solidFill>
                  <a:srgbClr val="0070C0"/>
                </a:solidFill>
                <a:latin typeface="Trebuchet MS" panose="020B0603020202020204" pitchFamily="34" charset="0"/>
                <a:ea typeface="Meiryo UI" panose="020B0604030504040204" pitchFamily="50" charset="-128"/>
              </a:rPr>
              <a:t>マッチング、案件形成、</a:t>
            </a:r>
            <a:r>
              <a:rPr kumimoji="1" lang="ja-JP" altLang="en-US" sz="2000" b="1" u="sng" dirty="0">
                <a:solidFill>
                  <a:srgbClr val="0070C0"/>
                </a:solidFill>
                <a:latin typeface="Trebuchet MS" panose="020B0603020202020204" pitchFamily="34" charset="0"/>
                <a:ea typeface="Meiryo UI" panose="020B0604030504040204" pitchFamily="50" charset="-128"/>
              </a:rPr>
              <a:t>シードマネー</a:t>
            </a:r>
            <a:r>
              <a:rPr kumimoji="1" lang="ja-JP" altLang="en-US" sz="2000" b="1" dirty="0">
                <a:solidFill>
                  <a:srgbClr val="0070C0"/>
                </a:solidFill>
                <a:latin typeface="Trebuchet MS" panose="020B0603020202020204" pitchFamily="34" charset="0"/>
                <a:ea typeface="Meiryo UI" panose="020B0604030504040204" pitchFamily="50" charset="-128"/>
              </a:rPr>
              <a:t>、発信ＰＲ、効果測定</a:t>
            </a:r>
            <a:r>
              <a:rPr kumimoji="1" lang="ja-JP" altLang="en-US" sz="2000" dirty="0">
                <a:solidFill>
                  <a:schemeClr val="tx1"/>
                </a:solidFill>
                <a:latin typeface="Trebuchet MS" panose="020B0603020202020204" pitchFamily="34" charset="0"/>
                <a:ea typeface="Meiryo UI" panose="020B0604030504040204" pitchFamily="50" charset="-128"/>
              </a:rPr>
              <a:t>など</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432000" lvl="2">
              <a:spcAft>
                <a:spcPts val="600"/>
              </a:spcAft>
              <a:buClr>
                <a:schemeClr val="tx2"/>
              </a:buClr>
            </a:pPr>
            <a:r>
              <a:rPr kumimoji="1" lang="ja-JP" altLang="en-US" sz="2000" dirty="0">
                <a:solidFill>
                  <a:schemeClr val="tx1"/>
                </a:solidFill>
                <a:latin typeface="Trebuchet MS" panose="020B0603020202020204" pitchFamily="34" charset="0"/>
                <a:ea typeface="Meiryo UI" panose="020B0604030504040204" pitchFamily="50" charset="-128"/>
              </a:rPr>
              <a:t>　 　必要な範囲で支援が可能ですので、事務局までお気軽にご相談ください！</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432000" lvl="2">
              <a:spcAft>
                <a:spcPts val="600"/>
              </a:spcAft>
              <a:buClr>
                <a:schemeClr val="tx2"/>
              </a:buClr>
            </a:pPr>
            <a:endParaRPr kumimoji="1" lang="en-US" altLang="ja-JP" sz="2000" dirty="0">
              <a:solidFill>
                <a:schemeClr val="tx1"/>
              </a:solidFill>
              <a:latin typeface="Trebuchet MS" panose="020B0603020202020204" pitchFamily="34" charset="0"/>
              <a:ea typeface="Meiryo UI" panose="020B0604030504040204" pitchFamily="50" charset="-128"/>
            </a:endParaRPr>
          </a:p>
        </p:txBody>
      </p:sp>
      <p:sp>
        <p:nvSpPr>
          <p:cNvPr id="13" name="テキスト ボックス 12">
            <a:extLst>
              <a:ext uri="{FF2B5EF4-FFF2-40B4-BE49-F238E27FC236}">
                <a16:creationId xmlns:a16="http://schemas.microsoft.com/office/drawing/2014/main" id="{F7A8E2C4-776B-D5FF-F2B1-CB101843E2D9}"/>
              </a:ext>
            </a:extLst>
          </p:cNvPr>
          <p:cNvSpPr txBox="1"/>
          <p:nvPr/>
        </p:nvSpPr>
        <p:spPr>
          <a:xfrm>
            <a:off x="1006893" y="4377901"/>
            <a:ext cx="8993528" cy="1785104"/>
          </a:xfrm>
          <a:prstGeom prst="rect">
            <a:avLst/>
          </a:prstGeom>
          <a:noFill/>
        </p:spPr>
        <p:txBody>
          <a:bodyPr wrap="square">
            <a:spAutoFit/>
          </a:bodyPr>
          <a:lstStyle/>
          <a:p>
            <a:pPr marL="342900" lvl="1" indent="-342900">
              <a:spcAft>
                <a:spcPts val="600"/>
              </a:spcAft>
              <a:buClr>
                <a:schemeClr val="tx2"/>
              </a:buClr>
              <a:buFont typeface="Arial" panose="020B0604020202020204" pitchFamily="34" charset="0"/>
              <a:buChar char="•"/>
            </a:pPr>
            <a:r>
              <a:rPr kumimoji="1" lang="ja-JP" altLang="en-US" sz="1800" dirty="0">
                <a:solidFill>
                  <a:schemeClr val="tx1"/>
                </a:solidFill>
                <a:latin typeface="Trebuchet MS" panose="020B0603020202020204" pitchFamily="34" charset="0"/>
                <a:ea typeface="Meiryo UI" panose="020B0604030504040204" pitchFamily="50" charset="-128"/>
              </a:rPr>
              <a:t>このうち、シードマネーについては、</a:t>
            </a:r>
            <a:endParaRPr kumimoji="1" lang="en-US" altLang="ja-JP" sz="1800" dirty="0">
              <a:solidFill>
                <a:schemeClr val="tx1"/>
              </a:solidFill>
              <a:latin typeface="Trebuchet MS" panose="020B0603020202020204" pitchFamily="34" charset="0"/>
              <a:ea typeface="Meiryo UI" panose="020B0604030504040204" pitchFamily="50" charset="-128"/>
            </a:endParaRPr>
          </a:p>
          <a:p>
            <a:pPr marL="800100" lvl="2" indent="-342900">
              <a:spcAft>
                <a:spcPts val="600"/>
              </a:spcAft>
              <a:buClr>
                <a:schemeClr val="tx2"/>
              </a:buClr>
              <a:buFont typeface="+mj-ea"/>
              <a:buAutoNum type="circleNumDbPlain"/>
            </a:pPr>
            <a:r>
              <a:rPr kumimoji="1" lang="ja-JP" altLang="en-US" b="1" dirty="0">
                <a:solidFill>
                  <a:schemeClr val="tx1"/>
                </a:solidFill>
                <a:latin typeface="Trebuchet MS" panose="020B0603020202020204" pitchFamily="34" charset="0"/>
                <a:ea typeface="Meiryo UI" panose="020B0604030504040204" pitchFamily="50" charset="-128"/>
              </a:rPr>
              <a:t>事業ポートフォリオの一部に呼び水的に資金投入</a:t>
            </a:r>
            <a:r>
              <a:rPr kumimoji="1" lang="ja-JP" altLang="en-US" dirty="0">
                <a:solidFill>
                  <a:schemeClr val="tx1"/>
                </a:solidFill>
                <a:latin typeface="Trebuchet MS" panose="020B0603020202020204" pitchFamily="34" charset="0"/>
                <a:ea typeface="Meiryo UI" panose="020B0604030504040204" pitchFamily="50" charset="-128"/>
              </a:rPr>
              <a:t>することで、</a:t>
            </a:r>
            <a:endParaRPr kumimoji="1" lang="en-US" altLang="ja-JP" dirty="0">
              <a:solidFill>
                <a:schemeClr val="tx1"/>
              </a:solidFill>
              <a:latin typeface="Trebuchet MS" panose="020B0603020202020204" pitchFamily="34" charset="0"/>
              <a:ea typeface="Meiryo UI" panose="020B0604030504040204" pitchFamily="50" charset="-128"/>
            </a:endParaRPr>
          </a:p>
          <a:p>
            <a:pPr marL="800100" lvl="2" indent="-342900">
              <a:spcAft>
                <a:spcPts val="600"/>
              </a:spcAft>
              <a:buClr>
                <a:schemeClr val="tx2"/>
              </a:buClr>
              <a:buFont typeface="+mj-ea"/>
              <a:buAutoNum type="circleNumDbPlain"/>
            </a:pPr>
            <a:r>
              <a:rPr kumimoji="1" lang="ja-JP" altLang="en-US" b="1" dirty="0">
                <a:solidFill>
                  <a:schemeClr val="tx1"/>
                </a:solidFill>
                <a:latin typeface="Trebuchet MS" panose="020B0603020202020204" pitchFamily="34" charset="0"/>
                <a:ea typeface="Meiryo UI" panose="020B0604030504040204" pitchFamily="50" charset="-128"/>
              </a:rPr>
              <a:t>その後の自走、社会実装・拡大普及が見込まれ、</a:t>
            </a:r>
            <a:endParaRPr kumimoji="1" lang="en-US" altLang="ja-JP" b="1" dirty="0">
              <a:solidFill>
                <a:schemeClr val="tx1"/>
              </a:solidFill>
              <a:latin typeface="Trebuchet MS" panose="020B0603020202020204" pitchFamily="34" charset="0"/>
              <a:ea typeface="Meiryo UI" panose="020B0604030504040204" pitchFamily="50" charset="-128"/>
            </a:endParaRPr>
          </a:p>
          <a:p>
            <a:pPr marL="800100" lvl="2" indent="-342900">
              <a:spcAft>
                <a:spcPts val="600"/>
              </a:spcAft>
              <a:buClr>
                <a:schemeClr val="tx2"/>
              </a:buClr>
              <a:buFont typeface="+mj-ea"/>
              <a:buAutoNum type="circleNumDbPlain"/>
            </a:pPr>
            <a:r>
              <a:rPr kumimoji="1" lang="ja-JP" altLang="en-US" b="1" dirty="0">
                <a:solidFill>
                  <a:schemeClr val="tx1"/>
                </a:solidFill>
                <a:latin typeface="Trebuchet MS" panose="020B0603020202020204" pitchFamily="34" charset="0"/>
                <a:ea typeface="Meiryo UI" panose="020B0604030504040204" pitchFamily="50" charset="-128"/>
              </a:rPr>
              <a:t>脱炭素に向けて費用対効果が高いもの</a:t>
            </a:r>
            <a:endParaRPr kumimoji="1" lang="en-US" altLang="ja-JP" b="1" dirty="0">
              <a:solidFill>
                <a:schemeClr val="tx1"/>
              </a:solidFill>
              <a:latin typeface="Trebuchet MS" panose="020B0603020202020204" pitchFamily="34" charset="0"/>
              <a:ea typeface="Meiryo UI" panose="020B0604030504040204" pitchFamily="50" charset="-128"/>
            </a:endParaRPr>
          </a:p>
          <a:p>
            <a:pPr marL="0" lvl="1">
              <a:spcAft>
                <a:spcPts val="600"/>
              </a:spcAft>
              <a:buClr>
                <a:schemeClr val="tx2"/>
              </a:buClr>
            </a:pPr>
            <a:r>
              <a:rPr kumimoji="1" lang="ja-JP" altLang="en-US" sz="1800" b="1" dirty="0">
                <a:solidFill>
                  <a:schemeClr val="tx1"/>
                </a:solidFill>
                <a:latin typeface="Trebuchet MS" panose="020B0603020202020204" pitchFamily="34" charset="0"/>
                <a:ea typeface="Meiryo UI" panose="020B0604030504040204" pitchFamily="50" charset="-128"/>
              </a:rPr>
              <a:t>　　</a:t>
            </a:r>
            <a:r>
              <a:rPr kumimoji="1" lang="ja-JP" altLang="en-US" sz="1800" dirty="0">
                <a:solidFill>
                  <a:schemeClr val="tx1"/>
                </a:solidFill>
                <a:latin typeface="Trebuchet MS" panose="020B0603020202020204" pitchFamily="34" charset="0"/>
                <a:ea typeface="Meiryo UI" panose="020B0604030504040204" pitchFamily="50" charset="-128"/>
              </a:rPr>
              <a:t>に対して</a:t>
            </a:r>
            <a:r>
              <a:rPr kumimoji="1" lang="ja-JP" altLang="en-US" sz="1800" b="1" dirty="0">
                <a:solidFill>
                  <a:schemeClr val="tx1"/>
                </a:solidFill>
                <a:latin typeface="Trebuchet MS" panose="020B0603020202020204" pitchFamily="34" charset="0"/>
                <a:ea typeface="Meiryo UI" panose="020B0604030504040204" pitchFamily="50" charset="-128"/>
              </a:rPr>
              <a:t>資金サポート</a:t>
            </a:r>
            <a:r>
              <a:rPr kumimoji="1" lang="ja-JP" altLang="en-US" sz="1800" dirty="0">
                <a:solidFill>
                  <a:schemeClr val="tx1"/>
                </a:solidFill>
                <a:latin typeface="Trebuchet MS" panose="020B0603020202020204" pitchFamily="34" charset="0"/>
                <a:ea typeface="Meiryo UI" panose="020B0604030504040204" pitchFamily="50" charset="-128"/>
              </a:rPr>
              <a:t>を行うものです。こちらも事務局までご相談ください！</a:t>
            </a:r>
            <a:endParaRPr kumimoji="1" lang="en-US" altLang="ja-JP" sz="1800" dirty="0">
              <a:solidFill>
                <a:schemeClr val="tx1"/>
              </a:solidFill>
              <a:latin typeface="Trebuchet MS" panose="020B0603020202020204" pitchFamily="34" charset="0"/>
              <a:ea typeface="Meiryo UI" panose="020B0604030504040204" pitchFamily="50" charset="-128"/>
            </a:endParaRPr>
          </a:p>
        </p:txBody>
      </p:sp>
      <p:cxnSp>
        <p:nvCxnSpPr>
          <p:cNvPr id="21" name="直線コネクタ 20">
            <a:extLst>
              <a:ext uri="{FF2B5EF4-FFF2-40B4-BE49-F238E27FC236}">
                <a16:creationId xmlns:a16="http://schemas.microsoft.com/office/drawing/2014/main" id="{003ECE4A-5A6A-FF6F-5BEA-D14B1BE969BE}"/>
              </a:ext>
            </a:extLst>
          </p:cNvPr>
          <p:cNvCxnSpPr>
            <a:cxnSpLocks/>
          </p:cNvCxnSpPr>
          <p:nvPr/>
        </p:nvCxnSpPr>
        <p:spPr>
          <a:xfrm>
            <a:off x="4244830" y="2747868"/>
            <a:ext cx="0" cy="1329767"/>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49572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FB9BF36-B391-B3CF-3762-F9E325A40C9F}"/>
              </a:ext>
            </a:extLst>
          </p:cNvPr>
          <p:cNvSpPr>
            <a:spLocks noGrp="1"/>
          </p:cNvSpPr>
          <p:nvPr>
            <p:ph type="title"/>
          </p:nvPr>
        </p:nvSpPr>
        <p:spPr/>
        <p:txBody>
          <a:bodyPr/>
          <a:lstStyle/>
          <a:p>
            <a:r>
              <a:rPr lang="ja-JP" altLang="en-US" dirty="0"/>
              <a:t>まずはこちらの動画を（高橋尚子さん）</a:t>
            </a:r>
            <a:endParaRPr kumimoji="1" lang="ja-JP" altLang="en-US" dirty="0"/>
          </a:p>
        </p:txBody>
      </p:sp>
      <p:pic>
        <p:nvPicPr>
          <p:cNvPr id="5" name="図 4">
            <a:extLst>
              <a:ext uri="{FF2B5EF4-FFF2-40B4-BE49-F238E27FC236}">
                <a16:creationId xmlns:a16="http://schemas.microsoft.com/office/drawing/2014/main" id="{66CE8D29-264E-22E1-3235-8D28FC0DBEAF}"/>
              </a:ext>
            </a:extLst>
          </p:cNvPr>
          <p:cNvPicPr>
            <a:picLocks noChangeAspect="1"/>
          </p:cNvPicPr>
          <p:nvPr/>
        </p:nvPicPr>
        <p:blipFill>
          <a:blip r:embed="rId2"/>
          <a:stretch>
            <a:fillRect/>
          </a:stretch>
        </p:blipFill>
        <p:spPr>
          <a:xfrm>
            <a:off x="592298" y="1103043"/>
            <a:ext cx="8663383" cy="4651914"/>
          </a:xfrm>
          <a:prstGeom prst="rect">
            <a:avLst/>
          </a:prstGeom>
        </p:spPr>
      </p:pic>
      <p:sp>
        <p:nvSpPr>
          <p:cNvPr id="11" name="テキスト ボックス 10">
            <a:extLst>
              <a:ext uri="{FF2B5EF4-FFF2-40B4-BE49-F238E27FC236}">
                <a16:creationId xmlns:a16="http://schemas.microsoft.com/office/drawing/2014/main" id="{55AE9054-9AA5-79E1-D3BD-E230099BB5A6}"/>
              </a:ext>
            </a:extLst>
          </p:cNvPr>
          <p:cNvSpPr txBox="1"/>
          <p:nvPr/>
        </p:nvSpPr>
        <p:spPr>
          <a:xfrm>
            <a:off x="650319" y="6066622"/>
            <a:ext cx="8605362" cy="646331"/>
          </a:xfrm>
          <a:prstGeom prst="rect">
            <a:avLst/>
          </a:prstGeom>
          <a:noFill/>
        </p:spPr>
        <p:txBody>
          <a:bodyPr wrap="square">
            <a:spAutoFit/>
          </a:bodyPr>
          <a:lstStyle/>
          <a:p>
            <a:r>
              <a:rPr lang="en-US" altLang="ja-JP" dirty="0">
                <a:hlinkClick r:id="rId3"/>
              </a:rPr>
              <a:t>2050 CARBON NEUTRAL</a:t>
            </a:r>
            <a:r>
              <a:rPr lang="ja-JP" altLang="en-US" dirty="0">
                <a:hlinkClick r:id="rId3"/>
              </a:rPr>
              <a:t>　～脱炭素につながる　新しい豊かな暮らしを創る国民運動～　フルバージョン </a:t>
            </a:r>
            <a:r>
              <a:rPr lang="en-US" altLang="ja-JP" dirty="0">
                <a:hlinkClick r:id="rId3"/>
              </a:rPr>
              <a:t>(youtube.com)</a:t>
            </a:r>
            <a:r>
              <a:rPr lang="ja-JP" altLang="en-US" dirty="0"/>
              <a:t>（</a:t>
            </a:r>
            <a:r>
              <a:rPr lang="en-US" altLang="ja-JP" dirty="0"/>
              <a:t>12</a:t>
            </a:r>
            <a:r>
              <a:rPr lang="ja-JP" altLang="en-US" dirty="0"/>
              <a:t>万回再生</a:t>
            </a:r>
            <a:r>
              <a:rPr lang="ja-JP" altLang="en-US" sz="1200" dirty="0"/>
              <a:t>（</a:t>
            </a:r>
            <a:r>
              <a:rPr lang="en-US" altLang="ja-JP" sz="1200" dirty="0"/>
              <a:t>2024</a:t>
            </a:r>
            <a:r>
              <a:rPr lang="ja-JP" altLang="en-US" sz="1200" dirty="0"/>
              <a:t>年２月</a:t>
            </a:r>
            <a:r>
              <a:rPr lang="en-US" altLang="ja-JP" sz="1200" dirty="0"/>
              <a:t>20</a:t>
            </a:r>
            <a:r>
              <a:rPr lang="ja-JP" altLang="en-US" sz="1200" dirty="0"/>
              <a:t>日時点）</a:t>
            </a:r>
            <a:r>
              <a:rPr lang="ja-JP" altLang="en-US" dirty="0"/>
              <a:t>）</a:t>
            </a:r>
          </a:p>
        </p:txBody>
      </p:sp>
    </p:spTree>
    <p:extLst>
      <p:ext uri="{BB962C8B-B14F-4D97-AF65-F5344CB8AC3E}">
        <p14:creationId xmlns:p14="http://schemas.microsoft.com/office/powerpoint/2010/main" val="20476074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57E7FCF-DBE4-24B5-3AA6-231F6E263701}"/>
              </a:ext>
            </a:extLst>
          </p:cNvPr>
          <p:cNvSpPr>
            <a:spLocks noGrp="1"/>
          </p:cNvSpPr>
          <p:nvPr>
            <p:ph type="title"/>
          </p:nvPr>
        </p:nvSpPr>
        <p:spPr/>
        <p:txBody>
          <a:bodyPr/>
          <a:lstStyle/>
          <a:p>
            <a:r>
              <a:rPr kumimoji="1" lang="en-US" altLang="ja-JP" sz="1800" dirty="0"/>
              <a:t>【</a:t>
            </a:r>
            <a:r>
              <a:rPr kumimoji="1" lang="ja-JP" altLang="en-US" sz="1800" dirty="0"/>
              <a:t>参考</a:t>
            </a:r>
            <a:r>
              <a:rPr kumimoji="1" lang="en-US" altLang="ja-JP" sz="1800" dirty="0"/>
              <a:t>】</a:t>
            </a:r>
            <a:r>
              <a:rPr kumimoji="1" lang="ja-JP" altLang="en-US" sz="1800" dirty="0"/>
              <a:t>　「デコ活」（脱炭素につながる新しい豊かな暮らしを創る国民運動）推進事業</a:t>
            </a:r>
          </a:p>
        </p:txBody>
      </p:sp>
      <p:pic>
        <p:nvPicPr>
          <p:cNvPr id="6" name="図 5">
            <a:extLst>
              <a:ext uri="{FF2B5EF4-FFF2-40B4-BE49-F238E27FC236}">
                <a16:creationId xmlns:a16="http://schemas.microsoft.com/office/drawing/2014/main" id="{C6E9235A-4033-790A-69E0-679F46C387CF}"/>
              </a:ext>
            </a:extLst>
          </p:cNvPr>
          <p:cNvPicPr>
            <a:picLocks noChangeAspect="1"/>
          </p:cNvPicPr>
          <p:nvPr/>
        </p:nvPicPr>
        <p:blipFill rotWithShape="1">
          <a:blip r:embed="rId2"/>
          <a:srcRect t="2449" b="1825"/>
          <a:stretch/>
        </p:blipFill>
        <p:spPr>
          <a:xfrm>
            <a:off x="599440" y="845735"/>
            <a:ext cx="8908375" cy="5996816"/>
          </a:xfrm>
          <a:prstGeom prst="rect">
            <a:avLst/>
          </a:prstGeom>
        </p:spPr>
      </p:pic>
    </p:spTree>
    <p:extLst>
      <p:ext uri="{BB962C8B-B14F-4D97-AF65-F5344CB8AC3E}">
        <p14:creationId xmlns:p14="http://schemas.microsoft.com/office/powerpoint/2010/main" val="34403270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3984CF-D277-5AD7-FF9E-95EA181A5C77}"/>
              </a:ext>
            </a:extLst>
          </p:cNvPr>
          <p:cNvSpPr>
            <a:spLocks noGrp="1"/>
          </p:cNvSpPr>
          <p:nvPr>
            <p:ph type="title"/>
          </p:nvPr>
        </p:nvSpPr>
        <p:spPr/>
        <p:txBody>
          <a:bodyPr/>
          <a:lstStyle/>
          <a:p>
            <a:r>
              <a:rPr lang="ja-JP" altLang="en-US" dirty="0"/>
              <a:t>最後に</a:t>
            </a:r>
            <a:endParaRPr kumimoji="1" lang="ja-JP" altLang="en-US" dirty="0"/>
          </a:p>
        </p:txBody>
      </p:sp>
      <p:sp>
        <p:nvSpPr>
          <p:cNvPr id="3" name="コンテンツ プレースホルダー 2">
            <a:extLst>
              <a:ext uri="{FF2B5EF4-FFF2-40B4-BE49-F238E27FC236}">
                <a16:creationId xmlns:a16="http://schemas.microsoft.com/office/drawing/2014/main" id="{6BC27116-E6E2-1A6B-91AB-66EAB732C7AD}"/>
              </a:ext>
            </a:extLst>
          </p:cNvPr>
          <p:cNvSpPr>
            <a:spLocks noGrp="1"/>
          </p:cNvSpPr>
          <p:nvPr>
            <p:ph sz="quarter" idx="12"/>
          </p:nvPr>
        </p:nvSpPr>
        <p:spPr>
          <a:xfrm>
            <a:off x="150024" y="1007810"/>
            <a:ext cx="9605952" cy="696496"/>
          </a:xfrm>
        </p:spPr>
        <p:txBody>
          <a:bodyPr/>
          <a:lstStyle/>
          <a:p>
            <a:r>
              <a:rPr lang="ja-JP" altLang="en-US" sz="2400" dirty="0"/>
              <a:t>１人１人ができる脱炭素アクションなど、</a:t>
            </a:r>
            <a:r>
              <a:rPr kumimoji="1" lang="ja-JP" altLang="en-US" sz="2400" dirty="0"/>
              <a:t>デコ活</a:t>
            </a:r>
            <a:r>
              <a:rPr kumimoji="1" lang="en-US" altLang="ja-JP" sz="2400" dirty="0"/>
              <a:t>HP</a:t>
            </a:r>
            <a:r>
              <a:rPr kumimoji="1" lang="ja-JP" altLang="en-US" sz="2400" dirty="0"/>
              <a:t>から是非ご覧ください！</a:t>
            </a:r>
          </a:p>
        </p:txBody>
      </p:sp>
      <p:pic>
        <p:nvPicPr>
          <p:cNvPr id="5" name="図 4">
            <a:extLst>
              <a:ext uri="{FF2B5EF4-FFF2-40B4-BE49-F238E27FC236}">
                <a16:creationId xmlns:a16="http://schemas.microsoft.com/office/drawing/2014/main" id="{F1413E45-EE8C-6AD5-8605-8CE9BD278E19}"/>
              </a:ext>
            </a:extLst>
          </p:cNvPr>
          <p:cNvPicPr>
            <a:picLocks noChangeAspect="1"/>
          </p:cNvPicPr>
          <p:nvPr/>
        </p:nvPicPr>
        <p:blipFill>
          <a:blip r:embed="rId2"/>
          <a:stretch>
            <a:fillRect/>
          </a:stretch>
        </p:blipFill>
        <p:spPr>
          <a:xfrm>
            <a:off x="3132011" y="1968791"/>
            <a:ext cx="3641979" cy="3676555"/>
          </a:xfrm>
          <a:prstGeom prst="rect">
            <a:avLst/>
          </a:prstGeom>
        </p:spPr>
      </p:pic>
      <p:sp>
        <p:nvSpPr>
          <p:cNvPr id="7" name="テキスト ボックス 6">
            <a:extLst>
              <a:ext uri="{FF2B5EF4-FFF2-40B4-BE49-F238E27FC236}">
                <a16:creationId xmlns:a16="http://schemas.microsoft.com/office/drawing/2014/main" id="{12596382-5B8D-A28C-386D-A81A5DF7D589}"/>
              </a:ext>
            </a:extLst>
          </p:cNvPr>
          <p:cNvSpPr txBox="1"/>
          <p:nvPr/>
        </p:nvSpPr>
        <p:spPr>
          <a:xfrm>
            <a:off x="963393" y="5953788"/>
            <a:ext cx="7979213" cy="646331"/>
          </a:xfrm>
          <a:prstGeom prst="rect">
            <a:avLst/>
          </a:prstGeom>
          <a:noFill/>
        </p:spPr>
        <p:txBody>
          <a:bodyPr wrap="square">
            <a:spAutoFit/>
          </a:bodyPr>
          <a:lstStyle/>
          <a:p>
            <a:r>
              <a:rPr lang="ja-JP" altLang="en-US" dirty="0">
                <a:hlinkClick r:id="rId3"/>
              </a:rPr>
              <a:t>デコ活（脱炭素につながる新しい豊かな暮らしを創る国民運動） </a:t>
            </a:r>
            <a:r>
              <a:rPr lang="en-US" altLang="ja-JP" dirty="0">
                <a:hlinkClick r:id="rId3"/>
              </a:rPr>
              <a:t>(env.go.jp)</a:t>
            </a:r>
            <a:endParaRPr lang="ja-JP" altLang="en-US" dirty="0"/>
          </a:p>
        </p:txBody>
      </p:sp>
    </p:spTree>
    <p:extLst>
      <p:ext uri="{BB962C8B-B14F-4D97-AF65-F5344CB8AC3E}">
        <p14:creationId xmlns:p14="http://schemas.microsoft.com/office/powerpoint/2010/main" val="30821172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正方形/長方形 2"/>
          <p:cNvSpPr/>
          <p:nvPr/>
        </p:nvSpPr>
        <p:spPr>
          <a:xfrm>
            <a:off x="4117210" y="2992841"/>
            <a:ext cx="2081360" cy="10707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371414">
              <a:defRPr/>
            </a:pPr>
            <a:endParaRPr lang="ja-JP" altLang="en-US" sz="1300" dirty="0">
              <a:solidFill>
                <a:prstClr val="black"/>
              </a:solidFill>
              <a:latin typeface="Meiryo UI" panose="020B0604030504040204" pitchFamily="50" charset="-128"/>
              <a:ea typeface="Meiryo UI" panose="020B0604030504040204" pitchFamily="50" charset="-128"/>
            </a:endParaRPr>
          </a:p>
        </p:txBody>
      </p:sp>
      <p:sp>
        <p:nvSpPr>
          <p:cNvPr id="5" name="テキスト ボックス 4"/>
          <p:cNvSpPr txBox="1"/>
          <p:nvPr/>
        </p:nvSpPr>
        <p:spPr>
          <a:xfrm>
            <a:off x="4017512" y="2955113"/>
            <a:ext cx="2181052" cy="296556"/>
          </a:xfrm>
          <a:prstGeom prst="rect">
            <a:avLst/>
          </a:prstGeom>
          <a:solidFill>
            <a:schemeClr val="bg1"/>
          </a:solidFill>
        </p:spPr>
        <p:txBody>
          <a:bodyPr wrap="square" rtlCol="0">
            <a:spAutoFit/>
          </a:bodyPr>
          <a:lstStyle/>
          <a:p>
            <a:pPr defTabSz="673892">
              <a:defRPr/>
            </a:pPr>
            <a:endParaRPr lang="ja-JP" altLang="en-US" sz="1327" dirty="0">
              <a:solidFill>
                <a:prstClr val="black"/>
              </a:solidFill>
              <a:latin typeface="Meiryo UI"/>
              <a:ea typeface="Meiryo UI"/>
            </a:endParaRPr>
          </a:p>
        </p:txBody>
      </p:sp>
      <p:pic>
        <p:nvPicPr>
          <p:cNvPr id="6" name="図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17228" y="1065865"/>
            <a:ext cx="3019753" cy="4691259"/>
          </a:xfrm>
          <a:prstGeom prst="rect">
            <a:avLst/>
          </a:prstGeom>
        </p:spPr>
      </p:pic>
      <p:sp>
        <p:nvSpPr>
          <p:cNvPr id="4" name="スライド番号プレースホルダー 2"/>
          <p:cNvSpPr txBox="1">
            <a:spLocks/>
          </p:cNvSpPr>
          <p:nvPr/>
        </p:nvSpPr>
        <p:spPr bwMode="auto">
          <a:xfrm>
            <a:off x="7683138" y="6082182"/>
            <a:ext cx="1838800" cy="29046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ja-JP"/>
            </a:defPPr>
            <a:lvl1pPr marL="0" algn="l" defTabSz="914400" rtl="0" eaLnBrk="1" latinLnBrk="0" hangingPunct="1">
              <a:spcBef>
                <a:spcPct val="20000"/>
              </a:spcBef>
              <a:buFont typeface="Arial" panose="020B0604020202020204" pitchFamily="34" charset="0"/>
              <a:buChar char="•"/>
              <a:defRPr kumimoji="1" sz="3454" kern="1200">
                <a:solidFill>
                  <a:schemeClr val="tx1"/>
                </a:solidFill>
                <a:latin typeface="Calibri" panose="020F0502020204030204" pitchFamily="34" charset="0"/>
                <a:ea typeface="ＭＳ Ｐゴシック" panose="020B0600070205080204" pitchFamily="50" charset="-128"/>
                <a:cs typeface="+mn-cs"/>
              </a:defRPr>
            </a:lvl1pPr>
            <a:lvl2pPr marL="801866" indent="-308410" algn="l" defTabSz="914400" rtl="0" eaLnBrk="1" latinLnBrk="0" hangingPunct="1">
              <a:spcBef>
                <a:spcPct val="20000"/>
              </a:spcBef>
              <a:buFont typeface="Arial" panose="020B0604020202020204" pitchFamily="34" charset="0"/>
              <a:buChar char="–"/>
              <a:defRPr kumimoji="1" sz="3022" kern="1200">
                <a:solidFill>
                  <a:schemeClr val="tx1"/>
                </a:solidFill>
                <a:latin typeface="Calibri" panose="020F0502020204030204" pitchFamily="34" charset="0"/>
                <a:ea typeface="ＭＳ Ｐゴシック" panose="020B0600070205080204" pitchFamily="50" charset="-128"/>
                <a:cs typeface="+mn-cs"/>
              </a:defRPr>
            </a:lvl2pPr>
            <a:lvl3pPr marL="1233640" indent="-246728" algn="l" defTabSz="914400" rtl="0" eaLnBrk="1" latinLnBrk="0" hangingPunct="1">
              <a:spcBef>
                <a:spcPct val="20000"/>
              </a:spcBef>
              <a:buFont typeface="Arial" panose="020B0604020202020204" pitchFamily="34" charset="0"/>
              <a:buChar char="•"/>
              <a:defRPr kumimoji="1" sz="2590" kern="1200">
                <a:solidFill>
                  <a:schemeClr val="tx1"/>
                </a:solidFill>
                <a:latin typeface="Calibri" panose="020F0502020204030204" pitchFamily="34" charset="0"/>
                <a:ea typeface="ＭＳ Ｐゴシック" panose="020B0600070205080204" pitchFamily="50" charset="-128"/>
                <a:cs typeface="+mn-cs"/>
              </a:defRPr>
            </a:lvl3pPr>
            <a:lvl4pPr marL="1727096" indent="-246728" algn="l" defTabSz="914400" rtl="0" eaLnBrk="1" latinLnBrk="0" hangingPunct="1">
              <a:spcBef>
                <a:spcPct val="20000"/>
              </a:spcBef>
              <a:buFont typeface="Arial" panose="020B0604020202020204" pitchFamily="34" charset="0"/>
              <a:buChar char="–"/>
              <a:defRPr kumimoji="1" sz="2159" kern="1200">
                <a:solidFill>
                  <a:schemeClr val="tx1"/>
                </a:solidFill>
                <a:latin typeface="Calibri" panose="020F0502020204030204" pitchFamily="34" charset="0"/>
                <a:ea typeface="ＭＳ Ｐゴシック" panose="020B0600070205080204" pitchFamily="50" charset="-128"/>
                <a:cs typeface="+mn-cs"/>
              </a:defRPr>
            </a:lvl4pPr>
            <a:lvl5pPr marL="2220552" indent="-246728" algn="l" defTabSz="914400" rtl="0" eaLnBrk="1" latinLnBrk="0" hangingPunct="1">
              <a:spcBef>
                <a:spcPct val="20000"/>
              </a:spcBef>
              <a:buFont typeface="Arial" panose="020B0604020202020204" pitchFamily="34" charset="0"/>
              <a:buChar char="»"/>
              <a:defRPr kumimoji="1" sz="2159" kern="1200">
                <a:solidFill>
                  <a:schemeClr val="tx1"/>
                </a:solidFill>
                <a:latin typeface="Calibri" panose="020F0502020204030204" pitchFamily="34" charset="0"/>
                <a:ea typeface="ＭＳ Ｐゴシック" panose="020B0600070205080204" pitchFamily="50" charset="-128"/>
                <a:cs typeface="+mn-cs"/>
              </a:defRPr>
            </a:lvl5pPr>
            <a:lvl6pPr marL="2714008" indent="-246728" algn="l" defTabSz="914400" rtl="0" eaLnBrk="0" fontAlgn="base" latinLnBrk="0" hangingPunct="0">
              <a:spcBef>
                <a:spcPct val="20000"/>
              </a:spcBef>
              <a:spcAft>
                <a:spcPct val="0"/>
              </a:spcAft>
              <a:buFont typeface="Arial" panose="020B0604020202020204" pitchFamily="34" charset="0"/>
              <a:buChar char="»"/>
              <a:defRPr kumimoji="1" sz="2159" kern="1200">
                <a:solidFill>
                  <a:schemeClr val="tx1"/>
                </a:solidFill>
                <a:latin typeface="Calibri" panose="020F0502020204030204" pitchFamily="34" charset="0"/>
                <a:ea typeface="ＭＳ Ｐゴシック" panose="020B0600070205080204" pitchFamily="50" charset="-128"/>
                <a:cs typeface="+mn-cs"/>
              </a:defRPr>
            </a:lvl6pPr>
            <a:lvl7pPr marL="3207464" indent="-246728" algn="l" defTabSz="914400" rtl="0" eaLnBrk="0" fontAlgn="base" latinLnBrk="0" hangingPunct="0">
              <a:spcBef>
                <a:spcPct val="20000"/>
              </a:spcBef>
              <a:spcAft>
                <a:spcPct val="0"/>
              </a:spcAft>
              <a:buFont typeface="Arial" panose="020B0604020202020204" pitchFamily="34" charset="0"/>
              <a:buChar char="»"/>
              <a:defRPr kumimoji="1" sz="2159" kern="1200">
                <a:solidFill>
                  <a:schemeClr val="tx1"/>
                </a:solidFill>
                <a:latin typeface="Calibri" panose="020F0502020204030204" pitchFamily="34" charset="0"/>
                <a:ea typeface="ＭＳ Ｐゴシック" panose="020B0600070205080204" pitchFamily="50" charset="-128"/>
                <a:cs typeface="+mn-cs"/>
              </a:defRPr>
            </a:lvl7pPr>
            <a:lvl8pPr marL="3700920" indent="-246728" algn="l" defTabSz="914400" rtl="0" eaLnBrk="0" fontAlgn="base" latinLnBrk="0" hangingPunct="0">
              <a:spcBef>
                <a:spcPct val="20000"/>
              </a:spcBef>
              <a:spcAft>
                <a:spcPct val="0"/>
              </a:spcAft>
              <a:buFont typeface="Arial" panose="020B0604020202020204" pitchFamily="34" charset="0"/>
              <a:buChar char="»"/>
              <a:defRPr kumimoji="1" sz="2159" kern="1200">
                <a:solidFill>
                  <a:schemeClr val="tx1"/>
                </a:solidFill>
                <a:latin typeface="Calibri" panose="020F0502020204030204" pitchFamily="34" charset="0"/>
                <a:ea typeface="ＭＳ Ｐゴシック" panose="020B0600070205080204" pitchFamily="50" charset="-128"/>
                <a:cs typeface="+mn-cs"/>
              </a:defRPr>
            </a:lvl8pPr>
            <a:lvl9pPr marL="4194376" indent="-246728" algn="l" defTabSz="914400" rtl="0" eaLnBrk="0" fontAlgn="base" latinLnBrk="0" hangingPunct="0">
              <a:spcBef>
                <a:spcPct val="20000"/>
              </a:spcBef>
              <a:spcAft>
                <a:spcPct val="0"/>
              </a:spcAft>
              <a:buFont typeface="Arial" panose="020B0604020202020204" pitchFamily="34" charset="0"/>
              <a:buChar char="»"/>
              <a:defRPr kumimoji="1" sz="2159" kern="1200">
                <a:solidFill>
                  <a:schemeClr val="tx1"/>
                </a:solidFill>
                <a:latin typeface="Calibri" panose="020F0502020204030204" pitchFamily="34" charset="0"/>
                <a:ea typeface="ＭＳ Ｐゴシック" panose="020B0600070205080204" pitchFamily="50" charset="-128"/>
                <a:cs typeface="+mn-cs"/>
              </a:defRPr>
            </a:lvl9pPr>
          </a:lstStyle>
          <a:p>
            <a:pPr algn="r" defTabSz="727331" fontAlgn="base">
              <a:spcBef>
                <a:spcPct val="0"/>
              </a:spcBef>
              <a:spcAft>
                <a:spcPct val="0"/>
              </a:spcAft>
              <a:buNone/>
              <a:defRPr/>
            </a:pPr>
            <a:fld id="{8BBFDB9A-B50F-4812-8EE3-FBDE4727C68D}" type="slidenum">
              <a:rPr lang="ja-JP" altLang="en-US" sz="1908" b="1">
                <a:solidFill>
                  <a:prstClr val="black"/>
                </a:solidFill>
              </a:rPr>
              <a:pPr algn="r" defTabSz="727331" fontAlgn="base">
                <a:spcBef>
                  <a:spcPct val="0"/>
                </a:spcBef>
                <a:spcAft>
                  <a:spcPct val="0"/>
                </a:spcAft>
                <a:buNone/>
                <a:defRPr/>
              </a:pPr>
              <a:t>21</a:t>
            </a:fld>
            <a:endParaRPr lang="ja-JP" altLang="en-US" sz="1908" b="1" dirty="0">
              <a:solidFill>
                <a:prstClr val="black"/>
              </a:solidFill>
            </a:endParaRPr>
          </a:p>
        </p:txBody>
      </p:sp>
      <p:sp>
        <p:nvSpPr>
          <p:cNvPr id="9" name="テキスト ボックス 8"/>
          <p:cNvSpPr txBox="1"/>
          <p:nvPr/>
        </p:nvSpPr>
        <p:spPr>
          <a:xfrm>
            <a:off x="4400730" y="1737393"/>
            <a:ext cx="1603324" cy="455381"/>
          </a:xfrm>
          <a:prstGeom prst="rect">
            <a:avLst/>
          </a:prstGeom>
          <a:solidFill>
            <a:srgbClr val="009C89"/>
          </a:solidFill>
        </p:spPr>
        <p:txBody>
          <a:bodyPr vert="horz" wrap="none" rtlCol="0">
            <a:spAutoFit/>
          </a:bodyPr>
          <a:lstStyle/>
          <a:p>
            <a:pPr algn="ctr" defTabSz="673892">
              <a:defRPr/>
            </a:pPr>
            <a:r>
              <a:rPr lang="ja-JP" altLang="en-US" sz="2359" b="1" dirty="0">
                <a:solidFill>
                  <a:prstClr val="white"/>
                </a:solidFill>
                <a:latin typeface="Meiryo UI"/>
                <a:ea typeface="Meiryo UI"/>
              </a:rPr>
              <a:t>お問合せ先</a:t>
            </a:r>
            <a:endParaRPr lang="en-US" altLang="ja-JP" sz="2359" b="1" dirty="0">
              <a:solidFill>
                <a:prstClr val="white"/>
              </a:solidFill>
              <a:latin typeface="Meiryo UI"/>
              <a:ea typeface="Meiryo UI"/>
            </a:endParaRPr>
          </a:p>
        </p:txBody>
      </p:sp>
      <p:grpSp>
        <p:nvGrpSpPr>
          <p:cNvPr id="2" name="グループ化 1"/>
          <p:cNvGrpSpPr/>
          <p:nvPr/>
        </p:nvGrpSpPr>
        <p:grpSpPr>
          <a:xfrm>
            <a:off x="4366504" y="2224788"/>
            <a:ext cx="4392200" cy="2055569"/>
            <a:chOff x="4683420" y="2010122"/>
            <a:chExt cx="5646657" cy="2788857"/>
          </a:xfrm>
        </p:grpSpPr>
        <p:sp>
          <p:nvSpPr>
            <p:cNvPr id="8" name="テキスト ボックス 7"/>
            <p:cNvSpPr txBox="1"/>
            <p:nvPr/>
          </p:nvSpPr>
          <p:spPr>
            <a:xfrm>
              <a:off x="4683420" y="2010122"/>
              <a:ext cx="5629503" cy="1461759"/>
            </a:xfrm>
            <a:prstGeom prst="rect">
              <a:avLst/>
            </a:prstGeom>
            <a:noFill/>
          </p:spPr>
          <p:txBody>
            <a:bodyPr wrap="square" rtlCol="0">
              <a:spAutoFit/>
            </a:bodyPr>
            <a:lstStyle/>
            <a:p>
              <a:pPr defTabSz="673892">
                <a:defRPr/>
              </a:pPr>
              <a:r>
                <a:rPr lang="ja-JP" altLang="en-US" sz="2273" b="1" dirty="0">
                  <a:solidFill>
                    <a:prstClr val="black"/>
                  </a:solidFill>
                  <a:latin typeface="Meiryo UI"/>
                  <a:ea typeface="Meiryo UI"/>
                </a:rPr>
                <a:t>環境省</a:t>
              </a:r>
              <a:endParaRPr lang="en-US" altLang="ja-JP" sz="2273" b="1" dirty="0">
                <a:solidFill>
                  <a:prstClr val="black"/>
                </a:solidFill>
                <a:latin typeface="Meiryo UI"/>
                <a:ea typeface="Meiryo UI"/>
              </a:endParaRPr>
            </a:p>
            <a:p>
              <a:pPr defTabSz="673892">
                <a:defRPr/>
              </a:pPr>
              <a:r>
                <a:rPr lang="ja-JP" altLang="en-US" sz="2064" b="1" dirty="0">
                  <a:solidFill>
                    <a:prstClr val="black"/>
                  </a:solidFill>
                  <a:latin typeface="Meiryo UI"/>
                  <a:ea typeface="Meiryo UI"/>
                </a:rPr>
                <a:t>近畿地方環境事務所</a:t>
              </a:r>
              <a:endParaRPr lang="en-US" altLang="ja-JP" sz="2064" b="1" dirty="0">
                <a:solidFill>
                  <a:prstClr val="black"/>
                </a:solidFill>
                <a:latin typeface="Meiryo UI"/>
                <a:ea typeface="Meiryo UI"/>
              </a:endParaRPr>
            </a:p>
            <a:p>
              <a:pPr defTabSz="673892">
                <a:defRPr/>
              </a:pPr>
              <a:r>
                <a:rPr lang="ja-JP" altLang="en-US" sz="2064" b="1" dirty="0">
                  <a:solidFill>
                    <a:prstClr val="black"/>
                  </a:solidFill>
                  <a:latin typeface="Meiryo UI"/>
                  <a:ea typeface="Meiryo UI"/>
                </a:rPr>
                <a:t>地域循環共生圏・脱炭素推進グループ</a:t>
              </a:r>
              <a:endParaRPr lang="en-US" altLang="ja-JP" sz="2064" b="1" dirty="0">
                <a:solidFill>
                  <a:prstClr val="black"/>
                </a:solidFill>
                <a:latin typeface="Meiryo UI"/>
                <a:ea typeface="Meiryo UI"/>
              </a:endParaRPr>
            </a:p>
          </p:txBody>
        </p:sp>
        <p:sp>
          <p:nvSpPr>
            <p:cNvPr id="10" name="テキスト ボックス 9"/>
            <p:cNvSpPr txBox="1"/>
            <p:nvPr/>
          </p:nvSpPr>
          <p:spPr>
            <a:xfrm>
              <a:off x="5949845" y="3380805"/>
              <a:ext cx="4380232" cy="1418174"/>
            </a:xfrm>
            <a:prstGeom prst="rect">
              <a:avLst/>
            </a:prstGeom>
            <a:noFill/>
          </p:spPr>
          <p:txBody>
            <a:bodyPr wrap="square" rtlCol="0">
              <a:spAutoFit/>
            </a:bodyPr>
            <a:lstStyle/>
            <a:p>
              <a:pPr defTabSz="673892">
                <a:defRPr/>
              </a:pPr>
              <a:r>
                <a:rPr lang="ja-JP" altLang="en-US" sz="2064" b="1" dirty="0">
                  <a:solidFill>
                    <a:prstClr val="black"/>
                  </a:solidFill>
                  <a:latin typeface="Meiryo UI"/>
                  <a:ea typeface="Meiryo UI"/>
                </a:rPr>
                <a:t>：</a:t>
              </a:r>
              <a:r>
                <a:rPr lang="en-US" altLang="ja-JP" sz="2064" b="1" dirty="0">
                  <a:solidFill>
                    <a:prstClr val="black"/>
                  </a:solidFill>
                  <a:latin typeface="Meiryo UI"/>
                  <a:ea typeface="Meiryo UI"/>
                </a:rPr>
                <a:t>CN-Kinki@env.go.jp</a:t>
              </a:r>
              <a:endParaRPr lang="ja-JP" altLang="ja-JP" sz="2064" b="1" dirty="0">
                <a:solidFill>
                  <a:prstClr val="black"/>
                </a:solidFill>
                <a:latin typeface="Meiryo UI"/>
                <a:ea typeface="Meiryo UI"/>
              </a:endParaRPr>
            </a:p>
            <a:p>
              <a:pPr defTabSz="673892">
                <a:defRPr/>
              </a:pPr>
              <a:r>
                <a:rPr lang="ja-JP" altLang="en-US" sz="2064" b="1" dirty="0">
                  <a:solidFill>
                    <a:prstClr val="black"/>
                  </a:solidFill>
                  <a:latin typeface="Meiryo UI"/>
                  <a:ea typeface="Meiryo UI"/>
                </a:rPr>
                <a:t>：</a:t>
              </a:r>
              <a:r>
                <a:rPr lang="en-US" altLang="ja-JP" sz="2064" b="1" dirty="0">
                  <a:solidFill>
                    <a:prstClr val="black"/>
                  </a:solidFill>
                  <a:latin typeface="Meiryo UI"/>
                  <a:ea typeface="Meiryo UI"/>
                </a:rPr>
                <a:t>06-6881-6511</a:t>
              </a:r>
            </a:p>
            <a:p>
              <a:pPr defTabSz="673892">
                <a:defRPr/>
              </a:pPr>
              <a:r>
                <a:rPr lang="ja-JP" altLang="en-US" sz="2064" b="1" dirty="0">
                  <a:solidFill>
                    <a:prstClr val="black"/>
                  </a:solidFill>
                  <a:latin typeface="Meiryo UI"/>
                  <a:ea typeface="Meiryo UI"/>
                </a:rPr>
                <a:t>：</a:t>
              </a:r>
              <a:r>
                <a:rPr lang="en-US" altLang="ja-JP" sz="2064" b="1" dirty="0">
                  <a:solidFill>
                    <a:prstClr val="black"/>
                  </a:solidFill>
                  <a:latin typeface="Meiryo UI"/>
                  <a:ea typeface="Meiryo UI"/>
                </a:rPr>
                <a:t>JR</a:t>
              </a:r>
              <a:r>
                <a:rPr lang="ja-JP" altLang="en-US" sz="2064" b="1" dirty="0">
                  <a:solidFill>
                    <a:prstClr val="black"/>
                  </a:solidFill>
                  <a:latin typeface="Meiryo UI"/>
                  <a:ea typeface="Meiryo UI"/>
                </a:rPr>
                <a:t>桜ノ宮駅</a:t>
              </a:r>
              <a:endParaRPr lang="en-US" altLang="ja-JP" sz="2064" b="1" dirty="0">
                <a:solidFill>
                  <a:prstClr val="black"/>
                </a:solidFill>
                <a:latin typeface="Meiryo UI"/>
                <a:ea typeface="Meiryo UI"/>
              </a:endParaRPr>
            </a:p>
          </p:txBody>
        </p:sp>
        <p:sp>
          <p:nvSpPr>
            <p:cNvPr id="11" name="テキスト ボックス 10"/>
            <p:cNvSpPr txBox="1"/>
            <p:nvPr/>
          </p:nvSpPr>
          <p:spPr>
            <a:xfrm>
              <a:off x="4683420" y="3380804"/>
              <a:ext cx="4703976" cy="1418173"/>
            </a:xfrm>
            <a:prstGeom prst="rect">
              <a:avLst/>
            </a:prstGeom>
            <a:noFill/>
          </p:spPr>
          <p:txBody>
            <a:bodyPr wrap="square" rtlCol="0">
              <a:spAutoFit/>
            </a:bodyPr>
            <a:lstStyle/>
            <a:p>
              <a:pPr defTabSz="673892">
                <a:defRPr/>
              </a:pPr>
              <a:r>
                <a:rPr lang="ja-JP" altLang="en-US" sz="2064" b="1" dirty="0">
                  <a:solidFill>
                    <a:prstClr val="black"/>
                  </a:solidFill>
                  <a:latin typeface="Meiryo UI"/>
                  <a:ea typeface="Meiryo UI"/>
                </a:rPr>
                <a:t>メール</a:t>
              </a:r>
              <a:endParaRPr lang="en-US" altLang="ja-JP" sz="2064" b="1" dirty="0">
                <a:solidFill>
                  <a:prstClr val="black"/>
                </a:solidFill>
                <a:latin typeface="Meiryo UI"/>
                <a:ea typeface="Meiryo UI"/>
              </a:endParaRPr>
            </a:p>
            <a:p>
              <a:pPr defTabSz="673892">
                <a:defRPr/>
              </a:pPr>
              <a:r>
                <a:rPr lang="en-US" altLang="ja-JP" sz="2064" b="1" dirty="0">
                  <a:solidFill>
                    <a:prstClr val="black"/>
                  </a:solidFill>
                  <a:latin typeface="Meiryo UI"/>
                  <a:ea typeface="Meiryo UI"/>
                </a:rPr>
                <a:t>TEL</a:t>
              </a:r>
            </a:p>
            <a:p>
              <a:pPr defTabSz="673892">
                <a:defRPr/>
              </a:pPr>
              <a:r>
                <a:rPr lang="ja-JP" altLang="en-US" sz="2064" b="1" dirty="0">
                  <a:solidFill>
                    <a:prstClr val="black"/>
                  </a:solidFill>
                  <a:latin typeface="Meiryo UI"/>
                  <a:ea typeface="Meiryo UI"/>
                </a:rPr>
                <a:t>最寄り駅</a:t>
              </a:r>
              <a:endParaRPr lang="en-US" altLang="ja-JP" sz="2064" b="1" dirty="0">
                <a:solidFill>
                  <a:prstClr val="black"/>
                </a:solidFill>
                <a:latin typeface="Meiryo UI"/>
                <a:ea typeface="Meiryo UI"/>
              </a:endParaRPr>
            </a:p>
          </p:txBody>
        </p:sp>
      </p:grpSp>
      <p:sp>
        <p:nvSpPr>
          <p:cNvPr id="12" name="角丸四角形吹き出し 11"/>
          <p:cNvSpPr/>
          <p:nvPr/>
        </p:nvSpPr>
        <p:spPr>
          <a:xfrm>
            <a:off x="5229973" y="4631378"/>
            <a:ext cx="3285843" cy="937972"/>
          </a:xfrm>
          <a:prstGeom prst="wedgeRoundRectCallout">
            <a:avLst>
              <a:gd name="adj1" fmla="val 8525"/>
              <a:gd name="adj2" fmla="val -112129"/>
              <a:gd name="adj3" fmla="val 16667"/>
            </a:avLst>
          </a:prstGeom>
          <a:solidFill>
            <a:srgbClr val="009C8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73892">
              <a:defRPr/>
            </a:pPr>
            <a:r>
              <a:rPr lang="ja-JP" altLang="en-US" sz="1769" b="1" dirty="0">
                <a:solidFill>
                  <a:prstClr val="white"/>
                </a:solidFill>
                <a:latin typeface="Meiryo UI" panose="020B0604030504040204" pitchFamily="50" charset="-128"/>
                <a:ea typeface="Meiryo UI" panose="020B0604030504040204" pitchFamily="50" charset="-128"/>
              </a:rPr>
              <a:t>お気軽にお問合せください！</a:t>
            </a:r>
            <a:endParaRPr lang="en-US" altLang="ja-JP" sz="1769" b="1" dirty="0">
              <a:solidFill>
                <a:prstClr val="white"/>
              </a:solidFill>
              <a:latin typeface="Meiryo UI" panose="020B0604030504040204" pitchFamily="50" charset="-128"/>
              <a:ea typeface="Meiryo UI" panose="020B0604030504040204" pitchFamily="50" charset="-128"/>
            </a:endParaRPr>
          </a:p>
          <a:p>
            <a:pPr algn="ctr" defTabSz="673892">
              <a:defRPr/>
            </a:pPr>
            <a:r>
              <a:rPr lang="ja-JP" altLang="en-US" sz="1769" b="1" dirty="0">
                <a:solidFill>
                  <a:prstClr val="white"/>
                </a:solidFill>
                <a:latin typeface="Meiryo UI" panose="020B0604030504040204" pitchFamily="50" charset="-128"/>
                <a:ea typeface="Meiryo UI" panose="020B0604030504040204" pitchFamily="50" charset="-128"/>
              </a:rPr>
              <a:t>テレワークなどが多いため、</a:t>
            </a:r>
            <a:endParaRPr lang="en-US" altLang="ja-JP" sz="1769" b="1" dirty="0">
              <a:solidFill>
                <a:prstClr val="white"/>
              </a:solidFill>
              <a:latin typeface="Meiryo UI" panose="020B0604030504040204" pitchFamily="50" charset="-128"/>
              <a:ea typeface="Meiryo UI" panose="020B0604030504040204" pitchFamily="50" charset="-128"/>
            </a:endParaRPr>
          </a:p>
          <a:p>
            <a:pPr algn="ctr" defTabSz="673892">
              <a:defRPr/>
            </a:pPr>
            <a:r>
              <a:rPr lang="ja-JP" altLang="en-US" sz="1769" b="1" dirty="0">
                <a:solidFill>
                  <a:prstClr val="white"/>
                </a:solidFill>
                <a:latin typeface="Meiryo UI" panose="020B0604030504040204" pitchFamily="50" charset="-128"/>
                <a:ea typeface="Meiryo UI" panose="020B0604030504040204" pitchFamily="50" charset="-128"/>
              </a:rPr>
              <a:t>できればメールが助かります。</a:t>
            </a:r>
          </a:p>
        </p:txBody>
      </p:sp>
    </p:spTree>
    <p:extLst>
      <p:ext uri="{BB962C8B-B14F-4D97-AF65-F5344CB8AC3E}">
        <p14:creationId xmlns:p14="http://schemas.microsoft.com/office/powerpoint/2010/main" val="480886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F79BF2-1E84-47CA-90AB-4D68361B14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92" imgH="591" progId="TCLayout.ActiveDocument.1">
                  <p:embed/>
                </p:oleObj>
              </mc:Choice>
              <mc:Fallback>
                <p:oleObj name="think-cell スライド" r:id="rId3" imgW="592" imgH="591" progId="TCLayout.ActiveDocument.1">
                  <p:embed/>
                  <p:pic>
                    <p:nvPicPr>
                      <p:cNvPr id="3" name="Object 2" hidden="1">
                        <a:extLst>
                          <a:ext uri="{FF2B5EF4-FFF2-40B4-BE49-F238E27FC236}">
                            <a16:creationId xmlns:a16="http://schemas.microsoft.com/office/drawing/2014/main" id="{76F79BF2-1E84-47CA-90AB-4D68361B14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181069" y="257881"/>
            <a:ext cx="9297676" cy="587854"/>
          </a:xfrm>
        </p:spPr>
        <p:txBody>
          <a:bodyPr vert="horz"/>
          <a:lstStyle/>
          <a:p>
            <a:r>
              <a:rPr lang="ja-JP" altLang="en-US" sz="2400" dirty="0"/>
              <a:t>デコ活の背景（</a:t>
            </a:r>
            <a:r>
              <a:rPr lang="en-US" altLang="ja-JP" sz="2400" dirty="0"/>
              <a:t>1/2</a:t>
            </a:r>
            <a:r>
              <a:rPr lang="ja-JP" altLang="en-US" sz="2400" dirty="0"/>
              <a:t>）</a:t>
            </a:r>
          </a:p>
        </p:txBody>
      </p:sp>
      <p:sp>
        <p:nvSpPr>
          <p:cNvPr id="9" name="正方形/長方形 9">
            <a:extLst>
              <a:ext uri="{FF2B5EF4-FFF2-40B4-BE49-F238E27FC236}">
                <a16:creationId xmlns:a16="http://schemas.microsoft.com/office/drawing/2014/main" id="{E5E99632-6879-4F6D-9ED4-68DF0381A0B1}"/>
              </a:ext>
            </a:extLst>
          </p:cNvPr>
          <p:cNvSpPr/>
          <p:nvPr/>
        </p:nvSpPr>
        <p:spPr>
          <a:xfrm>
            <a:off x="412507" y="952912"/>
            <a:ext cx="9080986" cy="782432"/>
          </a:xfrm>
          <a:prstGeom prst="rect">
            <a:avLst/>
          </a:prstGeom>
          <a:noFill/>
          <a:ln w="28575">
            <a:solidFill>
              <a:srgbClr val="00584E"/>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265120" indent="-176217"/>
            <a:r>
              <a:rPr lang="ja-JP" altLang="en-US" sz="2000" dirty="0">
                <a:solidFill>
                  <a:prstClr val="black"/>
                </a:solidFill>
                <a:latin typeface="Meiryo UI"/>
                <a:ea typeface="Meiryo UI"/>
              </a:rPr>
              <a:t>○脱炭素の実現に向けては、</a:t>
            </a:r>
            <a:r>
              <a:rPr lang="en-US" altLang="ja-JP" sz="2000" dirty="0">
                <a:solidFill>
                  <a:prstClr val="black"/>
                </a:solidFill>
                <a:latin typeface="Meiryo UI"/>
                <a:ea typeface="Meiryo UI"/>
              </a:rPr>
              <a:t>2030</a:t>
            </a:r>
            <a:r>
              <a:rPr lang="ja-JP" altLang="en-US" sz="2000" dirty="0">
                <a:solidFill>
                  <a:prstClr val="black"/>
                </a:solidFill>
                <a:latin typeface="Meiryo UI"/>
                <a:ea typeface="Meiryo UI"/>
              </a:rPr>
              <a:t>年家庭</a:t>
            </a:r>
            <a:r>
              <a:rPr lang="en-US" altLang="ja-JP" sz="2000" dirty="0">
                <a:solidFill>
                  <a:prstClr val="black"/>
                </a:solidFill>
                <a:latin typeface="Meiryo UI"/>
                <a:ea typeface="Meiryo UI"/>
              </a:rPr>
              <a:t>66</a:t>
            </a:r>
            <a:r>
              <a:rPr lang="ja-JP" altLang="en-US" sz="2000" dirty="0">
                <a:solidFill>
                  <a:prstClr val="black"/>
                </a:solidFill>
                <a:latin typeface="Meiryo UI"/>
                <a:ea typeface="Meiryo UI"/>
              </a:rPr>
              <a:t>％、運輸</a:t>
            </a:r>
            <a:r>
              <a:rPr lang="en-US" altLang="ja-JP" sz="2000" dirty="0">
                <a:solidFill>
                  <a:prstClr val="black"/>
                </a:solidFill>
                <a:latin typeface="Meiryo UI"/>
                <a:ea typeface="Meiryo UI"/>
              </a:rPr>
              <a:t>35</a:t>
            </a:r>
            <a:r>
              <a:rPr lang="ja-JP" altLang="en-US" sz="2000" dirty="0">
                <a:solidFill>
                  <a:prstClr val="black"/>
                </a:solidFill>
                <a:latin typeface="Meiryo UI"/>
                <a:ea typeface="Meiryo UI"/>
              </a:rPr>
              <a:t>％、非エネ</a:t>
            </a:r>
            <a:r>
              <a:rPr lang="en-US" altLang="ja-JP" sz="2000" dirty="0">
                <a:solidFill>
                  <a:prstClr val="black"/>
                </a:solidFill>
                <a:latin typeface="Meiryo UI"/>
                <a:ea typeface="Meiryo UI"/>
              </a:rPr>
              <a:t>14</a:t>
            </a:r>
            <a:r>
              <a:rPr lang="ja-JP" altLang="en-US" sz="2000" dirty="0">
                <a:solidFill>
                  <a:prstClr val="black"/>
                </a:solidFill>
                <a:latin typeface="Meiryo UI"/>
                <a:ea typeface="Meiryo UI"/>
              </a:rPr>
              <a:t>％、業務</a:t>
            </a:r>
            <a:r>
              <a:rPr lang="en-US" altLang="ja-JP" sz="2000" dirty="0">
                <a:solidFill>
                  <a:prstClr val="black"/>
                </a:solidFill>
                <a:latin typeface="Meiryo UI"/>
                <a:ea typeface="Meiryo UI"/>
              </a:rPr>
              <a:t>51</a:t>
            </a:r>
            <a:r>
              <a:rPr lang="ja-JP" altLang="en-US" sz="2000" dirty="0">
                <a:solidFill>
                  <a:prstClr val="black"/>
                </a:solidFill>
                <a:latin typeface="Meiryo UI"/>
                <a:ea typeface="Meiryo UI"/>
              </a:rPr>
              <a:t>％削減など、暮らし、ライフスタイルの分野でも</a:t>
            </a:r>
            <a:r>
              <a:rPr lang="ja-JP" altLang="en-US" sz="2000" dirty="0">
                <a:solidFill>
                  <a:srgbClr val="FF0000"/>
                </a:solidFill>
                <a:latin typeface="Meiryo UI"/>
                <a:ea typeface="Meiryo UI"/>
              </a:rPr>
              <a:t>大幅な削減</a:t>
            </a:r>
            <a:r>
              <a:rPr lang="ja-JP" altLang="en-US" sz="2000" dirty="0">
                <a:solidFill>
                  <a:prstClr val="black"/>
                </a:solidFill>
                <a:latin typeface="Meiryo UI"/>
                <a:ea typeface="Meiryo UI"/>
              </a:rPr>
              <a:t>が求められます。</a:t>
            </a:r>
          </a:p>
        </p:txBody>
      </p:sp>
      <p:pic>
        <p:nvPicPr>
          <p:cNvPr id="4" name="Picture 3">
            <a:extLst>
              <a:ext uri="{FF2B5EF4-FFF2-40B4-BE49-F238E27FC236}">
                <a16:creationId xmlns:a16="http://schemas.microsoft.com/office/drawing/2014/main" id="{B18EC99A-917E-40D2-98D6-42B223CE933F}"/>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915157" y="2523876"/>
            <a:ext cx="8075691" cy="4092558"/>
          </a:xfrm>
          <a:prstGeom prst="rect">
            <a:avLst/>
          </a:prstGeom>
        </p:spPr>
      </p:pic>
      <p:sp>
        <p:nvSpPr>
          <p:cNvPr id="7" name="正方形/長方形 34">
            <a:extLst>
              <a:ext uri="{FF2B5EF4-FFF2-40B4-BE49-F238E27FC236}">
                <a16:creationId xmlns:a16="http://schemas.microsoft.com/office/drawing/2014/main" id="{B1E7C48A-08C6-4FD8-AE4A-24680936CA0B}"/>
              </a:ext>
            </a:extLst>
          </p:cNvPr>
          <p:cNvSpPr/>
          <p:nvPr/>
        </p:nvSpPr>
        <p:spPr>
          <a:xfrm>
            <a:off x="1906448" y="2081923"/>
            <a:ext cx="6093106" cy="364834"/>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lstStyle/>
          <a:p>
            <a:pPr algn="ctr"/>
            <a:r>
              <a:rPr lang="ja-JP" altLang="en-US" sz="1600">
                <a:solidFill>
                  <a:schemeClr val="tx1"/>
                </a:solidFill>
              </a:rPr>
              <a:t>地球温暖化対策計画（令和３年）の概要</a:t>
            </a:r>
          </a:p>
        </p:txBody>
      </p:sp>
      <p:sp>
        <p:nvSpPr>
          <p:cNvPr id="11" name="Rectangle: Rounded Corners 10">
            <a:extLst>
              <a:ext uri="{FF2B5EF4-FFF2-40B4-BE49-F238E27FC236}">
                <a16:creationId xmlns:a16="http://schemas.microsoft.com/office/drawing/2014/main" id="{ED6AFBB8-5DC0-4465-98A0-B830E214C73A}"/>
              </a:ext>
            </a:extLst>
          </p:cNvPr>
          <p:cNvSpPr/>
          <p:nvPr/>
        </p:nvSpPr>
        <p:spPr>
          <a:xfrm>
            <a:off x="1818310" y="3883651"/>
            <a:ext cx="5816378" cy="264405"/>
          </a:xfrm>
          <a:prstGeom prst="roundRect">
            <a:avLst/>
          </a:prstGeom>
          <a:noFill/>
          <a:ln w="25400">
            <a:solidFill>
              <a:srgbClr val="FF0000"/>
            </a:solid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endParaRPr>
          </a:p>
        </p:txBody>
      </p:sp>
      <p:sp>
        <p:nvSpPr>
          <p:cNvPr id="12" name="Rectangle: Rounded Corners 11">
            <a:extLst>
              <a:ext uri="{FF2B5EF4-FFF2-40B4-BE49-F238E27FC236}">
                <a16:creationId xmlns:a16="http://schemas.microsoft.com/office/drawing/2014/main" id="{E1403FC3-F666-4124-89AA-0EEF58A8263C}"/>
              </a:ext>
            </a:extLst>
          </p:cNvPr>
          <p:cNvSpPr/>
          <p:nvPr/>
        </p:nvSpPr>
        <p:spPr>
          <a:xfrm>
            <a:off x="1818310" y="4187510"/>
            <a:ext cx="5816378" cy="264405"/>
          </a:xfrm>
          <a:prstGeom prst="roundRect">
            <a:avLst/>
          </a:prstGeom>
          <a:noFill/>
          <a:ln w="25400">
            <a:solidFill>
              <a:srgbClr val="FF0000"/>
            </a:solid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endParaRPr>
          </a:p>
        </p:txBody>
      </p:sp>
      <p:sp>
        <p:nvSpPr>
          <p:cNvPr id="13" name="Rectangle: Rounded Corners 12">
            <a:extLst>
              <a:ext uri="{FF2B5EF4-FFF2-40B4-BE49-F238E27FC236}">
                <a16:creationId xmlns:a16="http://schemas.microsoft.com/office/drawing/2014/main" id="{7191203C-E9D9-453E-A003-40D35526D944}"/>
              </a:ext>
            </a:extLst>
          </p:cNvPr>
          <p:cNvSpPr/>
          <p:nvPr/>
        </p:nvSpPr>
        <p:spPr>
          <a:xfrm>
            <a:off x="1818310" y="4491370"/>
            <a:ext cx="5816378" cy="264405"/>
          </a:xfrm>
          <a:prstGeom prst="roundRect">
            <a:avLst/>
          </a:prstGeom>
          <a:noFill/>
          <a:ln w="25400">
            <a:solidFill>
              <a:srgbClr val="FF0000"/>
            </a:solid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endParaRPr>
          </a:p>
        </p:txBody>
      </p:sp>
      <p:sp>
        <p:nvSpPr>
          <p:cNvPr id="14" name="ee4pFootnotes">
            <a:extLst>
              <a:ext uri="{FF2B5EF4-FFF2-40B4-BE49-F238E27FC236}">
                <a16:creationId xmlns:a16="http://schemas.microsoft.com/office/drawing/2014/main" id="{48892C07-F94E-42CF-8C95-98B516A93C3C}"/>
              </a:ext>
            </a:extLst>
          </p:cNvPr>
          <p:cNvSpPr>
            <a:spLocks noChangeArrowheads="1"/>
          </p:cNvSpPr>
          <p:nvPr/>
        </p:nvSpPr>
        <p:spPr bwMode="gray">
          <a:xfrm>
            <a:off x="7102510" y="6616434"/>
            <a:ext cx="2390983"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ja-JP" altLang="en-US" sz="1000" dirty="0">
                <a:latin typeface="+mn-ea"/>
                <a:cs typeface="Arial" pitchFamily="34" charset="0"/>
                <a:sym typeface="Trebuchet MS" panose="020B0603020202020204" pitchFamily="34" charset="0"/>
              </a:rPr>
              <a:t>出典</a:t>
            </a:r>
            <a:r>
              <a:rPr lang="en-US" sz="1000" dirty="0">
                <a:latin typeface="+mn-ea"/>
                <a:cs typeface="Arial" pitchFamily="34" charset="0"/>
                <a:sym typeface="Trebuchet MS" panose="020B0603020202020204" pitchFamily="34" charset="0"/>
              </a:rPr>
              <a:t>: </a:t>
            </a:r>
            <a:r>
              <a:rPr lang="ja-JP" altLang="en-US" sz="1000" dirty="0">
                <a:latin typeface="+mn-ea"/>
                <a:cs typeface="Arial" pitchFamily="34" charset="0"/>
                <a:sym typeface="Trebuchet MS" panose="020B0603020202020204" pitchFamily="34" charset="0"/>
              </a:rPr>
              <a:t>地球温暖化対策計画</a:t>
            </a:r>
            <a:r>
              <a:rPr lang="en-US" altLang="ja-JP" sz="1000" dirty="0">
                <a:latin typeface="+mn-ea"/>
                <a:cs typeface="Arial" pitchFamily="34" charset="0"/>
                <a:sym typeface="Trebuchet MS" panose="020B0603020202020204" pitchFamily="34" charset="0"/>
              </a:rPr>
              <a:t> </a:t>
            </a:r>
            <a:r>
              <a:rPr lang="ja-JP" altLang="en-US" sz="1000" dirty="0">
                <a:latin typeface="+mn-ea"/>
                <a:cs typeface="Arial" pitchFamily="34" charset="0"/>
                <a:sym typeface="Trebuchet MS" panose="020B0603020202020204" pitchFamily="34" charset="0"/>
              </a:rPr>
              <a:t>概要</a:t>
            </a:r>
            <a:endParaRPr lang="en-US" sz="1000" dirty="0">
              <a:latin typeface="+mn-ea"/>
              <a:cs typeface="Arial" pitchFamily="34" charset="0"/>
              <a:sym typeface="Trebuchet MS" panose="020B0603020202020204" pitchFamily="34" charset="0"/>
            </a:endParaRPr>
          </a:p>
        </p:txBody>
      </p:sp>
    </p:spTree>
    <p:extLst>
      <p:ext uri="{BB962C8B-B14F-4D97-AF65-F5344CB8AC3E}">
        <p14:creationId xmlns:p14="http://schemas.microsoft.com/office/powerpoint/2010/main" val="17483879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F79BF2-1E84-47CA-90AB-4D68361B14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9" imgW="592" imgH="591" progId="TCLayout.ActiveDocument.1">
                  <p:embed/>
                </p:oleObj>
              </mc:Choice>
              <mc:Fallback>
                <p:oleObj name="think-cell スライド" r:id="rId19" imgW="592" imgH="591" progId="TCLayout.ActiveDocument.1">
                  <p:embed/>
                  <p:pic>
                    <p:nvPicPr>
                      <p:cNvPr id="3" name="Object 2" hidden="1">
                        <a:extLst>
                          <a:ext uri="{FF2B5EF4-FFF2-40B4-BE49-F238E27FC236}">
                            <a16:creationId xmlns:a16="http://schemas.microsoft.com/office/drawing/2014/main" id="{76F79BF2-1E84-47CA-90AB-4D68361B1480}"/>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graphicFrame>
        <p:nvGraphicFramePr>
          <p:cNvPr id="141" name="Chart 3">
            <a:extLst>
              <a:ext uri="{FF2B5EF4-FFF2-40B4-BE49-F238E27FC236}">
                <a16:creationId xmlns:a16="http://schemas.microsoft.com/office/drawing/2014/main" id="{B5D8AD49-6FEF-4C0B-8FD3-33F74188B192}"/>
              </a:ext>
            </a:extLst>
          </p:cNvPr>
          <p:cNvGraphicFramePr/>
          <p:nvPr>
            <p:custDataLst>
              <p:tags r:id="rId2"/>
            </p:custDataLst>
            <p:extLst>
              <p:ext uri="{D42A27DB-BD31-4B8C-83A1-F6EECF244321}">
                <p14:modId xmlns:p14="http://schemas.microsoft.com/office/powerpoint/2010/main" val="3779964105"/>
              </p:ext>
            </p:extLst>
          </p:nvPr>
        </p:nvGraphicFramePr>
        <p:xfrm>
          <a:off x="837597" y="3345851"/>
          <a:ext cx="2788119" cy="2970733"/>
        </p:xfrm>
        <a:graphic>
          <a:graphicData uri="http://schemas.openxmlformats.org/drawingml/2006/chart">
            <c:chart xmlns:c="http://schemas.openxmlformats.org/drawingml/2006/chart" xmlns:r="http://schemas.openxmlformats.org/officeDocument/2006/relationships" r:id="rId21"/>
          </a:graphicData>
        </a:graphic>
      </p:graphicFrame>
      <p:sp>
        <p:nvSpPr>
          <p:cNvPr id="56" name="Text Placeholder 3">
            <a:extLst>
              <a:ext uri="{FF2B5EF4-FFF2-40B4-BE49-F238E27FC236}">
                <a16:creationId xmlns:a16="http://schemas.microsoft.com/office/drawing/2014/main" id="{6289A15C-5529-476D-8DCB-E13D71AC7682}"/>
              </a:ext>
            </a:extLst>
          </p:cNvPr>
          <p:cNvSpPr>
            <a:spLocks noGrp="1"/>
          </p:cNvSpPr>
          <p:nvPr>
            <p:custDataLst>
              <p:tags r:id="rId3"/>
            </p:custDataLst>
          </p:nvPr>
        </p:nvSpPr>
        <p:spPr bwMode="gray">
          <a:xfrm flipH="1">
            <a:off x="975758" y="3007091"/>
            <a:ext cx="45719"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lang="en-US" altLang="en-US">
                <a:latin typeface="Meiryo UI" panose="020B0604030504040204" pitchFamily="50" charset="-128"/>
                <a:ea typeface="Meiryo UI" panose="020B0604030504040204" pitchFamily="50" charset="-128"/>
                <a:sym typeface="Meiryo UI" panose="020B0604030504040204" pitchFamily="50" charset="-128"/>
              </a:rPr>
              <a:t>(%)</a:t>
            </a:r>
            <a:endParaRPr lang="en-US">
              <a:latin typeface="Meiryo UI" panose="020B0604030504040204" pitchFamily="50" charset="-128"/>
              <a:ea typeface="Meiryo UI" panose="020B0604030504040204" pitchFamily="50" charset="-128"/>
              <a:sym typeface="Meiryo UI" panose="020B0604030504040204" pitchFamily="50" charset="-128"/>
            </a:endParaRPr>
          </a:p>
        </p:txBody>
      </p:sp>
      <p:sp>
        <p:nvSpPr>
          <p:cNvPr id="54" name="Text Placeholder 3">
            <a:extLst>
              <a:ext uri="{FF2B5EF4-FFF2-40B4-BE49-F238E27FC236}">
                <a16:creationId xmlns:a16="http://schemas.microsoft.com/office/drawing/2014/main" id="{BCBF7349-7F00-4B6E-A740-61D3CFDE4836}"/>
              </a:ext>
            </a:extLst>
          </p:cNvPr>
          <p:cNvSpPr>
            <a:spLocks noGrp="1"/>
          </p:cNvSpPr>
          <p:nvPr>
            <p:custDataLst>
              <p:tags r:id="rId4"/>
            </p:custDataLst>
          </p:nvPr>
        </p:nvSpPr>
        <p:spPr bwMode="gray">
          <a:xfrm>
            <a:off x="1815929" y="4012227"/>
            <a:ext cx="155575" cy="234950"/>
          </a:xfrm>
          <a:prstGeom prst="rect">
            <a:avLst/>
          </a:prstGeom>
          <a:solidFill>
            <a:srgbClr val="ABA8B3"/>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sz="1400">
                <a:latin typeface="Meiryo UI" panose="020B0604030504040204" pitchFamily="50" charset="-128"/>
                <a:ea typeface="Meiryo UI" panose="020B0604030504040204" pitchFamily="50" charset="-128"/>
                <a:sym typeface="Meiryo UI" panose="020B0604030504040204" pitchFamily="50" charset="-128"/>
              </a:rPr>
              <a:t>22.1</a:t>
            </a:r>
          </a:p>
        </p:txBody>
      </p:sp>
      <p:sp>
        <p:nvSpPr>
          <p:cNvPr id="55" name="Text Placeholder 3">
            <a:extLst>
              <a:ext uri="{FF2B5EF4-FFF2-40B4-BE49-F238E27FC236}">
                <a16:creationId xmlns:a16="http://schemas.microsoft.com/office/drawing/2014/main" id="{311D3C10-AF79-405B-967A-FE77586B265A}"/>
              </a:ext>
            </a:extLst>
          </p:cNvPr>
          <p:cNvSpPr>
            <a:spLocks noGrp="1"/>
          </p:cNvSpPr>
          <p:nvPr>
            <p:custDataLst>
              <p:tags r:id="rId5"/>
            </p:custDataLst>
          </p:nvPr>
        </p:nvSpPr>
        <p:spPr bwMode="gray">
          <a:xfrm>
            <a:off x="1753805" y="3511364"/>
            <a:ext cx="266700" cy="234950"/>
          </a:xfrm>
          <a:prstGeom prst="rect">
            <a:avLst/>
          </a:prstGeom>
          <a:noFill/>
          <a:ln>
            <a:noFill/>
          </a:ln>
          <a:extLst>
            <a:ext uri="{909E8E84-426E-40DD-AFC4-6F175D3DCCD1}">
              <a14:hiddenFill xmlns:a14="http://schemas.microsoft.com/office/drawing/2010/main">
                <a:solidFill>
                  <a:schemeClr val="bg1"/>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sz="1400">
                <a:solidFill>
                  <a:schemeClr val="bg1"/>
                </a:solidFill>
                <a:latin typeface="Meiryo UI" panose="020B0604030504040204" pitchFamily="50" charset="-128"/>
                <a:ea typeface="Meiryo UI" panose="020B0604030504040204" pitchFamily="50" charset="-128"/>
                <a:sym typeface="Meiryo UI" panose="020B0604030504040204" pitchFamily="50" charset="-128"/>
              </a:rPr>
              <a:t>12.7</a:t>
            </a:r>
            <a:endParaRPr lang="en-US" sz="1400">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p:txBody>
      </p:sp>
      <p:sp>
        <p:nvSpPr>
          <p:cNvPr id="5" name="タイトル 4"/>
          <p:cNvSpPr>
            <a:spLocks noGrp="1"/>
          </p:cNvSpPr>
          <p:nvPr>
            <p:ph type="title"/>
          </p:nvPr>
        </p:nvSpPr>
        <p:spPr>
          <a:xfrm>
            <a:off x="181069" y="257881"/>
            <a:ext cx="9297676" cy="587854"/>
          </a:xfrm>
        </p:spPr>
        <p:txBody>
          <a:bodyPr vert="horz"/>
          <a:lstStyle/>
          <a:p>
            <a:r>
              <a:rPr lang="ja-JP" altLang="en-US" sz="2400" dirty="0"/>
              <a:t>デコ活の背景（</a:t>
            </a:r>
            <a:r>
              <a:rPr lang="en-US" altLang="ja-JP" sz="2400" dirty="0"/>
              <a:t>2/2</a:t>
            </a:r>
            <a:r>
              <a:rPr lang="ja-JP" altLang="en-US" sz="2400" dirty="0"/>
              <a:t>）</a:t>
            </a:r>
            <a:endParaRPr lang="ja-JP" altLang="en-US" sz="2400" dirty="0">
              <a:latin typeface="+mn-ea"/>
              <a:ea typeface="+mn-ea"/>
            </a:endParaRPr>
          </a:p>
        </p:txBody>
      </p:sp>
      <p:sp>
        <p:nvSpPr>
          <p:cNvPr id="9" name="正方形/長方形 9">
            <a:extLst>
              <a:ext uri="{FF2B5EF4-FFF2-40B4-BE49-F238E27FC236}">
                <a16:creationId xmlns:a16="http://schemas.microsoft.com/office/drawing/2014/main" id="{E5E99632-6879-4F6D-9ED4-68DF0381A0B1}"/>
              </a:ext>
            </a:extLst>
          </p:cNvPr>
          <p:cNvSpPr/>
          <p:nvPr/>
        </p:nvSpPr>
        <p:spPr>
          <a:xfrm>
            <a:off x="412507" y="988477"/>
            <a:ext cx="9080986" cy="711302"/>
          </a:xfrm>
          <a:prstGeom prst="rect">
            <a:avLst/>
          </a:prstGeom>
          <a:noFill/>
          <a:ln w="28575">
            <a:solidFill>
              <a:srgbClr val="00584E"/>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265120" indent="-176217"/>
            <a:r>
              <a:rPr lang="ja-JP" altLang="en-US" sz="2000" dirty="0">
                <a:solidFill>
                  <a:prstClr val="black"/>
                </a:solidFill>
                <a:latin typeface="+mn-ea"/>
              </a:rPr>
              <a:t>○国民・消費者の</a:t>
            </a:r>
            <a:r>
              <a:rPr lang="en-US" altLang="ja-JP" sz="2000" dirty="0">
                <a:solidFill>
                  <a:prstClr val="black"/>
                </a:solidFill>
                <a:latin typeface="+mn-ea"/>
              </a:rPr>
              <a:t>9</a:t>
            </a:r>
            <a:r>
              <a:rPr lang="ja-JP" altLang="en-US" sz="2000" dirty="0">
                <a:solidFill>
                  <a:prstClr val="black"/>
                </a:solidFill>
                <a:latin typeface="+mn-ea"/>
              </a:rPr>
              <a:t>割が脱炭素という用語を認知している一方、そのために何をしたらよいか分からないなど、</a:t>
            </a:r>
            <a:r>
              <a:rPr lang="ja-JP" altLang="en-US" sz="2000" dirty="0">
                <a:solidFill>
                  <a:srgbClr val="FF0000"/>
                </a:solidFill>
                <a:latin typeface="+mn-ea"/>
              </a:rPr>
              <a:t>具体的な行動に結びついているとは言えない状況</a:t>
            </a:r>
            <a:r>
              <a:rPr lang="ja-JP" altLang="en-US" sz="2000" dirty="0">
                <a:solidFill>
                  <a:prstClr val="black"/>
                </a:solidFill>
                <a:latin typeface="+mn-ea"/>
              </a:rPr>
              <a:t>にあります。</a:t>
            </a:r>
          </a:p>
        </p:txBody>
      </p:sp>
      <p:sp>
        <p:nvSpPr>
          <p:cNvPr id="58" name="正方形/長方形 245">
            <a:extLst>
              <a:ext uri="{FF2B5EF4-FFF2-40B4-BE49-F238E27FC236}">
                <a16:creationId xmlns:a16="http://schemas.microsoft.com/office/drawing/2014/main" id="{AC2FDC02-7E23-4030-B81A-56A902DA5AB3}"/>
              </a:ext>
            </a:extLst>
          </p:cNvPr>
          <p:cNvSpPr/>
          <p:nvPr>
            <p:custDataLst>
              <p:tags r:id="rId6"/>
            </p:custDataLst>
          </p:nvPr>
        </p:nvSpPr>
        <p:spPr bwMode="gray">
          <a:xfrm>
            <a:off x="2466512" y="5610157"/>
            <a:ext cx="214313" cy="160338"/>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endParaRPr>
          </a:p>
        </p:txBody>
      </p:sp>
      <p:sp>
        <p:nvSpPr>
          <p:cNvPr id="59" name="正方形/長方形 243">
            <a:extLst>
              <a:ext uri="{FF2B5EF4-FFF2-40B4-BE49-F238E27FC236}">
                <a16:creationId xmlns:a16="http://schemas.microsoft.com/office/drawing/2014/main" id="{FEB3A3FA-FBDD-4FD1-A0E7-479BC5FC8E11}"/>
              </a:ext>
            </a:extLst>
          </p:cNvPr>
          <p:cNvSpPr/>
          <p:nvPr/>
        </p:nvSpPr>
        <p:spPr bwMode="gray">
          <a:xfrm>
            <a:off x="2476596" y="5072512"/>
            <a:ext cx="214313" cy="160338"/>
          </a:xfrm>
          <a:prstGeom prst="rect">
            <a:avLst/>
          </a:prstGeom>
          <a:solidFill>
            <a:srgbClr val="ABA8B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endParaRPr>
          </a:p>
        </p:txBody>
      </p:sp>
      <p:sp>
        <p:nvSpPr>
          <p:cNvPr id="60" name="正方形/長方形 244">
            <a:extLst>
              <a:ext uri="{FF2B5EF4-FFF2-40B4-BE49-F238E27FC236}">
                <a16:creationId xmlns:a16="http://schemas.microsoft.com/office/drawing/2014/main" id="{BAF28208-E32B-44B1-937C-D938857ADA5E}"/>
              </a:ext>
            </a:extLst>
          </p:cNvPr>
          <p:cNvSpPr/>
          <p:nvPr>
            <p:custDataLst>
              <p:tags r:id="rId7"/>
            </p:custDataLst>
          </p:nvPr>
        </p:nvSpPr>
        <p:spPr bwMode="gray">
          <a:xfrm>
            <a:off x="2472067" y="5346725"/>
            <a:ext cx="214313" cy="160338"/>
          </a:xfrm>
          <a:prstGeom prst="rect">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endParaRPr>
          </a:p>
        </p:txBody>
      </p:sp>
      <p:sp>
        <p:nvSpPr>
          <p:cNvPr id="61" name="正方形/長方形 242">
            <a:extLst>
              <a:ext uri="{FF2B5EF4-FFF2-40B4-BE49-F238E27FC236}">
                <a16:creationId xmlns:a16="http://schemas.microsoft.com/office/drawing/2014/main" id="{CF689778-BE0D-4338-9F07-6F58AB72B86C}"/>
              </a:ext>
            </a:extLst>
          </p:cNvPr>
          <p:cNvSpPr/>
          <p:nvPr>
            <p:custDataLst>
              <p:tags r:id="rId8"/>
            </p:custDataLst>
          </p:nvPr>
        </p:nvSpPr>
        <p:spPr bwMode="gray">
          <a:xfrm>
            <a:off x="2472067" y="5871268"/>
            <a:ext cx="214313" cy="160338"/>
          </a:xfrm>
          <a:prstGeom prst="rect">
            <a:avLst/>
          </a:prstGeom>
          <a:solidFill>
            <a:schemeClr val="bg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endParaRPr>
          </a:p>
        </p:txBody>
      </p:sp>
      <p:sp>
        <p:nvSpPr>
          <p:cNvPr id="63" name="Text Placeholder 3">
            <a:extLst>
              <a:ext uri="{FF2B5EF4-FFF2-40B4-BE49-F238E27FC236}">
                <a16:creationId xmlns:a16="http://schemas.microsoft.com/office/drawing/2014/main" id="{E49D23F8-8FB9-4C71-9E9E-9C8A5F71856A}"/>
              </a:ext>
            </a:extLst>
          </p:cNvPr>
          <p:cNvSpPr>
            <a:spLocks noGrp="1"/>
          </p:cNvSpPr>
          <p:nvPr/>
        </p:nvSpPr>
        <p:spPr bwMode="gray">
          <a:xfrm>
            <a:off x="2817781" y="5067060"/>
            <a:ext cx="2067394" cy="1603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lang="ja-JP" altLang="en-US" sz="1100">
                <a:latin typeface="Meiryo UI" panose="020B0604030504040204" pitchFamily="50" charset="-128"/>
                <a:ea typeface="Meiryo UI" panose="020B0604030504040204" pitchFamily="50" charset="-128"/>
                <a:sym typeface="Meiryo UI" panose="020B0604030504040204" pitchFamily="50" charset="-128"/>
              </a:rPr>
              <a:t>あまり意識して行動してない</a:t>
            </a:r>
            <a:endParaRPr lang="en-US" sz="1100">
              <a:latin typeface="Meiryo UI" panose="020B0604030504040204" pitchFamily="50" charset="-128"/>
              <a:ea typeface="Meiryo UI" panose="020B0604030504040204" pitchFamily="50" charset="-128"/>
              <a:sym typeface="Meiryo UI" panose="020B0604030504040204" pitchFamily="50" charset="-128"/>
            </a:endParaRPr>
          </a:p>
        </p:txBody>
      </p:sp>
      <p:sp>
        <p:nvSpPr>
          <p:cNvPr id="65" name="Text Placeholder 3">
            <a:extLst>
              <a:ext uri="{FF2B5EF4-FFF2-40B4-BE49-F238E27FC236}">
                <a16:creationId xmlns:a16="http://schemas.microsoft.com/office/drawing/2014/main" id="{CCC8DE88-505F-45F9-B7F3-743A4DF07879}"/>
              </a:ext>
            </a:extLst>
          </p:cNvPr>
          <p:cNvSpPr>
            <a:spLocks noGrp="1"/>
          </p:cNvSpPr>
          <p:nvPr>
            <p:custDataLst>
              <p:tags r:id="rId9"/>
            </p:custDataLst>
          </p:nvPr>
        </p:nvSpPr>
        <p:spPr bwMode="gray">
          <a:xfrm>
            <a:off x="2817784" y="5571886"/>
            <a:ext cx="83026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lang="ja-JP" altLang="en-US" sz="1100">
                <a:latin typeface="Meiryo UI" panose="020B0604030504040204" pitchFamily="50" charset="-128"/>
                <a:ea typeface="Meiryo UI" panose="020B0604030504040204" pitchFamily="50" charset="-128"/>
                <a:sym typeface="Meiryo UI" panose="020B0604030504040204" pitchFamily="50" charset="-128"/>
              </a:rPr>
              <a:t>ある程度意識して行動している</a:t>
            </a:r>
            <a:endParaRPr lang="en-US" sz="1100">
              <a:latin typeface="Meiryo UI" panose="020B0604030504040204" pitchFamily="50" charset="-128"/>
              <a:ea typeface="Meiryo UI" panose="020B0604030504040204" pitchFamily="50" charset="-128"/>
              <a:sym typeface="Meiryo UI" panose="020B0604030504040204" pitchFamily="50" charset="-128"/>
            </a:endParaRPr>
          </a:p>
        </p:txBody>
      </p:sp>
      <p:sp>
        <p:nvSpPr>
          <p:cNvPr id="64" name="Text Placeholder 3">
            <a:extLst>
              <a:ext uri="{FF2B5EF4-FFF2-40B4-BE49-F238E27FC236}">
                <a16:creationId xmlns:a16="http://schemas.microsoft.com/office/drawing/2014/main" id="{18D3AC88-6E31-4829-9456-685181393507}"/>
              </a:ext>
            </a:extLst>
          </p:cNvPr>
          <p:cNvSpPr>
            <a:spLocks noGrp="1"/>
          </p:cNvSpPr>
          <p:nvPr>
            <p:custDataLst>
              <p:tags r:id="rId10"/>
            </p:custDataLst>
          </p:nvPr>
        </p:nvSpPr>
        <p:spPr bwMode="gray">
          <a:xfrm>
            <a:off x="2817781" y="5319474"/>
            <a:ext cx="1111250"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lang="ja-JP" altLang="en-US" sz="1100">
                <a:latin typeface="Meiryo UI" panose="020B0604030504040204" pitchFamily="50" charset="-128"/>
                <a:ea typeface="Meiryo UI" panose="020B0604030504040204" pitchFamily="50" charset="-128"/>
                <a:sym typeface="Meiryo UI" panose="020B0604030504040204" pitchFamily="50" charset="-128"/>
              </a:rPr>
              <a:t>どちらともいえない</a:t>
            </a:r>
            <a:endParaRPr lang="en-US" sz="1100">
              <a:latin typeface="Meiryo UI" panose="020B0604030504040204" pitchFamily="50" charset="-128"/>
              <a:ea typeface="Meiryo UI" panose="020B0604030504040204" pitchFamily="50" charset="-128"/>
              <a:sym typeface="Meiryo UI" panose="020B0604030504040204" pitchFamily="50" charset="-128"/>
            </a:endParaRPr>
          </a:p>
        </p:txBody>
      </p:sp>
      <p:sp>
        <p:nvSpPr>
          <p:cNvPr id="62" name="Text Placeholder 3">
            <a:extLst>
              <a:ext uri="{FF2B5EF4-FFF2-40B4-BE49-F238E27FC236}">
                <a16:creationId xmlns:a16="http://schemas.microsoft.com/office/drawing/2014/main" id="{29060933-0185-4133-A0CB-DB02F103A565}"/>
              </a:ext>
            </a:extLst>
          </p:cNvPr>
          <p:cNvSpPr>
            <a:spLocks noGrp="1"/>
          </p:cNvSpPr>
          <p:nvPr>
            <p:custDataLst>
              <p:tags r:id="rId11"/>
            </p:custDataLst>
          </p:nvPr>
        </p:nvSpPr>
        <p:spPr bwMode="gray">
          <a:xfrm>
            <a:off x="2817781" y="5824299"/>
            <a:ext cx="998538"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buNone/>
            </a:pPr>
            <a:r>
              <a:rPr lang="ja-JP" altLang="en-US" sz="1100">
                <a:latin typeface="Meiryo UI" panose="020B0604030504040204" pitchFamily="50" charset="-128"/>
                <a:ea typeface="Meiryo UI" panose="020B0604030504040204" pitchFamily="50" charset="-128"/>
                <a:sym typeface="Meiryo UI" panose="020B0604030504040204" pitchFamily="50" charset="-128"/>
              </a:rPr>
              <a:t>非常に意識して行動している</a:t>
            </a:r>
            <a:endParaRPr lang="en-US" sz="1100">
              <a:latin typeface="Meiryo UI" panose="020B0604030504040204" pitchFamily="50" charset="-128"/>
              <a:ea typeface="Meiryo UI" panose="020B0604030504040204" pitchFamily="50" charset="-128"/>
              <a:sym typeface="Meiryo UI" panose="020B0604030504040204" pitchFamily="50" charset="-128"/>
            </a:endParaRPr>
          </a:p>
        </p:txBody>
      </p:sp>
      <p:sp>
        <p:nvSpPr>
          <p:cNvPr id="72" name="ee4pFootnotes">
            <a:extLst>
              <a:ext uri="{FF2B5EF4-FFF2-40B4-BE49-F238E27FC236}">
                <a16:creationId xmlns:a16="http://schemas.microsoft.com/office/drawing/2014/main" id="{DA70A7FD-2EC5-4A44-93A4-2C7535C1FCCC}"/>
              </a:ext>
            </a:extLst>
          </p:cNvPr>
          <p:cNvSpPr>
            <a:spLocks noChangeArrowheads="1"/>
          </p:cNvSpPr>
          <p:nvPr/>
        </p:nvSpPr>
        <p:spPr bwMode="gray">
          <a:xfrm>
            <a:off x="4318862" y="6305709"/>
            <a:ext cx="5174631" cy="1384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ja-JP" altLang="en-US" sz="1000" dirty="0">
                <a:latin typeface="+mn-ea"/>
                <a:cs typeface="Arial" pitchFamily="34" charset="0"/>
                <a:sym typeface="Trebuchet MS" panose="020B0603020202020204" pitchFamily="34" charset="0"/>
              </a:rPr>
              <a:t>出典</a:t>
            </a:r>
            <a:r>
              <a:rPr lang="en-US" sz="1000" dirty="0">
                <a:latin typeface="+mn-ea"/>
                <a:cs typeface="Arial" pitchFamily="34" charset="0"/>
                <a:sym typeface="Trebuchet MS" panose="020B0603020202020204" pitchFamily="34" charset="0"/>
              </a:rPr>
              <a:t>: </a:t>
            </a:r>
            <a:r>
              <a:rPr lang="ja-JP" altLang="en-US" sz="1000" dirty="0"/>
              <a:t>博報堂　「第二回 生活者の脱炭素意識＆アクション調査」 ～</a:t>
            </a:r>
            <a:r>
              <a:rPr lang="en-US" altLang="ja-JP" sz="1000" dirty="0"/>
              <a:t>2022 </a:t>
            </a:r>
            <a:r>
              <a:rPr lang="ja-JP" altLang="en-US" sz="1000" dirty="0"/>
              <a:t>年 </a:t>
            </a:r>
            <a:r>
              <a:rPr lang="en-US" altLang="ja-JP" sz="1000" dirty="0"/>
              <a:t>3 </a:t>
            </a:r>
            <a:r>
              <a:rPr lang="ja-JP" altLang="en-US" sz="1000" dirty="0"/>
              <a:t>月調査結果～</a:t>
            </a:r>
            <a:endParaRPr lang="en-US" sz="1000" dirty="0">
              <a:latin typeface="+mn-ea"/>
              <a:cs typeface="Arial" pitchFamily="34" charset="0"/>
              <a:sym typeface="Trebuchet MS" panose="020B0603020202020204" pitchFamily="34" charset="0"/>
            </a:endParaRPr>
          </a:p>
        </p:txBody>
      </p:sp>
      <p:sp>
        <p:nvSpPr>
          <p:cNvPr id="6" name="テキスト ボックス 5">
            <a:extLst>
              <a:ext uri="{FF2B5EF4-FFF2-40B4-BE49-F238E27FC236}">
                <a16:creationId xmlns:a16="http://schemas.microsoft.com/office/drawing/2014/main" id="{3270A527-C77E-FC1C-79F5-8C4039B30EA0}"/>
              </a:ext>
            </a:extLst>
          </p:cNvPr>
          <p:cNvSpPr txBox="1"/>
          <p:nvPr/>
        </p:nvSpPr>
        <p:spPr>
          <a:xfrm>
            <a:off x="544438" y="1873823"/>
            <a:ext cx="4122957" cy="584775"/>
          </a:xfrm>
          <a:prstGeom prst="rect">
            <a:avLst/>
          </a:prstGeom>
          <a:noFill/>
        </p:spPr>
        <p:txBody>
          <a:bodyPr wrap="square">
            <a:spAutoFit/>
          </a:bodyPr>
          <a:lstStyle/>
          <a:p>
            <a:r>
              <a:rPr lang="ja-JP" altLang="ja-JP" sz="1600" u="sng">
                <a:solidFill>
                  <a:schemeClr val="bg2"/>
                </a:solidFill>
                <a:latin typeface="+mn-ea"/>
                <a:cs typeface="ＭＳ Ｐゴシック" panose="020B0600070205080204" pitchFamily="50" charset="-128"/>
              </a:rPr>
              <a:t> 「脱炭素」という言葉を知っている人は</a:t>
            </a:r>
            <a:r>
              <a:rPr lang="en-US" altLang="ja-JP" sz="1600" u="sng">
                <a:solidFill>
                  <a:schemeClr val="bg2"/>
                </a:solidFill>
                <a:latin typeface="+mn-ea"/>
                <a:cs typeface="ＭＳ Ｐゴシック" panose="020B0600070205080204" pitchFamily="50" charset="-128"/>
              </a:rPr>
              <a:t>90.8</a:t>
            </a:r>
            <a:r>
              <a:rPr lang="ja-JP" altLang="ja-JP" sz="1600" u="sng">
                <a:solidFill>
                  <a:schemeClr val="bg2"/>
                </a:solidFill>
                <a:latin typeface="+mn-ea"/>
                <a:cs typeface="ＭＳ Ｐゴシック" panose="020B0600070205080204" pitchFamily="50" charset="-128"/>
              </a:rPr>
              <a:t>％、</a:t>
            </a:r>
            <a:endParaRPr lang="en-US" altLang="ja-JP" sz="1600" u="sng">
              <a:solidFill>
                <a:schemeClr val="bg2"/>
              </a:solidFill>
              <a:latin typeface="+mn-ea"/>
              <a:cs typeface="ＭＳ Ｐゴシック" panose="020B0600070205080204" pitchFamily="50" charset="-128"/>
            </a:endParaRPr>
          </a:p>
          <a:p>
            <a:r>
              <a:rPr lang="ja-JP" altLang="ja-JP" sz="1600" u="sng">
                <a:solidFill>
                  <a:schemeClr val="bg2"/>
                </a:solidFill>
                <a:latin typeface="+mn-ea"/>
                <a:cs typeface="ＭＳ Ｐゴシック" panose="020B0600070205080204" pitchFamily="50" charset="-128"/>
              </a:rPr>
              <a:t>行動に移している人は</a:t>
            </a:r>
            <a:r>
              <a:rPr lang="en-US" altLang="ja-JP" sz="1600" u="sng">
                <a:solidFill>
                  <a:schemeClr val="bg2"/>
                </a:solidFill>
                <a:latin typeface="+mn-ea"/>
                <a:cs typeface="ＭＳ Ｐゴシック" panose="020B0600070205080204" pitchFamily="50" charset="-128"/>
              </a:rPr>
              <a:t>33.1</a:t>
            </a:r>
            <a:r>
              <a:rPr lang="ja-JP" altLang="ja-JP" sz="1600" u="sng">
                <a:solidFill>
                  <a:schemeClr val="bg2"/>
                </a:solidFill>
                <a:latin typeface="+mn-ea"/>
                <a:cs typeface="ＭＳ Ｐゴシック" panose="020B0600070205080204" pitchFamily="50" charset="-128"/>
              </a:rPr>
              <a:t>％</a:t>
            </a:r>
          </a:p>
        </p:txBody>
      </p:sp>
      <p:sp>
        <p:nvSpPr>
          <p:cNvPr id="7" name="テキスト ボックス 6">
            <a:extLst>
              <a:ext uri="{FF2B5EF4-FFF2-40B4-BE49-F238E27FC236}">
                <a16:creationId xmlns:a16="http://schemas.microsoft.com/office/drawing/2014/main" id="{2F1A93A0-0855-F539-5217-E2EFE8569412}"/>
              </a:ext>
            </a:extLst>
          </p:cNvPr>
          <p:cNvSpPr txBox="1"/>
          <p:nvPr/>
        </p:nvSpPr>
        <p:spPr>
          <a:xfrm>
            <a:off x="4820826" y="1879696"/>
            <a:ext cx="4732704" cy="584775"/>
          </a:xfrm>
          <a:prstGeom prst="rect">
            <a:avLst/>
          </a:prstGeom>
          <a:noFill/>
        </p:spPr>
        <p:txBody>
          <a:bodyPr wrap="square">
            <a:spAutoFit/>
          </a:bodyPr>
          <a:lstStyle/>
          <a:p>
            <a:r>
              <a:rPr lang="ja-JP" altLang="ja-JP" sz="1600" u="sng">
                <a:solidFill>
                  <a:schemeClr val="bg2"/>
                </a:solidFill>
                <a:latin typeface="+mn-ea"/>
                <a:cs typeface="ＭＳ Ｐゴシック" panose="020B0600070205080204" pitchFamily="50" charset="-128"/>
              </a:rPr>
              <a:t>脱炭素について若年層では、「よくわからない」、</a:t>
            </a:r>
            <a:endParaRPr lang="en-US" altLang="ja-JP" sz="1600" u="sng">
              <a:solidFill>
                <a:schemeClr val="bg2"/>
              </a:solidFill>
              <a:latin typeface="+mn-ea"/>
              <a:cs typeface="ＭＳ Ｐゴシック" panose="020B0600070205080204" pitchFamily="50" charset="-128"/>
            </a:endParaRPr>
          </a:p>
          <a:p>
            <a:r>
              <a:rPr lang="ja-JP" altLang="ja-JP" sz="1600" u="sng">
                <a:solidFill>
                  <a:schemeClr val="bg2"/>
                </a:solidFill>
                <a:latin typeface="+mn-ea"/>
                <a:cs typeface="ＭＳ Ｐゴシック" panose="020B0600070205080204" pitchFamily="50" charset="-128"/>
              </a:rPr>
              <a:t>「意識・貢献できる瞬間がない」と回答した人が約</a:t>
            </a:r>
            <a:r>
              <a:rPr lang="en-US" altLang="ja-JP" sz="1600" u="sng">
                <a:solidFill>
                  <a:schemeClr val="bg2"/>
                </a:solidFill>
                <a:latin typeface="+mn-ea"/>
                <a:cs typeface="ＭＳ Ｐゴシック" panose="020B0600070205080204" pitchFamily="50" charset="-128"/>
              </a:rPr>
              <a:t>6</a:t>
            </a:r>
            <a:r>
              <a:rPr lang="ja-JP" altLang="ja-JP" sz="1600" u="sng">
                <a:solidFill>
                  <a:schemeClr val="bg2"/>
                </a:solidFill>
                <a:latin typeface="+mn-ea"/>
                <a:cs typeface="ＭＳ Ｐゴシック" panose="020B0600070205080204" pitchFamily="50" charset="-128"/>
              </a:rPr>
              <a:t>割に</a:t>
            </a:r>
          </a:p>
        </p:txBody>
      </p:sp>
      <p:sp>
        <p:nvSpPr>
          <p:cNvPr id="11" name="Textfeld 1">
            <a:extLst>
              <a:ext uri="{FF2B5EF4-FFF2-40B4-BE49-F238E27FC236}">
                <a16:creationId xmlns:a16="http://schemas.microsoft.com/office/drawing/2014/main" id="{6C7FC8E9-42FC-6A31-8FC0-EF5384243EFF}"/>
              </a:ext>
            </a:extLst>
          </p:cNvPr>
          <p:cNvSpPr txBox="1"/>
          <p:nvPr>
            <p:custDataLst>
              <p:tags r:id="rId12"/>
            </p:custDataLst>
          </p:nvPr>
        </p:nvSpPr>
        <p:spPr>
          <a:xfrm>
            <a:off x="943363" y="2762369"/>
            <a:ext cx="3455485" cy="358045"/>
          </a:xfrm>
          <a:prstGeom prst="rect">
            <a:avLst/>
          </a:prstGeom>
          <a:noFill/>
          <a:ln w="9525" cap="flat" cmpd="sng" algn="ctr">
            <a:noFill/>
            <a:prstDash val="solid"/>
            <a:miter lim="800000"/>
            <a:headEnd type="none" w="lg" len="lg"/>
            <a:tailEnd type="none" w="lg" len="lg"/>
          </a:ln>
          <a:effectLst/>
          <a:extLst>
            <a:ext uri="{91240B29-F687-4F45-9708-019B960494DF}">
              <a14:hiddenLine xmlns:a14="http://schemas.microsoft.com/office/drawing/2010/main" w="9525" cap="flat" cmpd="sng" algn="ctr">
                <a:solidFill>
                  <a:srgbClr val="9A9A9A"/>
                </a:solidFill>
                <a:prstDash val="solid"/>
                <a:miter lim="800000"/>
                <a:headEnd type="none" w="lg" len="lg"/>
                <a:tailEnd type="none" w="lg" len="lg"/>
              </a14:hiddenLine>
            </a:ext>
          </a:extLst>
        </p:spPr>
        <p:txBody>
          <a:bodyPr vert="horz" wrap="square" lIns="0" tIns="0" rIns="0" bIns="0" anchor="ctr" anchorCtr="0">
            <a:noAutofit/>
          </a:bodyPr>
          <a:lstStyle>
            <a:defPPr>
              <a:defRPr lang="en-US"/>
            </a:defPPr>
            <a:lvl1pPr>
              <a:defRPr sz="1400">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stStyle>
          <a:p>
            <a:r>
              <a:rPr lang="ja-JP" altLang="en-US">
                <a:solidFill>
                  <a:schemeClr val="tx1"/>
                </a:solidFill>
              </a:rPr>
              <a:t>どの程度脱炭素社会に向けた行動をしているか</a:t>
            </a:r>
          </a:p>
          <a:p>
            <a:endParaRPr lang="en-US" altLang="zh-TW">
              <a:solidFill>
                <a:schemeClr val="tx1"/>
              </a:solidFill>
              <a:latin typeface="+mn-ea"/>
              <a:ea typeface="+mn-ea"/>
              <a:sym typeface="Trebuchet MS" panose="020B0603020202020204" pitchFamily="34" charset="0"/>
            </a:endParaRPr>
          </a:p>
        </p:txBody>
      </p:sp>
      <p:sp>
        <p:nvSpPr>
          <p:cNvPr id="12" name="Text Placeholder 3">
            <a:extLst>
              <a:ext uri="{FF2B5EF4-FFF2-40B4-BE49-F238E27FC236}">
                <a16:creationId xmlns:a16="http://schemas.microsoft.com/office/drawing/2014/main" id="{559D0CD3-03AB-168E-7E18-BD50BCE0FD44}"/>
              </a:ext>
            </a:extLst>
          </p:cNvPr>
          <p:cNvSpPr>
            <a:spLocks noGrp="1"/>
          </p:cNvSpPr>
          <p:nvPr>
            <p:custDataLst>
              <p:tags r:id="rId13"/>
            </p:custDataLst>
          </p:nvPr>
        </p:nvSpPr>
        <p:spPr bwMode="gray">
          <a:xfrm>
            <a:off x="2812767" y="4802313"/>
            <a:ext cx="2067394" cy="1603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lang="ja-JP" altLang="en-US" sz="1100">
                <a:latin typeface="Meiryo UI" panose="020B0604030504040204" pitchFamily="50" charset="-128"/>
                <a:ea typeface="Meiryo UI" panose="020B0604030504040204" pitchFamily="50" charset="-128"/>
                <a:sym typeface="Meiryo UI" panose="020B0604030504040204" pitchFamily="50" charset="-128"/>
              </a:rPr>
              <a:t>まったく意識して行動してない</a:t>
            </a:r>
            <a:endParaRPr lang="en-US" sz="1100">
              <a:latin typeface="Meiryo UI" panose="020B0604030504040204" pitchFamily="50" charset="-128"/>
              <a:ea typeface="Meiryo UI" panose="020B0604030504040204" pitchFamily="50" charset="-128"/>
              <a:sym typeface="Meiryo UI" panose="020B0604030504040204" pitchFamily="50" charset="-128"/>
            </a:endParaRPr>
          </a:p>
        </p:txBody>
      </p:sp>
      <p:sp>
        <p:nvSpPr>
          <p:cNvPr id="13" name="正方形/長方形 243">
            <a:extLst>
              <a:ext uri="{FF2B5EF4-FFF2-40B4-BE49-F238E27FC236}">
                <a16:creationId xmlns:a16="http://schemas.microsoft.com/office/drawing/2014/main" id="{A0FFFD25-197D-2B59-7AE8-8247138861D3}"/>
              </a:ext>
            </a:extLst>
          </p:cNvPr>
          <p:cNvSpPr/>
          <p:nvPr>
            <p:custDataLst>
              <p:tags r:id="rId14"/>
            </p:custDataLst>
          </p:nvPr>
        </p:nvSpPr>
        <p:spPr bwMode="gray">
          <a:xfrm>
            <a:off x="2476596" y="4810632"/>
            <a:ext cx="214313" cy="160338"/>
          </a:xfrm>
          <a:prstGeom prst="rect">
            <a:avLst/>
          </a:prstGeom>
          <a:solidFill>
            <a:srgbClr val="C0000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en-US" sz="1200">
              <a:solidFill>
                <a:srgbClr val="FFFFFF"/>
              </a:solidFill>
            </a:endParaRPr>
          </a:p>
        </p:txBody>
      </p:sp>
      <p:sp>
        <p:nvSpPr>
          <p:cNvPr id="47" name="Textfeld 1">
            <a:extLst>
              <a:ext uri="{FF2B5EF4-FFF2-40B4-BE49-F238E27FC236}">
                <a16:creationId xmlns:a16="http://schemas.microsoft.com/office/drawing/2014/main" id="{64B5E46B-5296-4059-5DA8-D0F0C161412E}"/>
              </a:ext>
            </a:extLst>
          </p:cNvPr>
          <p:cNvSpPr txBox="1"/>
          <p:nvPr>
            <p:custDataLst>
              <p:tags r:id="rId15"/>
            </p:custDataLst>
          </p:nvPr>
        </p:nvSpPr>
        <p:spPr>
          <a:xfrm>
            <a:off x="5402933" y="2868032"/>
            <a:ext cx="3611272" cy="577036"/>
          </a:xfrm>
          <a:prstGeom prst="rect">
            <a:avLst/>
          </a:prstGeom>
          <a:noFill/>
          <a:ln w="9525" cap="flat" cmpd="sng" algn="ctr">
            <a:noFill/>
            <a:prstDash val="solid"/>
            <a:miter lim="800000"/>
            <a:headEnd type="none" w="lg" len="lg"/>
            <a:tailEnd type="none" w="lg" len="lg"/>
          </a:ln>
          <a:effectLst/>
          <a:extLst>
            <a:ext uri="{91240B29-F687-4F45-9708-019B960494DF}">
              <a14:hiddenLine xmlns:a14="http://schemas.microsoft.com/office/drawing/2010/main" w="9525" cap="flat" cmpd="sng" algn="ctr">
                <a:solidFill>
                  <a:srgbClr val="9A9A9A"/>
                </a:solidFill>
                <a:prstDash val="solid"/>
                <a:miter lim="800000"/>
                <a:headEnd type="none" w="lg" len="lg"/>
                <a:tailEnd type="none" w="lg" len="lg"/>
              </a14:hiddenLine>
            </a:ext>
          </a:extLst>
        </p:spPr>
        <p:txBody>
          <a:bodyPr vert="horz" wrap="square" lIns="0" tIns="0" rIns="0" bIns="0" anchor="ctr" anchorCtr="0">
            <a:noAutofit/>
          </a:bodyPr>
          <a:lstStyle>
            <a:defPPr>
              <a:defRPr lang="en-US"/>
            </a:defPPr>
            <a:lvl1pPr>
              <a:defRPr sz="1400">
                <a:solidFill>
                  <a:srgbClr val="575757"/>
                </a:solidFill>
                <a:latin typeface="Trebuchet MS" panose="020B0603020202020204" pitchFamily="34" charset="0"/>
                <a:ea typeface="Meiryo UI" panose="020B0604030504040204" pitchFamily="50" charset="-128"/>
                <a:cs typeface="Meiryo UI" panose="020B0604030504040204" pitchFamily="50" charset="-128"/>
              </a:defRPr>
            </a:lvl1pPr>
          </a:lstStyle>
          <a:p>
            <a:r>
              <a:rPr lang="ja-JP" altLang="en-US">
                <a:solidFill>
                  <a:schemeClr val="tx1"/>
                </a:solidFill>
              </a:rPr>
              <a:t>脱炭素社会の実現に向けて取り組むことについて、正直どのように思うか（とてもそう思う＋そう思う）</a:t>
            </a:r>
            <a:endParaRPr lang="en-US" altLang="ja-JP">
              <a:solidFill>
                <a:schemeClr val="tx1"/>
              </a:solidFill>
            </a:endParaRPr>
          </a:p>
          <a:p>
            <a:r>
              <a:rPr lang="ja-JP" altLang="en-US">
                <a:solidFill>
                  <a:schemeClr val="tx1"/>
                </a:solidFill>
              </a:rPr>
              <a:t>（</a:t>
            </a:r>
            <a:r>
              <a:rPr lang="en-US" altLang="ja-JP">
                <a:solidFill>
                  <a:schemeClr val="tx1"/>
                </a:solidFill>
              </a:rPr>
              <a:t>10-20</a:t>
            </a:r>
            <a:r>
              <a:rPr lang="ja-JP" altLang="en-US">
                <a:solidFill>
                  <a:schemeClr val="tx1"/>
                </a:solidFill>
              </a:rPr>
              <a:t>代の回答）</a:t>
            </a:r>
            <a:endParaRPr lang="en-US" altLang="ja-JP">
              <a:solidFill>
                <a:schemeClr val="tx1"/>
              </a:solidFill>
            </a:endParaRPr>
          </a:p>
        </p:txBody>
      </p:sp>
      <p:graphicFrame>
        <p:nvGraphicFramePr>
          <p:cNvPr id="48" name="表 48">
            <a:extLst>
              <a:ext uri="{FF2B5EF4-FFF2-40B4-BE49-F238E27FC236}">
                <a16:creationId xmlns:a16="http://schemas.microsoft.com/office/drawing/2014/main" id="{2CCDAFB0-D7A3-FB92-1019-9EE7FD9D17C6}"/>
              </a:ext>
            </a:extLst>
          </p:cNvPr>
          <p:cNvGraphicFramePr>
            <a:graphicFrameLocks noGrp="1"/>
          </p:cNvGraphicFramePr>
          <p:nvPr>
            <p:extLst>
              <p:ext uri="{D42A27DB-BD31-4B8C-83A1-F6EECF244321}">
                <p14:modId xmlns:p14="http://schemas.microsoft.com/office/powerpoint/2010/main" val="4217384508"/>
              </p:ext>
            </p:extLst>
          </p:nvPr>
        </p:nvGraphicFramePr>
        <p:xfrm>
          <a:off x="5327343" y="3993014"/>
          <a:ext cx="3762459" cy="1851660"/>
        </p:xfrm>
        <a:graphic>
          <a:graphicData uri="http://schemas.openxmlformats.org/drawingml/2006/table">
            <a:tbl>
              <a:tblPr firstRow="1" bandRow="1">
                <a:tableStyleId>{8A107856-5554-42FB-B03E-39F5DBC370BA}</a:tableStyleId>
              </a:tblPr>
              <a:tblGrid>
                <a:gridCol w="2904479">
                  <a:extLst>
                    <a:ext uri="{9D8B030D-6E8A-4147-A177-3AD203B41FA5}">
                      <a16:colId xmlns:a16="http://schemas.microsoft.com/office/drawing/2014/main" val="405504826"/>
                    </a:ext>
                  </a:extLst>
                </a:gridCol>
                <a:gridCol w="857980">
                  <a:extLst>
                    <a:ext uri="{9D8B030D-6E8A-4147-A177-3AD203B41FA5}">
                      <a16:colId xmlns:a16="http://schemas.microsoft.com/office/drawing/2014/main" val="1361226083"/>
                    </a:ext>
                  </a:extLst>
                </a:gridCol>
              </a:tblGrid>
              <a:tr h="462915">
                <a:tc>
                  <a:txBody>
                    <a:bodyPr/>
                    <a:lstStyle/>
                    <a:p>
                      <a:r>
                        <a:rPr lang="ja-JP" altLang="en-US" sz="1200" b="0"/>
                        <a:t>正直 、 よ く わ か ら な い の で 、 や る べ き こ と を 決 め て く れ た ら 従 う</a:t>
                      </a:r>
                      <a:endParaRPr kumimoji="1" lang="ja-JP" altLang="en-US" sz="1200" b="0"/>
                    </a:p>
                  </a:txBody>
                  <a:tcPr/>
                </a:tc>
                <a:tc>
                  <a:txBody>
                    <a:bodyPr/>
                    <a:lstStyle/>
                    <a:p>
                      <a:pPr algn="ctr"/>
                      <a:r>
                        <a:rPr kumimoji="1" lang="en-US" altLang="ja-JP" sz="1200" b="0"/>
                        <a:t>59.4</a:t>
                      </a:r>
                      <a:endParaRPr kumimoji="1" lang="ja-JP" altLang="en-US" sz="1200" b="0"/>
                    </a:p>
                  </a:txBody>
                  <a:tcPr anchor="ctr"/>
                </a:tc>
                <a:extLst>
                  <a:ext uri="{0D108BD9-81ED-4DB2-BD59-A6C34878D82A}">
                    <a16:rowId xmlns:a16="http://schemas.microsoft.com/office/drawing/2014/main" val="2789419455"/>
                  </a:ext>
                </a:extLst>
              </a:tr>
              <a:tr h="462915">
                <a:tc>
                  <a:txBody>
                    <a:bodyPr/>
                    <a:lstStyle/>
                    <a:p>
                      <a:r>
                        <a:rPr lang="ja-JP" altLang="en-US" sz="1200" b="0"/>
                        <a:t>正 直 、 意 識 ・ 貢 献 で き る 具 体 的 な 瞬 間 が な い</a:t>
                      </a:r>
                      <a:endParaRPr kumimoji="1" lang="ja-JP" altLang="en-US" sz="1200" b="0"/>
                    </a:p>
                  </a:txBody>
                  <a:tcPr/>
                </a:tc>
                <a:tc>
                  <a:txBody>
                    <a:bodyPr/>
                    <a:lstStyle/>
                    <a:p>
                      <a:pPr algn="ctr"/>
                      <a:r>
                        <a:rPr kumimoji="1" lang="en-US" altLang="ja-JP" sz="1200" b="0"/>
                        <a:t>58.5</a:t>
                      </a:r>
                      <a:endParaRPr kumimoji="1" lang="ja-JP" altLang="en-US" sz="1200" b="0"/>
                    </a:p>
                  </a:txBody>
                  <a:tcPr anchor="ctr"/>
                </a:tc>
                <a:extLst>
                  <a:ext uri="{0D108BD9-81ED-4DB2-BD59-A6C34878D82A}">
                    <a16:rowId xmlns:a16="http://schemas.microsoft.com/office/drawing/2014/main" val="3497001389"/>
                  </a:ext>
                </a:extLst>
              </a:tr>
              <a:tr h="462915">
                <a:tc>
                  <a:txBody>
                    <a:bodyPr/>
                    <a:lstStyle/>
                    <a:p>
                      <a:r>
                        <a:rPr lang="ja-JP" altLang="en-US" sz="1200" b="0"/>
                        <a:t>正 直 、 自 分 一 人 で や っ て も 変 わ ら な い</a:t>
                      </a:r>
                      <a:endParaRPr kumimoji="1" lang="ja-JP" altLang="en-US" sz="1200" b="0"/>
                    </a:p>
                  </a:txBody>
                  <a:tcPr/>
                </a:tc>
                <a:tc>
                  <a:txBody>
                    <a:bodyPr/>
                    <a:lstStyle/>
                    <a:p>
                      <a:pPr algn="ctr"/>
                      <a:r>
                        <a:rPr kumimoji="1" lang="en-US" altLang="ja-JP" sz="1200" b="0"/>
                        <a:t>56.9</a:t>
                      </a:r>
                      <a:endParaRPr kumimoji="1" lang="ja-JP" altLang="en-US" sz="1200" b="0"/>
                    </a:p>
                  </a:txBody>
                  <a:tcPr anchor="ctr"/>
                </a:tc>
                <a:extLst>
                  <a:ext uri="{0D108BD9-81ED-4DB2-BD59-A6C34878D82A}">
                    <a16:rowId xmlns:a16="http://schemas.microsoft.com/office/drawing/2014/main" val="1484209119"/>
                  </a:ext>
                </a:extLst>
              </a:tr>
              <a:tr h="462915">
                <a:tc>
                  <a:txBody>
                    <a:bodyPr/>
                    <a:lstStyle/>
                    <a:p>
                      <a:pPr marL="0" marR="0" lvl="0" indent="0" algn="l" defTabSz="861993" rtl="0" eaLnBrk="1" fontAlgn="auto" latinLnBrk="0" hangingPunct="1">
                        <a:lnSpc>
                          <a:spcPct val="100000"/>
                        </a:lnSpc>
                        <a:spcBef>
                          <a:spcPts val="0"/>
                        </a:spcBef>
                        <a:spcAft>
                          <a:spcPts val="0"/>
                        </a:spcAft>
                        <a:buClrTx/>
                        <a:buSzTx/>
                        <a:buFontTx/>
                        <a:buNone/>
                        <a:tabLst/>
                        <a:defRPr/>
                      </a:pPr>
                      <a:r>
                        <a:rPr lang="ja-JP" altLang="en-US" sz="1200" b="0"/>
                        <a:t>正 直 、 取 り 組 む モ チ ベ ー シ ョ ン が 続 か な い</a:t>
                      </a:r>
                      <a:endParaRPr kumimoji="1" lang="ja-JP" altLang="en-US" sz="1200" b="0"/>
                    </a:p>
                  </a:txBody>
                  <a:tcPr/>
                </a:tc>
                <a:tc>
                  <a:txBody>
                    <a:bodyPr/>
                    <a:lstStyle/>
                    <a:p>
                      <a:pPr algn="ctr"/>
                      <a:r>
                        <a:rPr kumimoji="1" lang="en-US" altLang="ja-JP" sz="1200" b="0"/>
                        <a:t>50.2</a:t>
                      </a:r>
                      <a:endParaRPr kumimoji="1" lang="ja-JP" altLang="en-US" sz="1200" b="0"/>
                    </a:p>
                  </a:txBody>
                  <a:tcPr anchor="ctr"/>
                </a:tc>
                <a:extLst>
                  <a:ext uri="{0D108BD9-81ED-4DB2-BD59-A6C34878D82A}">
                    <a16:rowId xmlns:a16="http://schemas.microsoft.com/office/drawing/2014/main" val="3011545398"/>
                  </a:ext>
                </a:extLst>
              </a:tr>
            </a:tbl>
          </a:graphicData>
        </a:graphic>
      </p:graphicFrame>
      <p:sp>
        <p:nvSpPr>
          <p:cNvPr id="49" name="Text Placeholder 3">
            <a:extLst>
              <a:ext uri="{FF2B5EF4-FFF2-40B4-BE49-F238E27FC236}">
                <a16:creationId xmlns:a16="http://schemas.microsoft.com/office/drawing/2014/main" id="{09F6C430-3573-F0B9-6ED5-5C0C3D489617}"/>
              </a:ext>
            </a:extLst>
          </p:cNvPr>
          <p:cNvSpPr>
            <a:spLocks noGrp="1"/>
          </p:cNvSpPr>
          <p:nvPr>
            <p:custDataLst>
              <p:tags r:id="rId16"/>
            </p:custDataLst>
          </p:nvPr>
        </p:nvSpPr>
        <p:spPr bwMode="gray">
          <a:xfrm>
            <a:off x="8570869" y="3662528"/>
            <a:ext cx="290513" cy="2016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lang="en-US" altLang="en-US">
                <a:latin typeface="Meiryo UI" panose="020B0604030504040204" pitchFamily="50" charset="-128"/>
                <a:ea typeface="Meiryo UI" panose="020B0604030504040204" pitchFamily="50" charset="-128"/>
                <a:sym typeface="Meiryo UI" panose="020B0604030504040204" pitchFamily="50" charset="-128"/>
              </a:rPr>
              <a:t>(%)</a:t>
            </a:r>
            <a:endParaRPr lang="en-US">
              <a:latin typeface="Meiryo UI" panose="020B0604030504040204" pitchFamily="50" charset="-128"/>
              <a:ea typeface="Meiryo UI" panose="020B0604030504040204" pitchFamily="50" charset="-128"/>
              <a:sym typeface="Meiryo UI" panose="020B0604030504040204" pitchFamily="50" charset="-128"/>
            </a:endParaRPr>
          </a:p>
        </p:txBody>
      </p:sp>
      <p:sp>
        <p:nvSpPr>
          <p:cNvPr id="4" name="四角形: 角を丸くする 3">
            <a:extLst>
              <a:ext uri="{FF2B5EF4-FFF2-40B4-BE49-F238E27FC236}">
                <a16:creationId xmlns:a16="http://schemas.microsoft.com/office/drawing/2014/main" id="{37CD345D-C54A-A83D-409E-E416EFCC3B75}"/>
              </a:ext>
            </a:extLst>
          </p:cNvPr>
          <p:cNvSpPr/>
          <p:nvPr/>
        </p:nvSpPr>
        <p:spPr>
          <a:xfrm>
            <a:off x="5305010" y="3978819"/>
            <a:ext cx="3784791" cy="950423"/>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8" name="四角形: 角を丸くする 7">
            <a:extLst>
              <a:ext uri="{FF2B5EF4-FFF2-40B4-BE49-F238E27FC236}">
                <a16:creationId xmlns:a16="http://schemas.microsoft.com/office/drawing/2014/main" id="{D6356A98-C5CA-1CF0-2468-66816D4503C0}"/>
              </a:ext>
            </a:extLst>
          </p:cNvPr>
          <p:cNvSpPr/>
          <p:nvPr/>
        </p:nvSpPr>
        <p:spPr>
          <a:xfrm>
            <a:off x="1470209" y="5244836"/>
            <a:ext cx="830263" cy="1001272"/>
          </a:xfrm>
          <a:prstGeom prst="round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a:solidFill>
                <a:schemeClr val="tx1"/>
              </a:solidFill>
              <a:latin typeface="Meiryo UI" panose="020B0604030504040204" pitchFamily="50" charset="-128"/>
              <a:ea typeface="Meiryo UI" panose="020B0604030504040204" pitchFamily="50" charset="-128"/>
            </a:endParaRPr>
          </a:p>
        </p:txBody>
      </p:sp>
      <p:sp>
        <p:nvSpPr>
          <p:cNvPr id="57" name="Text Placeholder 3">
            <a:extLst>
              <a:ext uri="{FF2B5EF4-FFF2-40B4-BE49-F238E27FC236}">
                <a16:creationId xmlns:a16="http://schemas.microsoft.com/office/drawing/2014/main" id="{B0CE441A-4D64-4D32-B2ED-AED5FAC5C97A}"/>
              </a:ext>
            </a:extLst>
          </p:cNvPr>
          <p:cNvSpPr>
            <a:spLocks noGrp="1"/>
          </p:cNvSpPr>
          <p:nvPr>
            <p:custDataLst>
              <p:tags r:id="rId17"/>
            </p:custDataLst>
          </p:nvPr>
        </p:nvSpPr>
        <p:spPr bwMode="gray">
          <a:xfrm>
            <a:off x="1740240" y="5970749"/>
            <a:ext cx="288925" cy="334960"/>
          </a:xfrm>
          <a:prstGeom prst="rect">
            <a:avLst/>
          </a:prstGeom>
          <a:solidFill>
            <a:schemeClr val="bg2"/>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r>
              <a:rPr lang="en-US" altLang="en-US" sz="1400">
                <a:solidFill>
                  <a:schemeClr val="bg1"/>
                </a:solidFill>
                <a:latin typeface="Meiryo UI" panose="020B0604030504040204" pitchFamily="50" charset="-128"/>
                <a:ea typeface="Meiryo UI" panose="020B0604030504040204" pitchFamily="50" charset="-128"/>
                <a:sym typeface="Meiryo UI" panose="020B0604030504040204" pitchFamily="50" charset="-128"/>
              </a:rPr>
              <a:t>3.5</a:t>
            </a:r>
            <a:endParaRPr lang="en-US" sz="1400">
              <a:solidFill>
                <a:schemeClr val="bg1"/>
              </a:solidFill>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12082180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72ED7E-ACCA-FAE3-7927-4DDAA6B82AD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BA30B13F-D48B-1A37-7D32-AE549E46CF35}"/>
              </a:ext>
            </a:extLst>
          </p:cNvPr>
          <p:cNvSpPr>
            <a:spLocks noGrp="1"/>
          </p:cNvSpPr>
          <p:nvPr>
            <p:ph type="title"/>
          </p:nvPr>
        </p:nvSpPr>
        <p:spPr/>
        <p:txBody>
          <a:bodyPr/>
          <a:lstStyle/>
          <a:p>
            <a:r>
              <a:rPr lang="ja-JP" altLang="en-US" dirty="0"/>
              <a:t>大阪市</a:t>
            </a:r>
            <a:r>
              <a:rPr kumimoji="1" lang="ja-JP" altLang="en-US" dirty="0"/>
              <a:t>の</a:t>
            </a:r>
            <a:r>
              <a:rPr kumimoji="1" lang="en-US" altLang="ja-JP" dirty="0"/>
              <a:t>CO</a:t>
            </a:r>
            <a:r>
              <a:rPr kumimoji="1" lang="en-US" altLang="ja-JP" baseline="-25000" dirty="0"/>
              <a:t>2</a:t>
            </a:r>
            <a:r>
              <a:rPr kumimoji="1" lang="ja-JP" altLang="en-US" dirty="0"/>
              <a:t>排出状況①</a:t>
            </a:r>
          </a:p>
        </p:txBody>
      </p:sp>
      <p:sp>
        <p:nvSpPr>
          <p:cNvPr id="3" name="コンテンツ プレースホルダー 2">
            <a:extLst>
              <a:ext uri="{FF2B5EF4-FFF2-40B4-BE49-F238E27FC236}">
                <a16:creationId xmlns:a16="http://schemas.microsoft.com/office/drawing/2014/main" id="{0D4CDA93-51F3-DF43-376E-306407658682}"/>
              </a:ext>
            </a:extLst>
          </p:cNvPr>
          <p:cNvSpPr>
            <a:spLocks noGrp="1"/>
          </p:cNvSpPr>
          <p:nvPr>
            <p:ph sz="quarter" idx="13"/>
          </p:nvPr>
        </p:nvSpPr>
        <p:spPr>
          <a:xfrm>
            <a:off x="150025" y="1007807"/>
            <a:ext cx="9605953" cy="1065828"/>
          </a:xfrm>
        </p:spPr>
        <p:txBody>
          <a:bodyPr/>
          <a:lstStyle/>
          <a:p>
            <a:r>
              <a:rPr lang="ja-JP" altLang="en-US" sz="2400" dirty="0"/>
              <a:t>産業</a:t>
            </a:r>
            <a:r>
              <a:rPr lang="en-US" altLang="ja-JP" sz="2400" dirty="0"/>
              <a:t>15</a:t>
            </a:r>
            <a:r>
              <a:rPr lang="ja-JP" altLang="en-US" sz="2400" dirty="0"/>
              <a:t>％、業務その他</a:t>
            </a:r>
            <a:r>
              <a:rPr lang="ja-JP" altLang="en-US" sz="1600" dirty="0"/>
              <a:t>（オフィスビルなど）</a:t>
            </a:r>
            <a:r>
              <a:rPr lang="en-US" altLang="ja-JP" sz="2400" dirty="0"/>
              <a:t>40</a:t>
            </a:r>
            <a:r>
              <a:rPr lang="ja-JP" altLang="en-US" sz="2400" dirty="0"/>
              <a:t>％、</a:t>
            </a:r>
            <a:br>
              <a:rPr lang="en-US" altLang="ja-JP" sz="2400" dirty="0"/>
            </a:br>
            <a:r>
              <a:rPr lang="ja-JP" altLang="en-US" sz="2400" dirty="0"/>
              <a:t>家庭</a:t>
            </a:r>
            <a:r>
              <a:rPr lang="en-US" altLang="ja-JP" sz="2400" dirty="0"/>
              <a:t>25</a:t>
            </a:r>
            <a:r>
              <a:rPr lang="ja-JP" altLang="en-US" sz="2400" dirty="0"/>
              <a:t>％、運輸</a:t>
            </a:r>
            <a:r>
              <a:rPr lang="ja-JP" altLang="en-US" sz="1600" dirty="0"/>
              <a:t>（自動車など）</a:t>
            </a:r>
            <a:r>
              <a:rPr lang="en-US" altLang="ja-JP" sz="2400" dirty="0"/>
              <a:t>15</a:t>
            </a:r>
            <a:r>
              <a:rPr lang="ja-JP" altLang="en-US" sz="2400" dirty="0"/>
              <a:t>％</a:t>
            </a:r>
            <a:endParaRPr kumimoji="1" lang="ja-JP" altLang="en-US" sz="2400" dirty="0"/>
          </a:p>
        </p:txBody>
      </p:sp>
      <p:graphicFrame>
        <p:nvGraphicFramePr>
          <p:cNvPr id="6" name="部門・分野別の温室効果ガス（CO2）排出量の経年変化">
            <a:extLst>
              <a:ext uri="{FF2B5EF4-FFF2-40B4-BE49-F238E27FC236}">
                <a16:creationId xmlns:a16="http://schemas.microsoft.com/office/drawing/2014/main" id="{52F456B0-87B0-4CDA-9CA0-36C997B487BA}"/>
              </a:ext>
            </a:extLst>
          </p:cNvPr>
          <p:cNvGraphicFramePr>
            <a:graphicFrameLocks/>
          </p:cNvGraphicFramePr>
          <p:nvPr/>
        </p:nvGraphicFramePr>
        <p:xfrm>
          <a:off x="437890" y="2373923"/>
          <a:ext cx="9318088" cy="4428015"/>
        </p:xfrm>
        <a:graphic>
          <a:graphicData uri="http://schemas.openxmlformats.org/drawingml/2006/chart">
            <c:chart xmlns:c="http://schemas.openxmlformats.org/drawingml/2006/chart" xmlns:r="http://schemas.openxmlformats.org/officeDocument/2006/relationships" r:id="rId2"/>
          </a:graphicData>
        </a:graphic>
      </p:graphicFrame>
      <p:sp>
        <p:nvSpPr>
          <p:cNvPr id="4" name="吹き出し: 角を丸めた四角形 3">
            <a:extLst>
              <a:ext uri="{FF2B5EF4-FFF2-40B4-BE49-F238E27FC236}">
                <a16:creationId xmlns:a16="http://schemas.microsoft.com/office/drawing/2014/main" id="{0B1433DB-FABE-B640-6C92-33EAD693E29B}"/>
              </a:ext>
            </a:extLst>
          </p:cNvPr>
          <p:cNvSpPr/>
          <p:nvPr/>
        </p:nvSpPr>
        <p:spPr>
          <a:xfrm>
            <a:off x="5029200" y="2175692"/>
            <a:ext cx="2326640" cy="862823"/>
          </a:xfrm>
          <a:prstGeom prst="wedgeRoundRectCallout">
            <a:avLst>
              <a:gd name="adj1" fmla="val 46448"/>
              <a:gd name="adj2" fmla="val 132896"/>
              <a:gd name="adj3" fmla="val 16667"/>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600" dirty="0">
                <a:solidFill>
                  <a:schemeClr val="tx1"/>
                </a:solidFill>
                <a:latin typeface="Meiryo UI" panose="020B0604030504040204" pitchFamily="50" charset="-128"/>
                <a:ea typeface="Meiryo UI" panose="020B0604030504040204" pitchFamily="50" charset="-128"/>
              </a:rPr>
              <a:t>2013</a:t>
            </a:r>
            <a:r>
              <a:rPr kumimoji="1" lang="ja-JP" altLang="en-US" sz="1600" dirty="0">
                <a:solidFill>
                  <a:schemeClr val="tx1"/>
                </a:solidFill>
                <a:latin typeface="Meiryo UI" panose="020B0604030504040204" pitchFamily="50" charset="-128"/>
                <a:ea typeface="Meiryo UI" panose="020B0604030504040204" pitchFamily="50" charset="-128"/>
              </a:rPr>
              <a:t>年（平成</a:t>
            </a:r>
            <a:r>
              <a:rPr kumimoji="1" lang="en-US" altLang="ja-JP" sz="1600" dirty="0">
                <a:solidFill>
                  <a:schemeClr val="tx1"/>
                </a:solidFill>
                <a:latin typeface="Meiryo UI" panose="020B0604030504040204" pitchFamily="50" charset="-128"/>
                <a:ea typeface="Meiryo UI" panose="020B0604030504040204" pitchFamily="50" charset="-128"/>
              </a:rPr>
              <a:t>25</a:t>
            </a:r>
            <a:r>
              <a:rPr kumimoji="1" lang="ja-JP" altLang="en-US" sz="1600" dirty="0">
                <a:solidFill>
                  <a:schemeClr val="tx1"/>
                </a:solidFill>
                <a:latin typeface="Meiryo UI" panose="020B0604030504040204" pitchFamily="50" charset="-128"/>
                <a:ea typeface="Meiryo UI" panose="020B0604030504040204" pitchFamily="50" charset="-128"/>
              </a:rPr>
              <a:t>年）と比べて、約</a:t>
            </a:r>
            <a:r>
              <a:rPr lang="en-US" altLang="ja-JP" sz="1600" dirty="0">
                <a:solidFill>
                  <a:schemeClr val="tx1"/>
                </a:solidFill>
                <a:latin typeface="Meiryo UI" panose="020B0604030504040204" pitchFamily="50" charset="-128"/>
                <a:ea typeface="Meiryo UI" panose="020B0604030504040204" pitchFamily="50" charset="-128"/>
              </a:rPr>
              <a:t>30%</a:t>
            </a:r>
            <a:r>
              <a:rPr lang="ja-JP" altLang="en-US" sz="1600" dirty="0">
                <a:solidFill>
                  <a:schemeClr val="tx1"/>
                </a:solidFill>
                <a:latin typeface="Meiryo UI" panose="020B0604030504040204" pitchFamily="50" charset="-128"/>
                <a:ea typeface="Meiryo UI" panose="020B0604030504040204" pitchFamily="50" charset="-128"/>
              </a:rPr>
              <a:t>減少</a:t>
            </a:r>
            <a:endParaRPr lang="en-US" altLang="ja-JP" sz="1600" dirty="0">
              <a:solidFill>
                <a:schemeClr val="tx1"/>
              </a:solidFill>
              <a:latin typeface="Meiryo UI" panose="020B0604030504040204" pitchFamily="50" charset="-128"/>
              <a:ea typeface="Meiryo UI" panose="020B0604030504040204" pitchFamily="50" charset="-128"/>
            </a:endParaRPr>
          </a:p>
        </p:txBody>
      </p:sp>
      <p:sp>
        <p:nvSpPr>
          <p:cNvPr id="7" name="四角形: 角を丸くする 6">
            <a:extLst>
              <a:ext uri="{FF2B5EF4-FFF2-40B4-BE49-F238E27FC236}">
                <a16:creationId xmlns:a16="http://schemas.microsoft.com/office/drawing/2014/main" id="{5CBEC606-6763-4E54-30AA-11EEB473DE26}"/>
              </a:ext>
            </a:extLst>
          </p:cNvPr>
          <p:cNvSpPr/>
          <p:nvPr/>
        </p:nvSpPr>
        <p:spPr>
          <a:xfrm flipH="1">
            <a:off x="4404946" y="3165231"/>
            <a:ext cx="272562" cy="2804746"/>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9" name="四角形: 角を丸くする 8">
            <a:extLst>
              <a:ext uri="{FF2B5EF4-FFF2-40B4-BE49-F238E27FC236}">
                <a16:creationId xmlns:a16="http://schemas.microsoft.com/office/drawing/2014/main" id="{97E4DBEA-02AB-B3D3-1A68-93123AF40C17}"/>
              </a:ext>
            </a:extLst>
          </p:cNvPr>
          <p:cNvSpPr/>
          <p:nvPr/>
        </p:nvSpPr>
        <p:spPr>
          <a:xfrm flipH="1">
            <a:off x="7288433" y="3974123"/>
            <a:ext cx="272562" cy="201618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3562736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グラフ 10">
            <a:extLst>
              <a:ext uri="{FF2B5EF4-FFF2-40B4-BE49-F238E27FC236}">
                <a16:creationId xmlns:a16="http://schemas.microsoft.com/office/drawing/2014/main" id="{151DABF8-636D-4DF9-9AB5-B531B38EA26C}"/>
              </a:ext>
            </a:extLst>
          </p:cNvPr>
          <p:cNvGraphicFramePr>
            <a:graphicFrameLocks/>
          </p:cNvGraphicFramePr>
          <p:nvPr/>
        </p:nvGraphicFramePr>
        <p:xfrm>
          <a:off x="150025" y="1866375"/>
          <a:ext cx="9412252" cy="4900711"/>
        </p:xfrm>
        <a:graphic>
          <a:graphicData uri="http://schemas.openxmlformats.org/drawingml/2006/chart">
            <c:chart xmlns:c="http://schemas.openxmlformats.org/drawingml/2006/chart" xmlns:r="http://schemas.openxmlformats.org/officeDocument/2006/relationships" r:id="rId2"/>
          </a:graphicData>
        </a:graphic>
      </p:graphicFrame>
      <p:sp>
        <p:nvSpPr>
          <p:cNvPr id="2" name="タイトル 1">
            <a:extLst>
              <a:ext uri="{FF2B5EF4-FFF2-40B4-BE49-F238E27FC236}">
                <a16:creationId xmlns:a16="http://schemas.microsoft.com/office/drawing/2014/main" id="{4BABDEB9-2F72-02EB-AED2-34A9C3C81A2B}"/>
              </a:ext>
            </a:extLst>
          </p:cNvPr>
          <p:cNvSpPr>
            <a:spLocks noGrp="1"/>
          </p:cNvSpPr>
          <p:nvPr>
            <p:ph type="title"/>
          </p:nvPr>
        </p:nvSpPr>
        <p:spPr/>
        <p:txBody>
          <a:bodyPr/>
          <a:lstStyle/>
          <a:p>
            <a:r>
              <a:rPr lang="ja-JP" altLang="en-US" dirty="0"/>
              <a:t>大阪市</a:t>
            </a:r>
            <a:r>
              <a:rPr kumimoji="1" lang="ja-JP" altLang="en-US" dirty="0"/>
              <a:t>の</a:t>
            </a:r>
            <a:r>
              <a:rPr kumimoji="1" lang="en-US" altLang="ja-JP" dirty="0"/>
              <a:t>CO</a:t>
            </a:r>
            <a:r>
              <a:rPr kumimoji="1" lang="en-US" altLang="ja-JP" baseline="-25000" dirty="0"/>
              <a:t>2</a:t>
            </a:r>
            <a:r>
              <a:rPr kumimoji="1" lang="ja-JP" altLang="en-US" dirty="0"/>
              <a:t>排出状況➁</a:t>
            </a:r>
          </a:p>
        </p:txBody>
      </p:sp>
      <p:sp>
        <p:nvSpPr>
          <p:cNvPr id="3" name="コンテンツ プレースホルダー 2">
            <a:extLst>
              <a:ext uri="{FF2B5EF4-FFF2-40B4-BE49-F238E27FC236}">
                <a16:creationId xmlns:a16="http://schemas.microsoft.com/office/drawing/2014/main" id="{CA8FF47B-9348-BC01-8068-4EE118DC5DEE}"/>
              </a:ext>
            </a:extLst>
          </p:cNvPr>
          <p:cNvSpPr>
            <a:spLocks noGrp="1"/>
          </p:cNvSpPr>
          <p:nvPr>
            <p:ph sz="quarter" idx="13"/>
          </p:nvPr>
        </p:nvSpPr>
        <p:spPr>
          <a:xfrm>
            <a:off x="150025" y="1007807"/>
            <a:ext cx="9605953" cy="696496"/>
          </a:xfrm>
        </p:spPr>
        <p:txBody>
          <a:bodyPr/>
          <a:lstStyle/>
          <a:p>
            <a:r>
              <a:rPr kumimoji="1" lang="ja-JP" altLang="en-US" sz="2400" dirty="0"/>
              <a:t>全国平均と比べて</a:t>
            </a:r>
            <a:r>
              <a:rPr kumimoji="1" lang="en-US" altLang="ja-JP" sz="2400" dirty="0"/>
              <a:t>…</a:t>
            </a:r>
            <a:r>
              <a:rPr kumimoji="1" lang="ja-JP" altLang="en-US" sz="2400" dirty="0"/>
              <a:t>業務その他</a:t>
            </a:r>
            <a:r>
              <a:rPr kumimoji="1" lang="ja-JP" altLang="en-US" sz="1600" dirty="0"/>
              <a:t>（オフィスなど）</a:t>
            </a:r>
            <a:r>
              <a:rPr kumimoji="1" lang="ja-JP" altLang="en-US" sz="2400" dirty="0"/>
              <a:t>・家庭からの排出が多い</a:t>
            </a:r>
            <a:endParaRPr lang="en-US" altLang="ja-JP" sz="2400" dirty="0"/>
          </a:p>
        </p:txBody>
      </p:sp>
      <p:sp>
        <p:nvSpPr>
          <p:cNvPr id="4" name="四角形: 角を丸くする 3">
            <a:extLst>
              <a:ext uri="{FF2B5EF4-FFF2-40B4-BE49-F238E27FC236}">
                <a16:creationId xmlns:a16="http://schemas.microsoft.com/office/drawing/2014/main" id="{BEB5AC00-E856-C688-F9E7-9E1771F0E0A4}"/>
              </a:ext>
            </a:extLst>
          </p:cNvPr>
          <p:cNvSpPr/>
          <p:nvPr/>
        </p:nvSpPr>
        <p:spPr>
          <a:xfrm>
            <a:off x="5725669" y="2443008"/>
            <a:ext cx="2097412" cy="690472"/>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6" name="四角形: 角を丸くする 5">
            <a:extLst>
              <a:ext uri="{FF2B5EF4-FFF2-40B4-BE49-F238E27FC236}">
                <a16:creationId xmlns:a16="http://schemas.microsoft.com/office/drawing/2014/main" id="{B0F75EB4-2579-D02A-CC5E-943A2FBFA92F}"/>
              </a:ext>
            </a:extLst>
          </p:cNvPr>
          <p:cNvSpPr/>
          <p:nvPr/>
        </p:nvSpPr>
        <p:spPr>
          <a:xfrm>
            <a:off x="6137226" y="4603877"/>
            <a:ext cx="1432560" cy="627702"/>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7" name="四角形: 角を丸くする 6">
            <a:extLst>
              <a:ext uri="{FF2B5EF4-FFF2-40B4-BE49-F238E27FC236}">
                <a16:creationId xmlns:a16="http://schemas.microsoft.com/office/drawing/2014/main" id="{E2B57F8F-415D-3486-6E06-3417FFD26063}"/>
              </a:ext>
            </a:extLst>
          </p:cNvPr>
          <p:cNvSpPr/>
          <p:nvPr/>
        </p:nvSpPr>
        <p:spPr>
          <a:xfrm>
            <a:off x="5725669" y="5968111"/>
            <a:ext cx="1575816" cy="354322"/>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2" name="四角形: 角を丸くする 11">
            <a:extLst>
              <a:ext uri="{FF2B5EF4-FFF2-40B4-BE49-F238E27FC236}">
                <a16:creationId xmlns:a16="http://schemas.microsoft.com/office/drawing/2014/main" id="{C25CB380-70B6-0450-9955-F22A2E4E4B97}"/>
              </a:ext>
            </a:extLst>
          </p:cNvPr>
          <p:cNvSpPr/>
          <p:nvPr/>
        </p:nvSpPr>
        <p:spPr>
          <a:xfrm>
            <a:off x="2426677" y="2443008"/>
            <a:ext cx="3310292" cy="690472"/>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3" name="四角形: 角を丸くする 12">
            <a:extLst>
              <a:ext uri="{FF2B5EF4-FFF2-40B4-BE49-F238E27FC236}">
                <a16:creationId xmlns:a16="http://schemas.microsoft.com/office/drawing/2014/main" id="{22EDECB3-64CB-CE44-062B-7F8FC536D7E0}"/>
              </a:ext>
            </a:extLst>
          </p:cNvPr>
          <p:cNvSpPr/>
          <p:nvPr/>
        </p:nvSpPr>
        <p:spPr>
          <a:xfrm>
            <a:off x="4619088" y="4603877"/>
            <a:ext cx="1518138" cy="627702"/>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
        <p:nvSpPr>
          <p:cNvPr id="14" name="四角形: 角を丸くする 13">
            <a:extLst>
              <a:ext uri="{FF2B5EF4-FFF2-40B4-BE49-F238E27FC236}">
                <a16:creationId xmlns:a16="http://schemas.microsoft.com/office/drawing/2014/main" id="{179DA4B5-5A29-6CA2-7F6E-3A1C513C6397}"/>
              </a:ext>
            </a:extLst>
          </p:cNvPr>
          <p:cNvSpPr/>
          <p:nvPr/>
        </p:nvSpPr>
        <p:spPr>
          <a:xfrm>
            <a:off x="2149939" y="6322433"/>
            <a:ext cx="1575816" cy="354322"/>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50100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fade">
                                      <p:cBhvr>
                                        <p:cTn id="16" dur="500"/>
                                        <p:tgtEl>
                                          <p:spTgt spid="1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12" grpId="0" animBg="1"/>
      <p:bldP spid="13" grpId="0" animBg="1"/>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F79BF2-1E84-47CA-90AB-4D68361B14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92" imgH="591" progId="TCLayout.ActiveDocument.1">
                  <p:embed/>
                </p:oleObj>
              </mc:Choice>
              <mc:Fallback>
                <p:oleObj name="think-cell スライド" r:id="rId3" imgW="592" imgH="591" progId="TCLayout.ActiveDocument.1">
                  <p:embed/>
                  <p:pic>
                    <p:nvPicPr>
                      <p:cNvPr id="3" name="Object 2" hidden="1">
                        <a:extLst>
                          <a:ext uri="{FF2B5EF4-FFF2-40B4-BE49-F238E27FC236}">
                            <a16:creationId xmlns:a16="http://schemas.microsoft.com/office/drawing/2014/main" id="{76F79BF2-1E84-47CA-90AB-4D68361B14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矢印: 右 1">
            <a:extLst>
              <a:ext uri="{FF2B5EF4-FFF2-40B4-BE49-F238E27FC236}">
                <a16:creationId xmlns:a16="http://schemas.microsoft.com/office/drawing/2014/main" id="{18975362-9DFB-4510-8270-6CC73E1DAAEB}"/>
              </a:ext>
            </a:extLst>
          </p:cNvPr>
          <p:cNvSpPr/>
          <p:nvPr/>
        </p:nvSpPr>
        <p:spPr>
          <a:xfrm>
            <a:off x="-1780" y="3620485"/>
            <a:ext cx="9907779" cy="1243385"/>
          </a:xfrm>
          <a:prstGeom prst="rightArrow">
            <a:avLst>
              <a:gd name="adj1" fmla="val 50000"/>
              <a:gd name="adj2" fmla="val 46558"/>
            </a:avLst>
          </a:prstGeom>
          <a:gradFill flip="none" rotWithShape="1">
            <a:gsLst>
              <a:gs pos="50000">
                <a:schemeClr val="tx2"/>
              </a:gs>
              <a:gs pos="0">
                <a:srgbClr val="E2E2E2"/>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endParaRPr>
          </a:p>
        </p:txBody>
      </p:sp>
      <p:sp>
        <p:nvSpPr>
          <p:cNvPr id="5" name="タイトル 4"/>
          <p:cNvSpPr>
            <a:spLocks noGrp="1"/>
          </p:cNvSpPr>
          <p:nvPr>
            <p:ph type="title"/>
          </p:nvPr>
        </p:nvSpPr>
        <p:spPr>
          <a:xfrm>
            <a:off x="181069" y="257881"/>
            <a:ext cx="9297676" cy="587854"/>
          </a:xfrm>
        </p:spPr>
        <p:txBody>
          <a:bodyPr vert="horz"/>
          <a:lstStyle/>
          <a:p>
            <a:r>
              <a:rPr lang="ja-JP" altLang="en-US" sz="2400" dirty="0"/>
              <a:t>「デコ活」</a:t>
            </a:r>
            <a:r>
              <a:rPr lang="ja-JP" altLang="en-US" sz="2000" dirty="0"/>
              <a:t>（脱炭素につながる新しい豊かな暮らしを創る国民運動）</a:t>
            </a:r>
            <a:r>
              <a:rPr lang="ja-JP" altLang="en-US" sz="2400" dirty="0"/>
              <a:t>とは</a:t>
            </a:r>
            <a:endParaRPr lang="ja-JP" altLang="en-US" sz="2400" dirty="0">
              <a:latin typeface="+mn-lt"/>
              <a:ea typeface="+mn-ea"/>
            </a:endParaRPr>
          </a:p>
        </p:txBody>
      </p:sp>
      <p:sp>
        <p:nvSpPr>
          <p:cNvPr id="9" name="正方形/長方形 9">
            <a:extLst>
              <a:ext uri="{FF2B5EF4-FFF2-40B4-BE49-F238E27FC236}">
                <a16:creationId xmlns:a16="http://schemas.microsoft.com/office/drawing/2014/main" id="{E5E99632-6879-4F6D-9ED4-68DF0381A0B1}"/>
              </a:ext>
            </a:extLst>
          </p:cNvPr>
          <p:cNvSpPr/>
          <p:nvPr/>
        </p:nvSpPr>
        <p:spPr>
          <a:xfrm>
            <a:off x="412507" y="1050199"/>
            <a:ext cx="9080986" cy="587853"/>
          </a:xfrm>
          <a:prstGeom prst="rect">
            <a:avLst/>
          </a:prstGeom>
          <a:noFill/>
          <a:ln w="28575">
            <a:solidFill>
              <a:srgbClr val="00584E"/>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265113" indent="-176213"/>
            <a:r>
              <a:rPr lang="ja-JP" altLang="en-US" sz="1600" dirty="0">
                <a:solidFill>
                  <a:prstClr val="black"/>
                </a:solidFill>
              </a:rPr>
              <a:t>○ 脱炭素につながる</a:t>
            </a:r>
            <a:r>
              <a:rPr lang="ja-JP" altLang="en-US" sz="2000" b="1" dirty="0">
                <a:solidFill>
                  <a:schemeClr val="tx2"/>
                </a:solidFill>
              </a:rPr>
              <a:t>新しい豊かな暮らし</a:t>
            </a:r>
            <a:r>
              <a:rPr lang="ja-JP" altLang="en-US" sz="1600" dirty="0">
                <a:solidFill>
                  <a:prstClr val="black"/>
                </a:solidFill>
              </a:rPr>
              <a:t>の実現に向けた国民の行動変容、ライフスタイル転換のうねり・</a:t>
            </a:r>
            <a:endParaRPr lang="en-US" altLang="ja-JP" sz="1600" dirty="0">
              <a:solidFill>
                <a:prstClr val="black"/>
              </a:solidFill>
            </a:endParaRPr>
          </a:p>
          <a:p>
            <a:pPr marL="265113" indent="-176213"/>
            <a:r>
              <a:rPr lang="ja-JP" altLang="en-US" sz="1600" dirty="0">
                <a:solidFill>
                  <a:prstClr val="black"/>
                </a:solidFill>
              </a:rPr>
              <a:t>　　ムーブメントを起こすべく、新しい国民運動を開始し、世界に発信します。</a:t>
            </a:r>
            <a:endParaRPr kumimoji="1" lang="ja-JP" altLang="en-US" sz="1600" dirty="0">
              <a:solidFill>
                <a:prstClr val="black"/>
              </a:solidFill>
            </a:endParaRPr>
          </a:p>
        </p:txBody>
      </p:sp>
      <p:cxnSp>
        <p:nvCxnSpPr>
          <p:cNvPr id="6" name="直線コネクタ 5">
            <a:extLst>
              <a:ext uri="{FF2B5EF4-FFF2-40B4-BE49-F238E27FC236}">
                <a16:creationId xmlns:a16="http://schemas.microsoft.com/office/drawing/2014/main" id="{7B3CD7B5-3319-4603-A403-AAA5DFCB6F04}"/>
              </a:ext>
            </a:extLst>
          </p:cNvPr>
          <p:cNvCxnSpPr>
            <a:cxnSpLocks/>
          </p:cNvCxnSpPr>
          <p:nvPr/>
        </p:nvCxnSpPr>
        <p:spPr>
          <a:xfrm>
            <a:off x="0" y="4242178"/>
            <a:ext cx="9486900" cy="0"/>
          </a:xfrm>
          <a:prstGeom prst="line">
            <a:avLst/>
          </a:prstGeom>
          <a:ln w="34925" cap="rnd" cmpd="sng" algn="ctr">
            <a:solidFill>
              <a:srgbClr val="FFFFFF"/>
            </a:solidFill>
            <a:prstDash val="sys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四角形: 角を丸くする 11">
            <a:extLst>
              <a:ext uri="{FF2B5EF4-FFF2-40B4-BE49-F238E27FC236}">
                <a16:creationId xmlns:a16="http://schemas.microsoft.com/office/drawing/2014/main" id="{48738DB7-0345-414A-A761-EC5D89A0057A}"/>
              </a:ext>
            </a:extLst>
          </p:cNvPr>
          <p:cNvSpPr/>
          <p:nvPr/>
        </p:nvSpPr>
        <p:spPr>
          <a:xfrm>
            <a:off x="412506" y="1775205"/>
            <a:ext cx="2704668" cy="4933946"/>
          </a:xfrm>
          <a:prstGeom prst="roundRect">
            <a:avLst>
              <a:gd name="adj" fmla="val 1997"/>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endParaRPr>
          </a:p>
        </p:txBody>
      </p:sp>
      <p:sp>
        <p:nvSpPr>
          <p:cNvPr id="24" name="四角形: 角を丸くする 23">
            <a:extLst>
              <a:ext uri="{FF2B5EF4-FFF2-40B4-BE49-F238E27FC236}">
                <a16:creationId xmlns:a16="http://schemas.microsoft.com/office/drawing/2014/main" id="{00D01EB6-52D6-4F98-85F9-BFA4C55EAC1E}"/>
              </a:ext>
            </a:extLst>
          </p:cNvPr>
          <p:cNvSpPr/>
          <p:nvPr/>
        </p:nvSpPr>
        <p:spPr>
          <a:xfrm>
            <a:off x="3454493" y="1775205"/>
            <a:ext cx="2704668" cy="2368168"/>
          </a:xfrm>
          <a:prstGeom prst="roundRect">
            <a:avLst>
              <a:gd name="adj" fmla="val 22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endParaRPr>
          </a:p>
        </p:txBody>
      </p:sp>
      <p:sp>
        <p:nvSpPr>
          <p:cNvPr id="27" name="四角形: 角を丸くする 26">
            <a:extLst>
              <a:ext uri="{FF2B5EF4-FFF2-40B4-BE49-F238E27FC236}">
                <a16:creationId xmlns:a16="http://schemas.microsoft.com/office/drawing/2014/main" id="{9F1920A7-D924-433E-AC87-2EB20CC2282E}"/>
              </a:ext>
            </a:extLst>
          </p:cNvPr>
          <p:cNvSpPr/>
          <p:nvPr/>
        </p:nvSpPr>
        <p:spPr>
          <a:xfrm>
            <a:off x="3454493" y="4340983"/>
            <a:ext cx="2704668" cy="2368168"/>
          </a:xfrm>
          <a:prstGeom prst="roundRect">
            <a:avLst>
              <a:gd name="adj" fmla="val 22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endParaRPr>
          </a:p>
        </p:txBody>
      </p:sp>
      <p:sp>
        <p:nvSpPr>
          <p:cNvPr id="29" name="四角形: 角を丸くする 28">
            <a:extLst>
              <a:ext uri="{FF2B5EF4-FFF2-40B4-BE49-F238E27FC236}">
                <a16:creationId xmlns:a16="http://schemas.microsoft.com/office/drawing/2014/main" id="{A87B787F-8A78-4592-B81E-BB0AEF7901B6}"/>
              </a:ext>
            </a:extLst>
          </p:cNvPr>
          <p:cNvSpPr/>
          <p:nvPr/>
        </p:nvSpPr>
        <p:spPr>
          <a:xfrm>
            <a:off x="6496481" y="1775205"/>
            <a:ext cx="2704668" cy="4933946"/>
          </a:xfrm>
          <a:prstGeom prst="roundRect">
            <a:avLst>
              <a:gd name="adj" fmla="val 199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endParaRPr>
          </a:p>
        </p:txBody>
      </p:sp>
      <p:sp>
        <p:nvSpPr>
          <p:cNvPr id="31" name="四角形: 角を丸くする 30">
            <a:extLst>
              <a:ext uri="{FF2B5EF4-FFF2-40B4-BE49-F238E27FC236}">
                <a16:creationId xmlns:a16="http://schemas.microsoft.com/office/drawing/2014/main" id="{227A23D3-BBDE-400E-9E13-E47BA370F026}"/>
              </a:ext>
            </a:extLst>
          </p:cNvPr>
          <p:cNvSpPr/>
          <p:nvPr/>
        </p:nvSpPr>
        <p:spPr>
          <a:xfrm>
            <a:off x="3547986" y="1857066"/>
            <a:ext cx="2517682" cy="2204446"/>
          </a:xfrm>
          <a:prstGeom prst="roundRect">
            <a:avLst>
              <a:gd name="adj" fmla="val 22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endParaRPr>
          </a:p>
        </p:txBody>
      </p:sp>
      <p:sp>
        <p:nvSpPr>
          <p:cNvPr id="32" name="四角形: 角を丸くする 31">
            <a:extLst>
              <a:ext uri="{FF2B5EF4-FFF2-40B4-BE49-F238E27FC236}">
                <a16:creationId xmlns:a16="http://schemas.microsoft.com/office/drawing/2014/main" id="{EFA228E0-CC44-40C0-9494-E04748CEE7D1}"/>
              </a:ext>
            </a:extLst>
          </p:cNvPr>
          <p:cNvSpPr/>
          <p:nvPr/>
        </p:nvSpPr>
        <p:spPr>
          <a:xfrm>
            <a:off x="3547986" y="4422844"/>
            <a:ext cx="2517682" cy="2204446"/>
          </a:xfrm>
          <a:prstGeom prst="roundRect">
            <a:avLst>
              <a:gd name="adj" fmla="val 22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endParaRPr>
          </a:p>
        </p:txBody>
      </p:sp>
      <p:sp>
        <p:nvSpPr>
          <p:cNvPr id="33" name="四角形: 角を丸くする 32">
            <a:extLst>
              <a:ext uri="{FF2B5EF4-FFF2-40B4-BE49-F238E27FC236}">
                <a16:creationId xmlns:a16="http://schemas.microsoft.com/office/drawing/2014/main" id="{96984F39-74FE-435D-A935-D109B240C230}"/>
              </a:ext>
            </a:extLst>
          </p:cNvPr>
          <p:cNvSpPr/>
          <p:nvPr/>
        </p:nvSpPr>
        <p:spPr>
          <a:xfrm>
            <a:off x="505999" y="1857066"/>
            <a:ext cx="2517682" cy="4770224"/>
          </a:xfrm>
          <a:prstGeom prst="roundRect">
            <a:avLst>
              <a:gd name="adj" fmla="val 22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endParaRPr>
          </a:p>
        </p:txBody>
      </p:sp>
      <p:sp>
        <p:nvSpPr>
          <p:cNvPr id="34" name="四角形: 角を丸くする 33">
            <a:extLst>
              <a:ext uri="{FF2B5EF4-FFF2-40B4-BE49-F238E27FC236}">
                <a16:creationId xmlns:a16="http://schemas.microsoft.com/office/drawing/2014/main" id="{68D939F1-424C-45B3-B9FA-EE338F227F44}"/>
              </a:ext>
            </a:extLst>
          </p:cNvPr>
          <p:cNvSpPr/>
          <p:nvPr/>
        </p:nvSpPr>
        <p:spPr>
          <a:xfrm>
            <a:off x="6589974" y="1857066"/>
            <a:ext cx="2517682" cy="4770224"/>
          </a:xfrm>
          <a:prstGeom prst="roundRect">
            <a:avLst>
              <a:gd name="adj" fmla="val 2280"/>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endParaRPr>
          </a:p>
        </p:txBody>
      </p:sp>
      <p:sp>
        <p:nvSpPr>
          <p:cNvPr id="35" name="正方形/長方形 34">
            <a:extLst>
              <a:ext uri="{FF2B5EF4-FFF2-40B4-BE49-F238E27FC236}">
                <a16:creationId xmlns:a16="http://schemas.microsoft.com/office/drawing/2014/main" id="{FE4D8FAE-2086-4D99-9781-4DEFCCD1E61C}"/>
              </a:ext>
            </a:extLst>
          </p:cNvPr>
          <p:cNvSpPr/>
          <p:nvPr/>
        </p:nvSpPr>
        <p:spPr>
          <a:xfrm>
            <a:off x="505999" y="1857066"/>
            <a:ext cx="2517682" cy="77669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lstStyle/>
          <a:p>
            <a:r>
              <a:rPr lang="ja-JP" altLang="en-US" sz="1600" dirty="0">
                <a:solidFill>
                  <a:schemeClr val="tx1"/>
                </a:solidFill>
              </a:rPr>
              <a:t>脱炭素の実現に向け、暮らし、ライフスタイルの分野でも大幅な</a:t>
            </a:r>
            <a:r>
              <a:rPr lang="en-US" altLang="ja-JP" sz="1600" dirty="0">
                <a:solidFill>
                  <a:schemeClr val="tx1"/>
                </a:solidFill>
              </a:rPr>
              <a:t>CO2</a:t>
            </a:r>
            <a:r>
              <a:rPr lang="ja-JP" altLang="en-US" sz="1600" dirty="0">
                <a:solidFill>
                  <a:schemeClr val="tx1"/>
                </a:solidFill>
              </a:rPr>
              <a:t>削減が求められます。</a:t>
            </a:r>
          </a:p>
        </p:txBody>
      </p:sp>
      <p:sp>
        <p:nvSpPr>
          <p:cNvPr id="41" name="正方形/長方形 40">
            <a:extLst>
              <a:ext uri="{FF2B5EF4-FFF2-40B4-BE49-F238E27FC236}">
                <a16:creationId xmlns:a16="http://schemas.microsoft.com/office/drawing/2014/main" id="{BF0552C8-9376-44F6-9192-D6F44E1E50CF}"/>
              </a:ext>
            </a:extLst>
          </p:cNvPr>
          <p:cNvSpPr/>
          <p:nvPr/>
        </p:nvSpPr>
        <p:spPr>
          <a:xfrm>
            <a:off x="505999" y="4422844"/>
            <a:ext cx="2517682" cy="77669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lstStyle/>
          <a:p>
            <a:r>
              <a:rPr lang="ja-JP" altLang="en-US" sz="1600" dirty="0">
                <a:solidFill>
                  <a:schemeClr val="tx1"/>
                </a:solidFill>
              </a:rPr>
              <a:t>しかし、国民・消費者の行動に具体的に結びついているとは、まだ言えない状況です。</a:t>
            </a:r>
          </a:p>
        </p:txBody>
      </p:sp>
      <p:sp>
        <p:nvSpPr>
          <p:cNvPr id="42" name="正方形/長方形 41">
            <a:extLst>
              <a:ext uri="{FF2B5EF4-FFF2-40B4-BE49-F238E27FC236}">
                <a16:creationId xmlns:a16="http://schemas.microsoft.com/office/drawing/2014/main" id="{D5ABC1BD-41F9-4455-9FD7-E4CB3CFCE894}"/>
              </a:ext>
            </a:extLst>
          </p:cNvPr>
          <p:cNvSpPr/>
          <p:nvPr/>
        </p:nvSpPr>
        <p:spPr>
          <a:xfrm>
            <a:off x="6589974" y="1857065"/>
            <a:ext cx="2517682" cy="3950735"/>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lstStyle/>
          <a:p>
            <a:r>
              <a:rPr lang="ja-JP" altLang="en-US" sz="1600" dirty="0">
                <a:solidFill>
                  <a:schemeClr val="bg2"/>
                </a:solidFill>
              </a:rPr>
              <a:t>国際的にも（</a:t>
            </a:r>
            <a:r>
              <a:rPr lang="en-US" altLang="ja-JP" sz="1600" dirty="0">
                <a:solidFill>
                  <a:schemeClr val="bg2"/>
                </a:solidFill>
              </a:rPr>
              <a:t>G7</a:t>
            </a:r>
            <a:r>
              <a:rPr lang="ja-JP" altLang="en-US" sz="1600" dirty="0">
                <a:solidFill>
                  <a:schemeClr val="bg2"/>
                </a:solidFill>
              </a:rPr>
              <a:t>・</a:t>
            </a:r>
            <a:r>
              <a:rPr lang="en-US" altLang="ja-JP" sz="1600" dirty="0">
                <a:solidFill>
                  <a:schemeClr val="bg2"/>
                </a:solidFill>
              </a:rPr>
              <a:t>G20</a:t>
            </a:r>
            <a:r>
              <a:rPr lang="ja-JP" altLang="en-US" sz="1600" dirty="0">
                <a:solidFill>
                  <a:schemeClr val="bg2"/>
                </a:solidFill>
              </a:rPr>
              <a:t>等において）、</a:t>
            </a:r>
          </a:p>
          <a:p>
            <a:pPr marL="330200" lvl="1" indent="-199571">
              <a:buClr>
                <a:schemeClr val="bg2"/>
              </a:buClr>
              <a:buFont typeface="Arial" panose="020B0604020202020204" pitchFamily="34" charset="0"/>
              <a:buChar char="•"/>
            </a:pPr>
            <a:r>
              <a:rPr lang="ja-JP" altLang="en-US" sz="1600" dirty="0">
                <a:solidFill>
                  <a:schemeClr val="bg2"/>
                </a:solidFill>
              </a:rPr>
              <a:t>我が国から</a:t>
            </a:r>
            <a:r>
              <a:rPr lang="ja-JP" altLang="en-US" sz="1600" b="1" dirty="0">
                <a:solidFill>
                  <a:schemeClr val="bg2"/>
                </a:solidFill>
              </a:rPr>
              <a:t>製品・サービスをパッケージにした新しいライフスタイル</a:t>
            </a:r>
            <a:r>
              <a:rPr lang="ja-JP" altLang="en-US" sz="1600" dirty="0">
                <a:solidFill>
                  <a:schemeClr val="bg2"/>
                </a:solidFill>
              </a:rPr>
              <a:t>の提案・発信</a:t>
            </a:r>
            <a:endParaRPr lang="en-US" altLang="ja-JP" sz="1600" dirty="0">
              <a:solidFill>
                <a:schemeClr val="bg2"/>
              </a:solidFill>
            </a:endParaRPr>
          </a:p>
          <a:p>
            <a:pPr marL="330200" lvl="1" indent="-199571">
              <a:buClr>
                <a:schemeClr val="bg2"/>
              </a:buClr>
              <a:buFont typeface="Arial" panose="020B0604020202020204" pitchFamily="34" charset="0"/>
              <a:buChar char="•"/>
            </a:pPr>
            <a:r>
              <a:rPr lang="ja-JP" altLang="en-US" sz="1600" b="1" dirty="0">
                <a:solidFill>
                  <a:schemeClr val="bg2"/>
                </a:solidFill>
              </a:rPr>
              <a:t>官民連携によるライフ</a:t>
            </a:r>
            <a:br>
              <a:rPr lang="en-US" altLang="ja-JP" sz="1600" b="1" dirty="0">
                <a:solidFill>
                  <a:schemeClr val="bg2"/>
                </a:solidFill>
              </a:rPr>
            </a:br>
            <a:r>
              <a:rPr lang="ja-JP" altLang="en-US" sz="1600" b="1" dirty="0">
                <a:solidFill>
                  <a:schemeClr val="bg2"/>
                </a:solidFill>
              </a:rPr>
              <a:t>スタイル・イノベーション</a:t>
            </a:r>
            <a:r>
              <a:rPr lang="ja-JP" altLang="en-US" sz="1600" dirty="0">
                <a:solidFill>
                  <a:schemeClr val="bg2"/>
                </a:solidFill>
              </a:rPr>
              <a:t>の国際協調を提案・発信</a:t>
            </a:r>
            <a:br>
              <a:rPr lang="en-US" altLang="ja-JP" sz="1600" b="1" dirty="0">
                <a:solidFill>
                  <a:schemeClr val="bg2"/>
                </a:solidFill>
              </a:rPr>
            </a:br>
            <a:endParaRPr lang="en-US" altLang="ja-JP" sz="1600" dirty="0">
              <a:solidFill>
                <a:schemeClr val="bg2"/>
              </a:solidFill>
            </a:endParaRPr>
          </a:p>
          <a:p>
            <a:endParaRPr lang="en-US" altLang="ja-JP" sz="1600" dirty="0">
              <a:solidFill>
                <a:schemeClr val="bg2"/>
              </a:solidFill>
            </a:endParaRPr>
          </a:p>
          <a:p>
            <a:endParaRPr lang="en-US" altLang="ja-JP" sz="1600" dirty="0">
              <a:solidFill>
                <a:schemeClr val="bg2"/>
              </a:solidFill>
            </a:endParaRPr>
          </a:p>
          <a:p>
            <a:r>
              <a:rPr lang="ja-JP" altLang="en-US" b="1" dirty="0">
                <a:solidFill>
                  <a:schemeClr val="bg2"/>
                </a:solidFill>
              </a:rPr>
              <a:t>国内での新たな消費・行動の喚起</a:t>
            </a:r>
            <a:r>
              <a:rPr lang="ja-JP" altLang="en-US" dirty="0">
                <a:solidFill>
                  <a:schemeClr val="bg2"/>
                </a:solidFill>
              </a:rPr>
              <a:t>と</a:t>
            </a:r>
            <a:r>
              <a:rPr lang="ja-JP" altLang="en-US" b="1" dirty="0">
                <a:solidFill>
                  <a:schemeClr val="bg2"/>
                </a:solidFill>
              </a:rPr>
              <a:t>グローバルな市場創出・マーケットイン</a:t>
            </a:r>
            <a:r>
              <a:rPr lang="ja-JP" altLang="en-US" dirty="0">
                <a:solidFill>
                  <a:schemeClr val="bg2"/>
                </a:solidFill>
              </a:rPr>
              <a:t>を促します。</a:t>
            </a:r>
          </a:p>
        </p:txBody>
      </p:sp>
      <p:sp>
        <p:nvSpPr>
          <p:cNvPr id="44" name="正方形/長方形 43">
            <a:extLst>
              <a:ext uri="{FF2B5EF4-FFF2-40B4-BE49-F238E27FC236}">
                <a16:creationId xmlns:a16="http://schemas.microsoft.com/office/drawing/2014/main" id="{59579030-2DB9-479E-8E5E-C44BC58D1E4C}"/>
              </a:ext>
            </a:extLst>
          </p:cNvPr>
          <p:cNvSpPr/>
          <p:nvPr/>
        </p:nvSpPr>
        <p:spPr>
          <a:xfrm>
            <a:off x="3547986" y="4422844"/>
            <a:ext cx="2517682" cy="77669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lstStyle/>
          <a:p>
            <a:r>
              <a:rPr lang="en-US" altLang="ja-JP" sz="1600" dirty="0">
                <a:solidFill>
                  <a:schemeClr val="tx2"/>
                </a:solidFill>
              </a:rPr>
              <a:t>2</a:t>
            </a:r>
            <a:r>
              <a:rPr lang="ja-JP" altLang="en-US" sz="1600" dirty="0">
                <a:solidFill>
                  <a:schemeClr val="tx2"/>
                </a:solidFill>
              </a:rPr>
              <a:t>　国、自治体、企業、団体等で共に、</a:t>
            </a:r>
            <a:r>
              <a:rPr lang="ja-JP" altLang="en-US" sz="1600" b="1" dirty="0">
                <a:solidFill>
                  <a:schemeClr val="tx2"/>
                </a:solidFill>
              </a:rPr>
              <a:t>国民・消費者の新しい暮らしを後押し</a:t>
            </a:r>
            <a:r>
              <a:rPr lang="ja-JP" altLang="en-US" sz="1600" dirty="0">
                <a:solidFill>
                  <a:schemeClr val="tx2"/>
                </a:solidFill>
              </a:rPr>
              <a:t>します。</a:t>
            </a:r>
          </a:p>
        </p:txBody>
      </p:sp>
      <p:pic>
        <p:nvPicPr>
          <p:cNvPr id="10" name="図 9" descr="おもちゃの人形と人の絵&#10;&#10;中程度の精度で自動的に生成された説明">
            <a:extLst>
              <a:ext uri="{FF2B5EF4-FFF2-40B4-BE49-F238E27FC236}">
                <a16:creationId xmlns:a16="http://schemas.microsoft.com/office/drawing/2014/main" id="{56AA4923-223E-401E-82DE-A3E01A1C9989}"/>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901071" y="5653112"/>
            <a:ext cx="965041" cy="962266"/>
          </a:xfrm>
          <a:prstGeom prst="rect">
            <a:avLst/>
          </a:prstGeom>
        </p:spPr>
      </p:pic>
      <p:pic>
        <p:nvPicPr>
          <p:cNvPr id="15" name="図 14" descr="ダイアグラム&#10;&#10;自動的に生成された説明">
            <a:extLst>
              <a:ext uri="{FF2B5EF4-FFF2-40B4-BE49-F238E27FC236}">
                <a16:creationId xmlns:a16="http://schemas.microsoft.com/office/drawing/2014/main" id="{C852D397-05A6-4702-B179-EA288B2D4DE2}"/>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3687270" y="3047622"/>
            <a:ext cx="2239116" cy="976488"/>
          </a:xfrm>
          <a:prstGeom prst="rect">
            <a:avLst/>
          </a:prstGeom>
        </p:spPr>
      </p:pic>
      <p:sp>
        <p:nvSpPr>
          <p:cNvPr id="43" name="正方形/長方形 42">
            <a:extLst>
              <a:ext uri="{FF2B5EF4-FFF2-40B4-BE49-F238E27FC236}">
                <a16:creationId xmlns:a16="http://schemas.microsoft.com/office/drawing/2014/main" id="{0863A38B-DE5B-4DDF-9024-A2FEA7A55B5C}"/>
              </a:ext>
            </a:extLst>
          </p:cNvPr>
          <p:cNvSpPr/>
          <p:nvPr/>
        </p:nvSpPr>
        <p:spPr>
          <a:xfrm>
            <a:off x="3547986" y="1857066"/>
            <a:ext cx="2517682" cy="77669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72000" tIns="72000" rIns="72000" bIns="0" rtlCol="0" anchor="t"/>
          <a:lstStyle/>
          <a:p>
            <a:r>
              <a:rPr lang="ja-JP" altLang="en-US" sz="1600" dirty="0">
                <a:solidFill>
                  <a:schemeClr val="tx2"/>
                </a:solidFill>
              </a:rPr>
              <a:t>　　例えば</a:t>
            </a:r>
            <a:r>
              <a:rPr lang="en-US" altLang="ja-JP" sz="1600" dirty="0">
                <a:solidFill>
                  <a:schemeClr val="tx2"/>
                </a:solidFill>
              </a:rPr>
              <a:t>10</a:t>
            </a:r>
            <a:r>
              <a:rPr lang="ja-JP" altLang="en-US" sz="1600" dirty="0">
                <a:solidFill>
                  <a:schemeClr val="tx2"/>
                </a:solidFill>
              </a:rPr>
              <a:t>年後など、脱炭素につながる</a:t>
            </a:r>
            <a:r>
              <a:rPr lang="ja-JP" altLang="en-US" sz="1600" b="1" dirty="0">
                <a:solidFill>
                  <a:schemeClr val="tx2"/>
                </a:solidFill>
              </a:rPr>
              <a:t>将来の豊かな暮らしの全体像、絵姿</a:t>
            </a:r>
            <a:r>
              <a:rPr lang="ja-JP" altLang="en-US" sz="1600" dirty="0">
                <a:solidFill>
                  <a:schemeClr val="tx2"/>
                </a:solidFill>
              </a:rPr>
              <a:t>をお示しします。</a:t>
            </a:r>
          </a:p>
        </p:txBody>
      </p:sp>
      <p:pic>
        <p:nvPicPr>
          <p:cNvPr id="17" name="図 16" descr="アイコン が含まれている画像&#10;&#10;自動的に生成された説明">
            <a:extLst>
              <a:ext uri="{FF2B5EF4-FFF2-40B4-BE49-F238E27FC236}">
                <a16:creationId xmlns:a16="http://schemas.microsoft.com/office/drawing/2014/main" id="{A571E808-66D0-4556-8E2E-93A5296AE623}"/>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26646"/>
          <a:stretch/>
        </p:blipFill>
        <p:spPr>
          <a:xfrm>
            <a:off x="902277" y="5500084"/>
            <a:ext cx="956055" cy="1115294"/>
          </a:xfrm>
          <a:prstGeom prst="rect">
            <a:avLst/>
          </a:prstGeom>
        </p:spPr>
      </p:pic>
      <p:pic>
        <p:nvPicPr>
          <p:cNvPr id="19" name="図 18" descr="おもちゃ, 人形, 時計 が含まれている画像&#10;&#10;自動的に生成された説明">
            <a:extLst>
              <a:ext uri="{FF2B5EF4-FFF2-40B4-BE49-F238E27FC236}">
                <a16:creationId xmlns:a16="http://schemas.microsoft.com/office/drawing/2014/main" id="{0591BDB2-1827-45EF-9EBB-1AF4D8B5CBE1}"/>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b="13411"/>
          <a:stretch/>
        </p:blipFill>
        <p:spPr>
          <a:xfrm>
            <a:off x="3611440" y="5266310"/>
            <a:ext cx="2390775" cy="640482"/>
          </a:xfrm>
          <a:prstGeom prst="rect">
            <a:avLst/>
          </a:prstGeom>
        </p:spPr>
      </p:pic>
      <p:sp>
        <p:nvSpPr>
          <p:cNvPr id="20" name="正方形/長方形 19">
            <a:extLst>
              <a:ext uri="{FF2B5EF4-FFF2-40B4-BE49-F238E27FC236}">
                <a16:creationId xmlns:a16="http://schemas.microsoft.com/office/drawing/2014/main" id="{FDFB51B8-593E-4DD1-BEAA-EBDE101A5B3D}"/>
              </a:ext>
            </a:extLst>
          </p:cNvPr>
          <p:cNvSpPr/>
          <p:nvPr/>
        </p:nvSpPr>
        <p:spPr>
          <a:xfrm>
            <a:off x="3611440" y="5880024"/>
            <a:ext cx="2390775" cy="66776"/>
          </a:xfrm>
          <a:prstGeom prst="rect">
            <a:avLst/>
          </a:prstGeom>
          <a:solidFill>
            <a:srgbClr val="65593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en-US" sz="1600">
              <a:solidFill>
                <a:schemeClr val="tx1"/>
              </a:solidFill>
              <a:latin typeface="Meiryo UI" panose="020B0604030504040204" pitchFamily="50" charset="-128"/>
              <a:ea typeface="Meiryo UI" panose="020B0604030504040204" pitchFamily="50" charset="-128"/>
            </a:endParaRPr>
          </a:p>
        </p:txBody>
      </p:sp>
      <p:grpSp>
        <p:nvGrpSpPr>
          <p:cNvPr id="50" name="グループ化 49">
            <a:extLst>
              <a:ext uri="{FF2B5EF4-FFF2-40B4-BE49-F238E27FC236}">
                <a16:creationId xmlns:a16="http://schemas.microsoft.com/office/drawing/2014/main" id="{A4680233-FD61-4B17-8D35-F1230097CDAE}"/>
              </a:ext>
            </a:extLst>
          </p:cNvPr>
          <p:cNvGrpSpPr/>
          <p:nvPr/>
        </p:nvGrpSpPr>
        <p:grpSpPr>
          <a:xfrm>
            <a:off x="3637907" y="5922051"/>
            <a:ext cx="2337840" cy="693327"/>
            <a:chOff x="3639982" y="5922051"/>
            <a:chExt cx="2337840" cy="693327"/>
          </a:xfrm>
        </p:grpSpPr>
        <p:pic>
          <p:nvPicPr>
            <p:cNvPr id="48" name="図 47" descr="アイコン&#10;&#10;中程度の精度で自動的に生成された説明">
              <a:extLst>
                <a:ext uri="{FF2B5EF4-FFF2-40B4-BE49-F238E27FC236}">
                  <a16:creationId xmlns:a16="http://schemas.microsoft.com/office/drawing/2014/main" id="{D9FA8BD6-63DD-4D9D-8B3B-6CE897B72A77}"/>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11231"/>
            <a:stretch/>
          </p:blipFill>
          <p:spPr>
            <a:xfrm>
              <a:off x="5464810" y="5922051"/>
              <a:ext cx="513012" cy="693327"/>
            </a:xfrm>
            <a:prstGeom prst="rect">
              <a:avLst/>
            </a:prstGeom>
          </p:spPr>
        </p:pic>
        <p:pic>
          <p:nvPicPr>
            <p:cNvPr id="49" name="図 48" descr="アイコン&#10;&#10;中程度の精度で自動的に生成された説明">
              <a:extLst>
                <a:ext uri="{FF2B5EF4-FFF2-40B4-BE49-F238E27FC236}">
                  <a16:creationId xmlns:a16="http://schemas.microsoft.com/office/drawing/2014/main" id="{C89F878B-2D6B-44F7-824E-5A59D98FDE37}"/>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b="11231"/>
            <a:stretch/>
          </p:blipFill>
          <p:spPr>
            <a:xfrm flipH="1">
              <a:off x="3639982" y="5922051"/>
              <a:ext cx="513012" cy="693327"/>
            </a:xfrm>
            <a:prstGeom prst="rect">
              <a:avLst/>
            </a:prstGeom>
          </p:spPr>
        </p:pic>
      </p:grpSp>
      <p:grpSp>
        <p:nvGrpSpPr>
          <p:cNvPr id="59" name="グループ化 58">
            <a:extLst>
              <a:ext uri="{FF2B5EF4-FFF2-40B4-BE49-F238E27FC236}">
                <a16:creationId xmlns:a16="http://schemas.microsoft.com/office/drawing/2014/main" id="{EDA3E692-D869-4002-8EAD-6CE2522039FD}"/>
              </a:ext>
            </a:extLst>
          </p:cNvPr>
          <p:cNvGrpSpPr/>
          <p:nvPr/>
        </p:nvGrpSpPr>
        <p:grpSpPr>
          <a:xfrm>
            <a:off x="4205245" y="6020453"/>
            <a:ext cx="1203164" cy="594926"/>
            <a:chOff x="4176235" y="5984025"/>
            <a:chExt cx="1276829" cy="631353"/>
          </a:xfrm>
        </p:grpSpPr>
        <p:pic>
          <p:nvPicPr>
            <p:cNvPr id="56" name="図 55" descr="アイコン&#10;&#10;自動的に生成された説明">
              <a:extLst>
                <a:ext uri="{FF2B5EF4-FFF2-40B4-BE49-F238E27FC236}">
                  <a16:creationId xmlns:a16="http://schemas.microsoft.com/office/drawing/2014/main" id="{2B5AF6B0-A697-4988-8B18-2255AB1A73B8}"/>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4176235" y="5984025"/>
              <a:ext cx="254225" cy="631353"/>
            </a:xfrm>
            <a:prstGeom prst="rect">
              <a:avLst/>
            </a:prstGeom>
          </p:spPr>
        </p:pic>
        <p:pic>
          <p:nvPicPr>
            <p:cNvPr id="58" name="図 57" descr="文字が書かれている&#10;&#10;低い精度で自動的に生成された説明">
              <a:extLst>
                <a:ext uri="{FF2B5EF4-FFF2-40B4-BE49-F238E27FC236}">
                  <a16:creationId xmlns:a16="http://schemas.microsoft.com/office/drawing/2014/main" id="{CF4FF145-AF92-4E01-8FB0-885CC3A0C663}"/>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5201845" y="5984025"/>
              <a:ext cx="251219" cy="631353"/>
            </a:xfrm>
            <a:prstGeom prst="rect">
              <a:avLst/>
            </a:prstGeom>
          </p:spPr>
        </p:pic>
      </p:grpSp>
      <p:pic>
        <p:nvPicPr>
          <p:cNvPr id="52" name="図 51" descr="アイコン&#10;&#10;自動的に生成された説明">
            <a:extLst>
              <a:ext uri="{FF2B5EF4-FFF2-40B4-BE49-F238E27FC236}">
                <a16:creationId xmlns:a16="http://schemas.microsoft.com/office/drawing/2014/main" id="{10A7A1ED-2C95-4761-9C0E-4F36270F8B22}"/>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4488239" y="6017364"/>
            <a:ext cx="637176" cy="598014"/>
          </a:xfrm>
          <a:prstGeom prst="rect">
            <a:avLst/>
          </a:prstGeom>
        </p:spPr>
      </p:pic>
      <p:pic>
        <p:nvPicPr>
          <p:cNvPr id="28" name="図 27" descr="アイコン&#10;&#10;自動的に生成された説明">
            <a:extLst>
              <a:ext uri="{FF2B5EF4-FFF2-40B4-BE49-F238E27FC236}">
                <a16:creationId xmlns:a16="http://schemas.microsoft.com/office/drawing/2014/main" id="{13DECBE7-505C-43AD-B923-540EB4DA0A81}"/>
              </a:ext>
            </a:extLst>
          </p:cNvPr>
          <p:cNvPicPr>
            <a:picLocks noChangeAspect="1"/>
          </p:cNvPicPr>
          <p:nvPr/>
        </p:nvPicPr>
        <p:blipFill>
          <a:blip r:embed="rId13" cstate="hqprint">
            <a:extLst>
              <a:ext uri="{28A0092B-C50C-407E-A947-70E740481C1C}">
                <a14:useLocalDpi xmlns:a14="http://schemas.microsoft.com/office/drawing/2010/main"/>
              </a:ext>
            </a:extLst>
          </a:blip>
          <a:stretch>
            <a:fillRect/>
          </a:stretch>
        </p:blipFill>
        <p:spPr>
          <a:xfrm>
            <a:off x="1339036" y="3423573"/>
            <a:ext cx="848998" cy="848996"/>
          </a:xfrm>
          <a:prstGeom prst="rect">
            <a:avLst/>
          </a:prstGeom>
        </p:spPr>
      </p:pic>
      <p:sp>
        <p:nvSpPr>
          <p:cNvPr id="60" name="円弧 59">
            <a:extLst>
              <a:ext uri="{FF2B5EF4-FFF2-40B4-BE49-F238E27FC236}">
                <a16:creationId xmlns:a16="http://schemas.microsoft.com/office/drawing/2014/main" id="{95B2424C-1A50-4284-96C7-4A51C31EB292}"/>
              </a:ext>
            </a:extLst>
          </p:cNvPr>
          <p:cNvSpPr/>
          <p:nvPr/>
        </p:nvSpPr>
        <p:spPr>
          <a:xfrm>
            <a:off x="1120987" y="3065615"/>
            <a:ext cx="1285134" cy="1285132"/>
          </a:xfrm>
          <a:prstGeom prst="arc">
            <a:avLst>
              <a:gd name="adj1" fmla="val 10509773"/>
              <a:gd name="adj2" fmla="val 0"/>
            </a:avLst>
          </a:prstGeom>
          <a:ln w="31750" cap="rnd" cmpd="sng" algn="ctr">
            <a:solidFill>
              <a:schemeClr val="accent1">
                <a:alpha val="42000"/>
              </a:schemeClr>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grpSp>
        <p:nvGrpSpPr>
          <p:cNvPr id="62" name="グループ化 61">
            <a:extLst>
              <a:ext uri="{FF2B5EF4-FFF2-40B4-BE49-F238E27FC236}">
                <a16:creationId xmlns:a16="http://schemas.microsoft.com/office/drawing/2014/main" id="{108A6DC2-DB0F-48D5-9E06-48EBD8079165}"/>
              </a:ext>
            </a:extLst>
          </p:cNvPr>
          <p:cNvGrpSpPr/>
          <p:nvPr/>
        </p:nvGrpSpPr>
        <p:grpSpPr>
          <a:xfrm>
            <a:off x="789376" y="3481680"/>
            <a:ext cx="1948318" cy="521517"/>
            <a:chOff x="801325" y="3481680"/>
            <a:chExt cx="1948318" cy="521517"/>
          </a:xfrm>
        </p:grpSpPr>
        <p:pic>
          <p:nvPicPr>
            <p:cNvPr id="40" name="図 39" descr="ロゴ, アイコン&#10;&#10;自動的に生成された説明">
              <a:extLst>
                <a:ext uri="{FF2B5EF4-FFF2-40B4-BE49-F238E27FC236}">
                  <a16:creationId xmlns:a16="http://schemas.microsoft.com/office/drawing/2014/main" id="{D052B8E1-C8C4-4F05-BA24-8689DBEDC342}"/>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801325" y="3481680"/>
              <a:ext cx="487643" cy="521517"/>
            </a:xfrm>
            <a:prstGeom prst="rect">
              <a:avLst/>
            </a:prstGeom>
          </p:spPr>
        </p:pic>
        <p:pic>
          <p:nvPicPr>
            <p:cNvPr id="36" name="図 35" descr="ロゴ&#10;&#10;自動的に生成された説明">
              <a:extLst>
                <a:ext uri="{FF2B5EF4-FFF2-40B4-BE49-F238E27FC236}">
                  <a16:creationId xmlns:a16="http://schemas.microsoft.com/office/drawing/2014/main" id="{C85B11CF-62B4-407C-AF5D-46F5F618D502}"/>
                </a:ext>
              </a:extLst>
            </p:cNvPr>
            <p:cNvPicPr>
              <a:picLocks noChangeAspect="1"/>
            </p:cNvPicPr>
            <p:nvPr/>
          </p:nvPicPr>
          <p:blipFill>
            <a:blip r:embed="rId15" cstate="hqprint">
              <a:extLst>
                <a:ext uri="{28A0092B-C50C-407E-A947-70E740481C1C}">
                  <a14:useLocalDpi xmlns:a14="http://schemas.microsoft.com/office/drawing/2010/main"/>
                </a:ext>
              </a:extLst>
            </a:blip>
            <a:stretch>
              <a:fillRect/>
            </a:stretch>
          </p:blipFill>
          <p:spPr>
            <a:xfrm>
              <a:off x="2228125" y="3481680"/>
              <a:ext cx="521518" cy="521517"/>
            </a:xfrm>
            <a:prstGeom prst="rect">
              <a:avLst/>
            </a:prstGeom>
          </p:spPr>
        </p:pic>
      </p:grpSp>
      <p:grpSp>
        <p:nvGrpSpPr>
          <p:cNvPr id="63" name="グループ化 62">
            <a:extLst>
              <a:ext uri="{FF2B5EF4-FFF2-40B4-BE49-F238E27FC236}">
                <a16:creationId xmlns:a16="http://schemas.microsoft.com/office/drawing/2014/main" id="{063639CE-791D-449E-9F8A-1CEEDC004019}"/>
              </a:ext>
            </a:extLst>
          </p:cNvPr>
          <p:cNvGrpSpPr/>
          <p:nvPr/>
        </p:nvGrpSpPr>
        <p:grpSpPr>
          <a:xfrm>
            <a:off x="1128834" y="2920095"/>
            <a:ext cx="1269402" cy="521517"/>
            <a:chOff x="1174576" y="2920095"/>
            <a:chExt cx="1269402" cy="521517"/>
          </a:xfrm>
        </p:grpSpPr>
        <p:pic>
          <p:nvPicPr>
            <p:cNvPr id="46" name="図 45" descr="ロゴ&#10;&#10;自動的に生成された説明">
              <a:extLst>
                <a:ext uri="{FF2B5EF4-FFF2-40B4-BE49-F238E27FC236}">
                  <a16:creationId xmlns:a16="http://schemas.microsoft.com/office/drawing/2014/main" id="{19D51F40-CF47-424F-A0C0-D14AA0FE8F9D}"/>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1174576" y="2920095"/>
              <a:ext cx="521518" cy="521517"/>
            </a:xfrm>
            <a:prstGeom prst="rect">
              <a:avLst/>
            </a:prstGeom>
          </p:spPr>
        </p:pic>
        <p:pic>
          <p:nvPicPr>
            <p:cNvPr id="38" name="図 37" descr="ロゴ, アイコン&#10;&#10;自動的に生成された説明">
              <a:extLst>
                <a:ext uri="{FF2B5EF4-FFF2-40B4-BE49-F238E27FC236}">
                  <a16:creationId xmlns:a16="http://schemas.microsoft.com/office/drawing/2014/main" id="{9B645835-2E89-490C-9BF7-26833BED9330}"/>
                </a:ext>
              </a:extLst>
            </p:cNvPr>
            <p:cNvPicPr>
              <a:picLocks noChangeAspect="1"/>
            </p:cNvPicPr>
            <p:nvPr/>
          </p:nvPicPr>
          <p:blipFill>
            <a:blip r:embed="rId17" cstate="hqprint">
              <a:extLst>
                <a:ext uri="{28A0092B-C50C-407E-A947-70E740481C1C}">
                  <a14:useLocalDpi xmlns:a14="http://schemas.microsoft.com/office/drawing/2010/main"/>
                </a:ext>
              </a:extLst>
            </a:blip>
            <a:stretch>
              <a:fillRect/>
            </a:stretch>
          </p:blipFill>
          <p:spPr>
            <a:xfrm>
              <a:off x="1922460" y="2920095"/>
              <a:ext cx="521518" cy="521517"/>
            </a:xfrm>
            <a:prstGeom prst="rect">
              <a:avLst/>
            </a:prstGeom>
          </p:spPr>
        </p:pic>
      </p:grpSp>
      <p:sp>
        <p:nvSpPr>
          <p:cNvPr id="4" name="Oval 3">
            <a:extLst>
              <a:ext uri="{FF2B5EF4-FFF2-40B4-BE49-F238E27FC236}">
                <a16:creationId xmlns:a16="http://schemas.microsoft.com/office/drawing/2014/main" id="{6405CD43-E3DC-49BF-AC10-6D9EFC9193C4}"/>
              </a:ext>
            </a:extLst>
          </p:cNvPr>
          <p:cNvSpPr/>
          <p:nvPr/>
        </p:nvSpPr>
        <p:spPr>
          <a:xfrm>
            <a:off x="3463202" y="1755980"/>
            <a:ext cx="360000" cy="360000"/>
          </a:xfrm>
          <a:prstGeom prst="ellipse">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solidFill>
                  <a:srgbClr val="FFFFFF"/>
                </a:solidFill>
              </a:rPr>
              <a:t>1</a:t>
            </a:r>
          </a:p>
        </p:txBody>
      </p:sp>
      <p:sp>
        <p:nvSpPr>
          <p:cNvPr id="51" name="Oval 50">
            <a:extLst>
              <a:ext uri="{FF2B5EF4-FFF2-40B4-BE49-F238E27FC236}">
                <a16:creationId xmlns:a16="http://schemas.microsoft.com/office/drawing/2014/main" id="{917D57FB-5E74-4B93-BF9B-5C321368E2FC}"/>
              </a:ext>
            </a:extLst>
          </p:cNvPr>
          <p:cNvSpPr/>
          <p:nvPr/>
        </p:nvSpPr>
        <p:spPr>
          <a:xfrm>
            <a:off x="3463202" y="4343503"/>
            <a:ext cx="360000" cy="360000"/>
          </a:xfrm>
          <a:prstGeom prst="ellipse">
            <a:avLst/>
          </a:prstGeom>
          <a:solidFill>
            <a:schemeClr val="tx2"/>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solidFill>
                  <a:srgbClr val="FFFFFF"/>
                </a:solidFill>
              </a:rPr>
              <a:t>2</a:t>
            </a:r>
          </a:p>
        </p:txBody>
      </p:sp>
      <p:sp>
        <p:nvSpPr>
          <p:cNvPr id="57" name="Oval 3">
            <a:extLst>
              <a:ext uri="{FF2B5EF4-FFF2-40B4-BE49-F238E27FC236}">
                <a16:creationId xmlns:a16="http://schemas.microsoft.com/office/drawing/2014/main" id="{C23A7BD2-EAF3-4671-9C63-392C397B09B3}"/>
              </a:ext>
            </a:extLst>
          </p:cNvPr>
          <p:cNvSpPr/>
          <p:nvPr/>
        </p:nvSpPr>
        <p:spPr>
          <a:xfrm>
            <a:off x="7668815" y="4435785"/>
            <a:ext cx="360000" cy="360000"/>
          </a:xfrm>
          <a:prstGeom prst="ellipse">
            <a:avLst/>
          </a:prstGeom>
          <a:solidFill>
            <a:srgbClr val="177B57"/>
          </a:solidFill>
          <a:ln w="19050"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sz="2400" dirty="0">
                <a:solidFill>
                  <a:srgbClr val="FFFFFF"/>
                </a:solidFill>
              </a:rPr>
              <a:t>↓</a:t>
            </a:r>
            <a:endParaRPr kumimoji="1" lang="en-US" sz="2400" dirty="0">
              <a:solidFill>
                <a:srgbClr val="FFFFFF"/>
              </a:solidFill>
            </a:endParaRPr>
          </a:p>
        </p:txBody>
      </p:sp>
    </p:spTree>
    <p:extLst>
      <p:ext uri="{BB962C8B-B14F-4D97-AF65-F5344CB8AC3E}">
        <p14:creationId xmlns:p14="http://schemas.microsoft.com/office/powerpoint/2010/main" val="29602055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6F79BF2-1E84-47CA-90AB-4D68361B14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92" imgH="591" progId="TCLayout.ActiveDocument.1">
                  <p:embed/>
                </p:oleObj>
              </mc:Choice>
              <mc:Fallback>
                <p:oleObj name="think-cell スライド" r:id="rId4" imgW="592" imgH="591" progId="TCLayout.ActiveDocument.1">
                  <p:embed/>
                  <p:pic>
                    <p:nvPicPr>
                      <p:cNvPr id="3" name="Object 2" hidden="1">
                        <a:extLst>
                          <a:ext uri="{FF2B5EF4-FFF2-40B4-BE49-F238E27FC236}">
                            <a16:creationId xmlns:a16="http://schemas.microsoft.com/office/drawing/2014/main" id="{76F79BF2-1E84-47CA-90AB-4D68361B14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181069" y="257881"/>
            <a:ext cx="9297676" cy="587854"/>
          </a:xfrm>
        </p:spPr>
        <p:txBody>
          <a:bodyPr vert="horz"/>
          <a:lstStyle/>
          <a:p>
            <a:r>
              <a:rPr lang="ja-JP" altLang="en-US" sz="2400" dirty="0">
                <a:latin typeface="+mn-lt"/>
                <a:ea typeface="+mn-ea"/>
              </a:rPr>
              <a:t>デコ活の全体像（脱炭素につながる将来の豊かな暮らしの絵姿）</a:t>
            </a:r>
          </a:p>
        </p:txBody>
      </p:sp>
      <p:sp>
        <p:nvSpPr>
          <p:cNvPr id="9" name="正方形/長方形 9">
            <a:extLst>
              <a:ext uri="{FF2B5EF4-FFF2-40B4-BE49-F238E27FC236}">
                <a16:creationId xmlns:a16="http://schemas.microsoft.com/office/drawing/2014/main" id="{E5E99632-6879-4F6D-9ED4-68DF0381A0B1}"/>
              </a:ext>
            </a:extLst>
          </p:cNvPr>
          <p:cNvSpPr/>
          <p:nvPr/>
        </p:nvSpPr>
        <p:spPr>
          <a:xfrm>
            <a:off x="412507" y="876347"/>
            <a:ext cx="9080986" cy="587855"/>
          </a:xfrm>
          <a:prstGeom prst="rect">
            <a:avLst/>
          </a:prstGeom>
          <a:noFill/>
          <a:ln w="28575">
            <a:solidFill>
              <a:srgbClr val="00584E"/>
            </a:solidFill>
          </a:ln>
        </p:spPr>
        <p:style>
          <a:lnRef idx="2">
            <a:schemeClr val="accent1"/>
          </a:lnRef>
          <a:fillRef idx="1">
            <a:schemeClr val="lt1"/>
          </a:fillRef>
          <a:effectRef idx="0">
            <a:schemeClr val="accent1"/>
          </a:effectRef>
          <a:fontRef idx="minor">
            <a:schemeClr val="dk1"/>
          </a:fontRef>
        </p:style>
        <p:txBody>
          <a:bodyPr lIns="36000" tIns="36000" rIns="36000" bIns="36000" rtlCol="0" anchor="ctr"/>
          <a:lstStyle/>
          <a:p>
            <a:pPr marL="265120" indent="-176217"/>
            <a:r>
              <a:rPr lang="ja-JP" altLang="en-US" sz="1600" dirty="0">
                <a:solidFill>
                  <a:prstClr val="black"/>
                </a:solidFill>
                <a:sym typeface="Meiryo UI" panose="020B0604030504040204" pitchFamily="50" charset="-128"/>
              </a:rPr>
              <a:t>〇 今から約</a:t>
            </a:r>
            <a:r>
              <a:rPr lang="en-US" altLang="ja-JP" sz="1600" dirty="0">
                <a:solidFill>
                  <a:prstClr val="black"/>
                </a:solidFill>
                <a:sym typeface="Meiryo UI" panose="020B0604030504040204" pitchFamily="50" charset="-128"/>
              </a:rPr>
              <a:t>10</a:t>
            </a:r>
            <a:r>
              <a:rPr lang="ja-JP" altLang="en-US" sz="1600" dirty="0">
                <a:solidFill>
                  <a:prstClr val="black"/>
                </a:solidFill>
                <a:sym typeface="Meiryo UI" panose="020B0604030504040204" pitchFamily="50" charset="-128"/>
              </a:rPr>
              <a:t>年後、</a:t>
            </a:r>
            <a:r>
              <a:rPr lang="en-US" altLang="ja-JP" sz="1600" dirty="0">
                <a:solidFill>
                  <a:prstClr val="black"/>
                </a:solidFill>
                <a:sym typeface="Meiryo UI" panose="020B0604030504040204" pitchFamily="50" charset="-128"/>
              </a:rPr>
              <a:t> </a:t>
            </a:r>
            <a:r>
              <a:rPr lang="ja-JP" altLang="en-US" sz="2000" b="1" dirty="0">
                <a:solidFill>
                  <a:schemeClr val="tx2"/>
                </a:solidFill>
                <a:sym typeface="Meiryo UI" panose="020B0604030504040204" pitchFamily="50" charset="-128"/>
              </a:rPr>
              <a:t>生活がより豊かに、より自分らしく快適・健康</a:t>
            </a:r>
            <a:r>
              <a:rPr lang="ja-JP" altLang="en-US" sz="1600" dirty="0">
                <a:solidFill>
                  <a:prstClr val="black"/>
                </a:solidFill>
                <a:sym typeface="Meiryo UI" panose="020B0604030504040204" pitchFamily="50" charset="-128"/>
              </a:rPr>
              <a:t>で、そして</a:t>
            </a:r>
            <a:r>
              <a:rPr lang="en-US" altLang="ja-JP" sz="1600" dirty="0">
                <a:solidFill>
                  <a:prstClr val="black"/>
                </a:solidFill>
                <a:sym typeface="Meiryo UI" panose="020B0604030504040204" pitchFamily="50" charset="-128"/>
              </a:rPr>
              <a:t>2030</a:t>
            </a:r>
            <a:r>
              <a:rPr lang="ja-JP" altLang="en-US" sz="1600" dirty="0">
                <a:solidFill>
                  <a:prstClr val="black"/>
                </a:solidFill>
                <a:sym typeface="Meiryo UI" panose="020B0604030504040204" pitchFamily="50" charset="-128"/>
              </a:rPr>
              <a:t>年温室効果</a:t>
            </a:r>
            <a:endParaRPr lang="en-US" altLang="ja-JP" sz="1600" dirty="0">
              <a:solidFill>
                <a:prstClr val="black"/>
              </a:solidFill>
              <a:sym typeface="Meiryo UI" panose="020B0604030504040204" pitchFamily="50" charset="-128"/>
            </a:endParaRPr>
          </a:p>
          <a:p>
            <a:pPr marL="265120" indent="-176217"/>
            <a:r>
              <a:rPr lang="ja-JP" altLang="en-US" sz="1600" dirty="0">
                <a:solidFill>
                  <a:prstClr val="black"/>
                </a:solidFill>
                <a:sym typeface="Meiryo UI" panose="020B0604030504040204" pitchFamily="50" charset="-128"/>
              </a:rPr>
              <a:t>　　ガス削減目標も同時に達成する、新しい暮らしを提案をします。</a:t>
            </a:r>
          </a:p>
        </p:txBody>
      </p:sp>
      <p:sp>
        <p:nvSpPr>
          <p:cNvPr id="4" name="テキスト ボックス 3">
            <a:extLst>
              <a:ext uri="{FF2B5EF4-FFF2-40B4-BE49-F238E27FC236}">
                <a16:creationId xmlns:a16="http://schemas.microsoft.com/office/drawing/2014/main" id="{114F0B11-C2A0-F3FE-51B1-489D2D51CC64}"/>
              </a:ext>
            </a:extLst>
          </p:cNvPr>
          <p:cNvSpPr txBox="1"/>
          <p:nvPr/>
        </p:nvSpPr>
        <p:spPr>
          <a:xfrm>
            <a:off x="1314283" y="6581001"/>
            <a:ext cx="8692308" cy="276999"/>
          </a:xfrm>
          <a:prstGeom prst="rect">
            <a:avLst/>
          </a:prstGeom>
          <a:noFill/>
        </p:spPr>
        <p:txBody>
          <a:bodyPr wrap="square" rtlCol="0">
            <a:spAutoFit/>
          </a:bodyPr>
          <a:lstStyle/>
          <a:p>
            <a:r>
              <a:rPr kumimoji="1" lang="en-US" altLang="ja-JP" sz="1200" dirty="0"/>
              <a:t>※</a:t>
            </a:r>
            <a:r>
              <a:rPr kumimoji="1" lang="ja-JP" altLang="en-US" sz="1200" dirty="0"/>
              <a:t>新しい暮らしの根拠や数値のバックデータは、</a:t>
            </a:r>
            <a:r>
              <a:rPr kumimoji="1" lang="en-US" altLang="ja-JP" sz="1200" dirty="0">
                <a:hlinkClick r:id="rId6"/>
              </a:rPr>
              <a:t>https://ondankataisaku.env.go.jp/decokatsu/</a:t>
            </a:r>
            <a:r>
              <a:rPr kumimoji="1" lang="ja-JP" altLang="en-US" sz="1200" dirty="0"/>
              <a:t>から確認を。</a:t>
            </a:r>
          </a:p>
        </p:txBody>
      </p:sp>
      <p:pic>
        <p:nvPicPr>
          <p:cNvPr id="7" name="図 6">
            <a:extLst>
              <a:ext uri="{FF2B5EF4-FFF2-40B4-BE49-F238E27FC236}">
                <a16:creationId xmlns:a16="http://schemas.microsoft.com/office/drawing/2014/main" id="{9B25B822-273A-B9B1-5C8A-CAF60FF4017B}"/>
              </a:ext>
            </a:extLst>
          </p:cNvPr>
          <p:cNvPicPr>
            <a:picLocks noChangeAspect="1"/>
          </p:cNvPicPr>
          <p:nvPr/>
        </p:nvPicPr>
        <p:blipFill>
          <a:blip r:embed="rId7"/>
          <a:stretch>
            <a:fillRect/>
          </a:stretch>
        </p:blipFill>
        <p:spPr>
          <a:xfrm>
            <a:off x="1314283" y="1494814"/>
            <a:ext cx="7179478" cy="5101830"/>
          </a:xfrm>
          <a:prstGeom prst="rect">
            <a:avLst/>
          </a:prstGeom>
        </p:spPr>
      </p:pic>
    </p:spTree>
    <p:extLst>
      <p:ext uri="{BB962C8B-B14F-4D97-AF65-F5344CB8AC3E}">
        <p14:creationId xmlns:p14="http://schemas.microsoft.com/office/powerpoint/2010/main" val="31503258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スーツを着た男性たち&#10;&#10;中程度の精度で自動的に生成された説明">
            <a:extLst>
              <a:ext uri="{FF2B5EF4-FFF2-40B4-BE49-F238E27FC236}">
                <a16:creationId xmlns:a16="http://schemas.microsoft.com/office/drawing/2014/main" id="{59C39420-69D5-5467-173A-D56CC1E09F4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2136" y="853696"/>
            <a:ext cx="9699419" cy="3412285"/>
          </a:xfrm>
          <a:prstGeom prst="rect">
            <a:avLst/>
          </a:prstGeom>
        </p:spPr>
      </p:pic>
      <p:sp>
        <p:nvSpPr>
          <p:cNvPr id="2" name="タイトル 1">
            <a:extLst>
              <a:ext uri="{FF2B5EF4-FFF2-40B4-BE49-F238E27FC236}">
                <a16:creationId xmlns:a16="http://schemas.microsoft.com/office/drawing/2014/main" id="{EAC5E747-693F-FAB1-FDE1-6D90BCE8D9E5}"/>
              </a:ext>
            </a:extLst>
          </p:cNvPr>
          <p:cNvSpPr>
            <a:spLocks noGrp="1"/>
          </p:cNvSpPr>
          <p:nvPr>
            <p:ph type="title"/>
          </p:nvPr>
        </p:nvSpPr>
        <p:spPr>
          <a:xfrm>
            <a:off x="250187" y="261798"/>
            <a:ext cx="9541368" cy="575595"/>
          </a:xfrm>
        </p:spPr>
        <p:txBody>
          <a:bodyPr/>
          <a:lstStyle/>
          <a:p>
            <a:r>
              <a:rPr kumimoji="1" lang="ja-JP" altLang="en-US" sz="2400" dirty="0">
                <a:solidFill>
                  <a:srgbClr val="FFFFFF"/>
                </a:solidFill>
              </a:rPr>
              <a:t>新国民運動</a:t>
            </a:r>
            <a:r>
              <a:rPr lang="ja-JP" altLang="en-US" sz="2400" dirty="0">
                <a:solidFill>
                  <a:srgbClr val="FFFFFF"/>
                </a:solidFill>
              </a:rPr>
              <a:t>の</a:t>
            </a:r>
            <a:r>
              <a:rPr kumimoji="1" lang="ja-JP" altLang="en-US" sz="2400" dirty="0">
                <a:solidFill>
                  <a:srgbClr val="FFFFFF"/>
                </a:solidFill>
              </a:rPr>
              <a:t>愛称＝</a:t>
            </a:r>
            <a:r>
              <a:rPr kumimoji="1" lang="ja-JP" altLang="en-US" sz="2400" dirty="0">
                <a:solidFill>
                  <a:schemeClr val="tx2">
                    <a:lumMod val="20000"/>
                    <a:lumOff val="80000"/>
                  </a:schemeClr>
                </a:solidFill>
                <a:effectLst>
                  <a:outerShdw blurRad="38100" dist="38100" dir="2700000" algn="tl">
                    <a:srgbClr val="000000">
                      <a:alpha val="43137"/>
                    </a:srgbClr>
                  </a:outerShdw>
                </a:effectLst>
                <a:latin typeface="+mn-ea"/>
                <a:ea typeface="+mn-ea"/>
              </a:rPr>
              <a:t>「デコ活」</a:t>
            </a:r>
            <a:endParaRPr lang="ja-JP" altLang="en-US" sz="2400" dirty="0">
              <a:latin typeface="+mn-ea"/>
              <a:ea typeface="+mn-ea"/>
            </a:endParaRPr>
          </a:p>
        </p:txBody>
      </p:sp>
      <p:sp>
        <p:nvSpPr>
          <p:cNvPr id="19" name="テキスト ボックス 18">
            <a:extLst>
              <a:ext uri="{FF2B5EF4-FFF2-40B4-BE49-F238E27FC236}">
                <a16:creationId xmlns:a16="http://schemas.microsoft.com/office/drawing/2014/main" id="{B6145E23-02CF-610F-A17D-EA027E3BECDA}"/>
              </a:ext>
            </a:extLst>
          </p:cNvPr>
          <p:cNvSpPr txBox="1"/>
          <p:nvPr/>
        </p:nvSpPr>
        <p:spPr>
          <a:xfrm>
            <a:off x="1120162" y="3887876"/>
            <a:ext cx="8689534" cy="2384458"/>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wrap="square" lIns="63955" tIns="31978" rIns="63955" bIns="31978" anchor="ctr" anchorCtr="0">
            <a:noAutofit/>
          </a:bodyPr>
          <a:lstStyle/>
          <a:p>
            <a:pPr marL="0" marR="0" lvl="0" indent="0" algn="l" defTabSz="447663" rtl="0" eaLnBrk="1" fontAlgn="auto" latinLnBrk="0" hangingPunct="1">
              <a:lnSpc>
                <a:spcPct val="100000"/>
              </a:lnSpc>
              <a:spcBef>
                <a:spcPts val="0"/>
              </a:spcBef>
              <a:spcAft>
                <a:spcPts val="0"/>
              </a:spcAft>
              <a:buClrTx/>
              <a:buSzTx/>
              <a:buFontTx/>
              <a:buNone/>
              <a:tabLst/>
              <a:defRPr/>
            </a:pPr>
            <a:r>
              <a:rPr kumimoji="0" lang="ja-JP" altLang="en-US" sz="176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ロゴ・メッセージ・アクション</a:t>
            </a:r>
            <a:endParaRPr kumimoji="0" lang="en-US" altLang="ja-JP" sz="176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47663" rtl="0" eaLnBrk="1" fontAlgn="auto" latinLnBrk="0" hangingPunct="1">
              <a:lnSpc>
                <a:spcPct val="100000"/>
              </a:lnSpc>
              <a:spcBef>
                <a:spcPts val="0"/>
              </a:spcBef>
              <a:spcAft>
                <a:spcPts val="0"/>
              </a:spcAft>
              <a:buClrTx/>
              <a:buSzTx/>
              <a:buFontTx/>
              <a:buNone/>
              <a:tabLst/>
              <a:defRPr/>
            </a:pPr>
            <a:endParaRPr kumimoji="0" lang="en-US" altLang="ja-JP" sz="783"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a:p>
            <a:pPr marL="0" marR="0" lvl="0" indent="0" algn="l" defTabSz="447663" rtl="0" eaLnBrk="1" fontAlgn="auto" latinLnBrk="0" hangingPunct="1">
              <a:lnSpc>
                <a:spcPct val="100000"/>
              </a:lnSpc>
              <a:spcBef>
                <a:spcPts val="0"/>
              </a:spcBef>
              <a:spcAft>
                <a:spcPts val="0"/>
              </a:spcAft>
              <a:buClrTx/>
              <a:buSzTx/>
              <a:buFontTx/>
              <a:buNone/>
              <a:tabLst/>
              <a:defRPr/>
            </a:pPr>
            <a:endParaRPr kumimoji="0" lang="en-US" altLang="ja-JP" sz="176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47663" rtl="0" eaLnBrk="1" fontAlgn="auto" latinLnBrk="0" hangingPunct="1">
              <a:lnSpc>
                <a:spcPct val="100000"/>
              </a:lnSpc>
              <a:spcBef>
                <a:spcPts val="0"/>
              </a:spcBef>
              <a:spcAft>
                <a:spcPts val="0"/>
              </a:spcAft>
              <a:buClrTx/>
              <a:buSzTx/>
              <a:buFontTx/>
              <a:buNone/>
              <a:tabLst/>
              <a:defRPr/>
            </a:pPr>
            <a:endParaRPr kumimoji="0" lang="en-US" altLang="ja-JP" sz="176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47663" rtl="0" eaLnBrk="1" fontAlgn="auto" latinLnBrk="0" hangingPunct="1">
              <a:lnSpc>
                <a:spcPct val="100000"/>
              </a:lnSpc>
              <a:spcBef>
                <a:spcPts val="0"/>
              </a:spcBef>
              <a:spcAft>
                <a:spcPts val="0"/>
              </a:spcAft>
              <a:buClrTx/>
              <a:buSzTx/>
              <a:buFontTx/>
              <a:buNone/>
              <a:tabLst/>
              <a:defRPr/>
            </a:pPr>
            <a:endParaRPr kumimoji="0" lang="en-US" altLang="ja-JP" sz="176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47663" rtl="0" eaLnBrk="1" fontAlgn="auto" latinLnBrk="0" hangingPunct="1">
              <a:lnSpc>
                <a:spcPct val="100000"/>
              </a:lnSpc>
              <a:spcBef>
                <a:spcPts val="0"/>
              </a:spcBef>
              <a:spcAft>
                <a:spcPts val="0"/>
              </a:spcAft>
              <a:buClrTx/>
              <a:buSzTx/>
              <a:buFontTx/>
              <a:buNone/>
              <a:tabLst/>
              <a:defRPr/>
            </a:pPr>
            <a:endParaRPr kumimoji="0" lang="en-US" altLang="ja-JP" sz="176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47663" rtl="0" eaLnBrk="1" fontAlgn="auto" latinLnBrk="0" hangingPunct="1">
              <a:lnSpc>
                <a:spcPct val="100000"/>
              </a:lnSpc>
              <a:spcBef>
                <a:spcPts val="0"/>
              </a:spcBef>
              <a:spcAft>
                <a:spcPts val="0"/>
              </a:spcAft>
              <a:buClrTx/>
              <a:buSzTx/>
              <a:buFontTx/>
              <a:buNone/>
              <a:tabLst/>
              <a:defRPr/>
            </a:pPr>
            <a:endParaRPr kumimoji="0" lang="en-US" altLang="ja-JP" sz="176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47663" rtl="0" eaLnBrk="1" fontAlgn="auto" latinLnBrk="0" hangingPunct="1">
              <a:lnSpc>
                <a:spcPct val="100000"/>
              </a:lnSpc>
              <a:spcBef>
                <a:spcPts val="0"/>
              </a:spcBef>
              <a:spcAft>
                <a:spcPts val="0"/>
              </a:spcAft>
              <a:buClrTx/>
              <a:buSzTx/>
              <a:buFontTx/>
              <a:buNone/>
              <a:tabLst/>
              <a:defRPr/>
            </a:pPr>
            <a:r>
              <a:rPr kumimoji="0" lang="ja-JP" altLang="en-US" sz="176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r>
              <a:rPr kumimoji="0" lang="ja-JP" altLang="en-US" sz="1861" b="1" i="0" u="none" strike="noStrike" kern="1200" cap="none" spc="0" normalizeH="0" baseline="0" noProof="0" dirty="0">
                <a:ln>
                  <a:noFill/>
                </a:ln>
                <a:solidFill>
                  <a:srgbClr val="83A4D1">
                    <a:lumMod val="50000"/>
                  </a:srgbClr>
                </a:solidFill>
                <a:effectLst/>
                <a:uLnTx/>
                <a:uFillTx/>
                <a:latin typeface="メイリオ" panose="020B0604030504040204" pitchFamily="50" charset="-128"/>
                <a:ea typeface="メイリオ" panose="020B0604030504040204" pitchFamily="50" charset="-128"/>
                <a:cs typeface="+mn-cs"/>
              </a:rPr>
              <a:t>暮らしの</a:t>
            </a:r>
            <a:r>
              <a:rPr kumimoji="0" lang="en-US" altLang="ja-JP" sz="1861" b="1" i="0" u="none" strike="noStrike" kern="1200" cap="none" spc="0" normalizeH="0" baseline="0" noProof="0" dirty="0">
                <a:ln>
                  <a:noFill/>
                </a:ln>
                <a:solidFill>
                  <a:srgbClr val="83A4D1">
                    <a:lumMod val="50000"/>
                  </a:srgbClr>
                </a:solidFill>
                <a:effectLst/>
                <a:uLnTx/>
                <a:uFillTx/>
                <a:latin typeface="メイリオ" panose="020B0604030504040204" pitchFamily="50" charset="-128"/>
                <a:ea typeface="メイリオ" panose="020B0604030504040204" pitchFamily="50" charset="-128"/>
                <a:cs typeface="+mn-cs"/>
              </a:rPr>
              <a:t>10</a:t>
            </a:r>
            <a:r>
              <a:rPr kumimoji="0" lang="ja-JP" altLang="en-US" sz="1861" b="1" i="0" u="none" strike="noStrike" kern="1200" cap="none" spc="0" normalizeH="0" baseline="0" noProof="0" dirty="0">
                <a:ln>
                  <a:noFill/>
                </a:ln>
                <a:solidFill>
                  <a:srgbClr val="83A4D1">
                    <a:lumMod val="50000"/>
                  </a:srgbClr>
                </a:solidFill>
                <a:effectLst/>
                <a:uLnTx/>
                <a:uFillTx/>
                <a:latin typeface="メイリオ" panose="020B0604030504040204" pitchFamily="50" charset="-128"/>
                <a:ea typeface="メイリオ" panose="020B0604030504040204" pitchFamily="50" charset="-128"/>
                <a:cs typeface="+mn-cs"/>
              </a:rPr>
              <a:t>年ロードマップ</a:t>
            </a:r>
            <a:r>
              <a:rPr kumimoji="0" lang="ja-JP" altLang="en-US" sz="176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を</a:t>
            </a:r>
            <a:endParaRPr kumimoji="0" lang="en-US" altLang="ja-JP" sz="176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a:p>
            <a:pPr marL="0" marR="0" lvl="0" indent="0" algn="l" defTabSz="447663" rtl="0" eaLnBrk="1" fontAlgn="auto" latinLnBrk="0" hangingPunct="1">
              <a:lnSpc>
                <a:spcPct val="100000"/>
              </a:lnSpc>
              <a:spcBef>
                <a:spcPts val="0"/>
              </a:spcBef>
              <a:spcAft>
                <a:spcPts val="0"/>
              </a:spcAft>
              <a:buClrTx/>
              <a:buSzTx/>
              <a:buFontTx/>
              <a:buNone/>
              <a:tabLst/>
              <a:defRPr/>
            </a:pPr>
            <a:r>
              <a:rPr kumimoji="0" lang="ja-JP" altLang="en-US" sz="1763"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年度内に策定し、計画的に実行</a:t>
            </a:r>
            <a:endParaRPr kumimoji="0" lang="en-US" altLang="ja-JP" sz="1510" b="0" i="0" u="none"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endParaRPr>
          </a:p>
        </p:txBody>
      </p:sp>
      <p:sp>
        <p:nvSpPr>
          <p:cNvPr id="10" name="テキスト ボックス 9">
            <a:extLst>
              <a:ext uri="{FF2B5EF4-FFF2-40B4-BE49-F238E27FC236}">
                <a16:creationId xmlns:a16="http://schemas.microsoft.com/office/drawing/2014/main" id="{DBF22DC0-B49F-FCB2-1705-36D14397B1F9}"/>
              </a:ext>
            </a:extLst>
          </p:cNvPr>
          <p:cNvSpPr txBox="1"/>
          <p:nvPr/>
        </p:nvSpPr>
        <p:spPr>
          <a:xfrm>
            <a:off x="898020" y="6358943"/>
            <a:ext cx="9007980" cy="571631"/>
          </a:xfrm>
          <a:prstGeom prst="rect">
            <a:avLst/>
          </a:prstGeom>
          <a:noFill/>
        </p:spPr>
        <p:txBody>
          <a:bodyPr wrap="square">
            <a:spAutoFit/>
          </a:bodyPr>
          <a:lstStyle/>
          <a:p>
            <a:pPr marL="0" marR="0" lvl="0" indent="0" algn="l" defTabSz="447663" rtl="0" eaLnBrk="1" fontAlgn="auto" latinLnBrk="0" hangingPunct="1">
              <a:lnSpc>
                <a:spcPts val="1800"/>
              </a:lnSpc>
              <a:spcBef>
                <a:spcPts val="0"/>
              </a:spcBef>
              <a:spcAft>
                <a:spcPts val="0"/>
              </a:spcAft>
              <a:buClrTx/>
              <a:buSzTx/>
              <a:buFontTx/>
              <a:buNone/>
              <a:tabLst/>
              <a:defRPr/>
            </a:pPr>
            <a:r>
              <a:rPr kumimoji="0" lang="ja-JP" altLang="en-US" b="1" i="0" u="none" strike="noStrike" kern="1200" cap="none" spc="0" normalizeH="0" baseline="0" noProof="0" dirty="0">
                <a:ln>
                  <a:noFill/>
                </a:ln>
                <a:solidFill>
                  <a:srgbClr val="009C89">
                    <a:lumMod val="75000"/>
                  </a:srgbClr>
                </a:solidFill>
                <a:effectLst/>
                <a:uLnTx/>
                <a:uFillTx/>
                <a:latin typeface="メイリオ" panose="020B0604030504040204" pitchFamily="50" charset="-128"/>
                <a:ea typeface="メイリオ" panose="020B0604030504040204" pitchFamily="50" charset="-128"/>
                <a:cs typeface="+mn-cs"/>
              </a:rPr>
              <a:t>約</a:t>
            </a:r>
            <a:r>
              <a:rPr lang="en-US" altLang="ja-JP" b="1" dirty="0">
                <a:solidFill>
                  <a:srgbClr val="009C89">
                    <a:lumMod val="75000"/>
                  </a:srgbClr>
                </a:solidFill>
                <a:latin typeface="メイリオ" panose="020B0604030504040204" pitchFamily="50" charset="-128"/>
                <a:ea typeface="メイリオ" panose="020B0604030504040204" pitchFamily="50" charset="-128"/>
              </a:rPr>
              <a:t>1,100</a:t>
            </a:r>
            <a:r>
              <a:rPr kumimoji="0" lang="ja-JP" altLang="en-US" b="1" i="0" u="none" strike="noStrike" kern="1200" cap="none" spc="0" normalizeH="0" baseline="0" noProof="0" dirty="0">
                <a:ln>
                  <a:noFill/>
                </a:ln>
                <a:solidFill>
                  <a:srgbClr val="009C89">
                    <a:lumMod val="75000"/>
                  </a:srgbClr>
                </a:solidFill>
                <a:effectLst/>
                <a:uLnTx/>
                <a:uFillTx/>
                <a:latin typeface="メイリオ" panose="020B0604030504040204" pitchFamily="50" charset="-128"/>
                <a:ea typeface="メイリオ" panose="020B0604030504040204" pitchFamily="50" charset="-128"/>
                <a:cs typeface="+mn-cs"/>
              </a:rPr>
              <a:t>の企業・自治体・団体等と協力し、国民・消費者の行動変容、</a:t>
            </a:r>
            <a:endParaRPr kumimoji="0" lang="en-US" altLang="ja-JP" b="1" i="0" u="none" strike="noStrike" kern="1200" cap="none" spc="0" normalizeH="0" baseline="0" noProof="0" dirty="0">
              <a:ln>
                <a:noFill/>
              </a:ln>
              <a:solidFill>
                <a:srgbClr val="009C89">
                  <a:lumMod val="75000"/>
                </a:srgbClr>
              </a:solidFill>
              <a:effectLst/>
              <a:uLnTx/>
              <a:uFillTx/>
              <a:latin typeface="メイリオ" panose="020B0604030504040204" pitchFamily="50" charset="-128"/>
              <a:ea typeface="メイリオ" panose="020B0604030504040204" pitchFamily="50" charset="-128"/>
              <a:cs typeface="+mn-cs"/>
            </a:endParaRPr>
          </a:p>
          <a:p>
            <a:pPr marL="0" marR="0" lvl="0" indent="0" algn="l" defTabSz="447663" rtl="0" eaLnBrk="1" fontAlgn="auto" latinLnBrk="0" hangingPunct="1">
              <a:lnSpc>
                <a:spcPts val="1800"/>
              </a:lnSpc>
              <a:spcBef>
                <a:spcPts val="0"/>
              </a:spcBef>
              <a:spcAft>
                <a:spcPts val="0"/>
              </a:spcAft>
              <a:buClrTx/>
              <a:buSzTx/>
              <a:buFontTx/>
              <a:buNone/>
              <a:tabLst/>
              <a:defRPr/>
            </a:pPr>
            <a:r>
              <a:rPr kumimoji="0" lang="ja-JP" altLang="en-US" b="1" i="0" u="none" strike="noStrike" kern="1200" cap="none" spc="0" normalizeH="0" baseline="0" noProof="0" dirty="0">
                <a:ln>
                  <a:noFill/>
                </a:ln>
                <a:solidFill>
                  <a:srgbClr val="009C89">
                    <a:lumMod val="75000"/>
                  </a:srgbClr>
                </a:solidFill>
                <a:effectLst/>
                <a:uLnTx/>
                <a:uFillTx/>
                <a:latin typeface="メイリオ" panose="020B0604030504040204" pitchFamily="50" charset="-128"/>
                <a:ea typeface="メイリオ" panose="020B0604030504040204" pitchFamily="50" charset="-128"/>
                <a:cs typeface="+mn-cs"/>
              </a:rPr>
              <a:t>ライフスタイル転換を後押しし、</a:t>
            </a:r>
            <a:r>
              <a:rPr kumimoji="0" lang="ja-JP" altLang="en-US" b="1" i="0" u="heavy" strike="noStrike" kern="1200" cap="none" spc="0" normalizeH="0" baseline="0" noProof="0" dirty="0">
                <a:ln>
                  <a:noFill/>
                </a:ln>
                <a:solidFill>
                  <a:srgbClr val="FF0000"/>
                </a:solidFill>
                <a:effectLst/>
                <a:uLnTx/>
                <a:uFillTx/>
                <a:latin typeface="メイリオ" panose="020B0604030504040204" pitchFamily="50" charset="-128"/>
                <a:ea typeface="メイリオ" panose="020B0604030504040204" pitchFamily="50" charset="-128"/>
                <a:cs typeface="+mn-cs"/>
              </a:rPr>
              <a:t>脱炭素製品・サービス等の需要を強力に創出</a:t>
            </a:r>
            <a:endParaRPr kumimoji="0" lang="ja-JP" altLang="en-US" b="0" i="0" u="heavy" strike="noStrike" kern="1200" cap="none" spc="0" normalizeH="0" baseline="0" noProof="0" dirty="0">
              <a:ln>
                <a:noFill/>
              </a:ln>
              <a:solidFill>
                <a:srgbClr val="FF0000"/>
              </a:solidFill>
              <a:effectLst/>
              <a:uLnTx/>
              <a:uFillTx/>
              <a:latin typeface="Meiryo UI"/>
              <a:ea typeface="Meiryo UI"/>
              <a:cs typeface="+mn-cs"/>
            </a:endParaRPr>
          </a:p>
        </p:txBody>
      </p:sp>
      <p:sp>
        <p:nvSpPr>
          <p:cNvPr id="29" name="正方形/長方形 28">
            <a:extLst>
              <a:ext uri="{FF2B5EF4-FFF2-40B4-BE49-F238E27FC236}">
                <a16:creationId xmlns:a16="http://schemas.microsoft.com/office/drawing/2014/main" id="{6BF922D8-2D31-FE5A-CA66-25E5A689089F}"/>
              </a:ext>
            </a:extLst>
          </p:cNvPr>
          <p:cNvSpPr/>
          <p:nvPr/>
        </p:nvSpPr>
        <p:spPr>
          <a:xfrm>
            <a:off x="92136" y="3347909"/>
            <a:ext cx="1050606" cy="576000"/>
          </a:xfrm>
          <a:prstGeom prst="rect">
            <a:avLst/>
          </a:prstGeom>
          <a:solidFill>
            <a:schemeClr val="tx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r>
              <a:rPr kumimoji="0" lang="ja-JP" altLang="en-US" sz="1959"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愛称</a:t>
            </a:r>
            <a:endParaRPr kumimoji="0" lang="en-US" altLang="ja-JP" sz="1959"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5" name="正方形/長方形 14">
            <a:extLst>
              <a:ext uri="{FF2B5EF4-FFF2-40B4-BE49-F238E27FC236}">
                <a16:creationId xmlns:a16="http://schemas.microsoft.com/office/drawing/2014/main" id="{D7FCE3D3-5E41-E289-5C16-147E077C7266}"/>
              </a:ext>
            </a:extLst>
          </p:cNvPr>
          <p:cNvSpPr/>
          <p:nvPr/>
        </p:nvSpPr>
        <p:spPr>
          <a:xfrm>
            <a:off x="96304" y="3938705"/>
            <a:ext cx="1041616" cy="2333628"/>
          </a:xfrm>
          <a:prstGeom prst="rect">
            <a:avLst/>
          </a:prstGeom>
          <a:solidFill>
            <a:schemeClr val="tx2"/>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r>
              <a:rPr kumimoji="0" lang="ja-JP" altLang="en-US" sz="1959"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普及浸透</a:t>
            </a:r>
            <a:endParaRPr kumimoji="0" lang="en-US" altLang="ja-JP" sz="1959"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ja-JP" altLang="en-US" sz="1959"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a:t>
            </a:r>
            <a:endParaRPr kumimoji="0" lang="en-US" altLang="ja-JP" sz="1959"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ja-JP" altLang="en-US" sz="1959"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実践</a:t>
            </a:r>
            <a:endParaRPr kumimoji="0" lang="en-US" altLang="ja-JP" sz="1959"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6" name="矢印: 右 15">
            <a:extLst>
              <a:ext uri="{FF2B5EF4-FFF2-40B4-BE49-F238E27FC236}">
                <a16:creationId xmlns:a16="http://schemas.microsoft.com/office/drawing/2014/main" id="{071A0EDA-8F84-C22D-4101-003F4ECE940B}"/>
              </a:ext>
            </a:extLst>
          </p:cNvPr>
          <p:cNvSpPr/>
          <p:nvPr/>
        </p:nvSpPr>
        <p:spPr>
          <a:xfrm>
            <a:off x="258725" y="6359053"/>
            <a:ext cx="567356" cy="407425"/>
          </a:xfrm>
          <a:prstGeom prst="rightArrow">
            <a:avLst/>
          </a:prstGeom>
          <a:solidFill>
            <a:schemeClr val="tx2">
              <a:lumMod val="75000"/>
            </a:schemeClr>
          </a:solidFill>
          <a:ln/>
        </p:spPr>
        <p:style>
          <a:lnRef idx="1">
            <a:schemeClr val="accent3"/>
          </a:lnRef>
          <a:fillRef idx="3">
            <a:schemeClr val="accent3"/>
          </a:fillRef>
          <a:effectRef idx="2">
            <a:schemeClr val="accent3"/>
          </a:effectRef>
          <a:fontRef idx="minor">
            <a:schemeClr val="lt1"/>
          </a:fontRef>
        </p:style>
        <p:txBody>
          <a:bodyPr lIns="0" tIns="0" rIns="0" bIns="0"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endParaRPr kumimoji="0" lang="ja-JP" altLang="en-US" sz="1567"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 name="テキスト ボックス 2">
            <a:extLst>
              <a:ext uri="{FF2B5EF4-FFF2-40B4-BE49-F238E27FC236}">
                <a16:creationId xmlns:a16="http://schemas.microsoft.com/office/drawing/2014/main" id="{4F8EC60F-B6B3-7B40-B2D5-D9E87BBF3BDF}"/>
              </a:ext>
            </a:extLst>
          </p:cNvPr>
          <p:cNvSpPr txBox="1"/>
          <p:nvPr/>
        </p:nvSpPr>
        <p:spPr>
          <a:xfrm>
            <a:off x="4223222" y="2880596"/>
            <a:ext cx="1150969" cy="4832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西村</a:t>
            </a:r>
            <a:endParaRPr kumimoji="1"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環境大臣</a:t>
            </a:r>
            <a:r>
              <a:rPr kumimoji="1" lang="en-US" altLang="ja-JP" sz="800" b="0" i="0" u="none" strike="noStrike" kern="1200" cap="none" spc="0" normalizeH="0" baseline="0" noProof="0" dirty="0">
                <a:ln>
                  <a:noFill/>
                </a:ln>
                <a:solidFill>
                  <a:prstClr val="white"/>
                </a:solidFill>
                <a:effectLst/>
                <a:uLnTx/>
                <a:uFillTx/>
                <a:latin typeface="Meiryo UI"/>
                <a:ea typeface="Meiryo UI"/>
                <a:cs typeface="+mn-cs"/>
              </a:rPr>
              <a:t>(</a:t>
            </a:r>
            <a:r>
              <a:rPr kumimoji="1" lang="ja-JP" altLang="en-US" sz="800" b="0" i="0" u="none" strike="noStrike" kern="1200" cap="none" spc="0" normalizeH="0" baseline="0" noProof="0" dirty="0">
                <a:ln>
                  <a:noFill/>
                </a:ln>
                <a:solidFill>
                  <a:prstClr val="white"/>
                </a:solidFill>
                <a:effectLst/>
                <a:uLnTx/>
                <a:uFillTx/>
                <a:latin typeface="Meiryo UI"/>
                <a:ea typeface="Meiryo UI"/>
                <a:cs typeface="+mn-cs"/>
              </a:rPr>
              <a:t>当時</a:t>
            </a:r>
            <a:r>
              <a:rPr kumimoji="1" lang="en-US" altLang="ja-JP" sz="800" b="0" i="0" u="none" strike="noStrike" kern="1200" cap="none" spc="0" normalizeH="0" baseline="0" noProof="0" dirty="0">
                <a:ln>
                  <a:noFill/>
                </a:ln>
                <a:solidFill>
                  <a:prstClr val="white"/>
                </a:solidFill>
                <a:effectLst/>
                <a:uLnTx/>
                <a:uFillTx/>
                <a:latin typeface="Meiryo UI"/>
                <a:ea typeface="Meiryo UI"/>
                <a:cs typeface="+mn-cs"/>
              </a:rPr>
              <a:t>)</a:t>
            </a:r>
            <a:endParaRPr kumimoji="1" lang="ja-JP" altLang="en-US" sz="800" b="0" i="0" u="none" strike="noStrike" kern="1200" cap="none" spc="0" normalizeH="0" baseline="0" noProof="0" dirty="0">
              <a:ln>
                <a:noFill/>
              </a:ln>
              <a:solidFill>
                <a:prstClr val="white"/>
              </a:solidFill>
              <a:effectLst/>
              <a:uLnTx/>
              <a:uFillTx/>
              <a:latin typeface="Meiryo UI"/>
              <a:ea typeface="Meiryo UI"/>
              <a:cs typeface="+mn-cs"/>
            </a:endParaRPr>
          </a:p>
        </p:txBody>
      </p:sp>
      <p:sp>
        <p:nvSpPr>
          <p:cNvPr id="4" name="テキスト ボックス 3">
            <a:extLst>
              <a:ext uri="{FF2B5EF4-FFF2-40B4-BE49-F238E27FC236}">
                <a16:creationId xmlns:a16="http://schemas.microsoft.com/office/drawing/2014/main" id="{E6B9747F-14DF-BEB5-D32A-1B3C0E0FE75A}"/>
              </a:ext>
            </a:extLst>
          </p:cNvPr>
          <p:cNvSpPr txBox="1"/>
          <p:nvPr/>
        </p:nvSpPr>
        <p:spPr>
          <a:xfrm>
            <a:off x="5289332" y="2863947"/>
            <a:ext cx="1150969" cy="4832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十倉</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経団連会長</a:t>
            </a:r>
            <a:endParaRPr kumimoji="1" lang="ja-JP" altLang="en-US" sz="1270" b="0" i="0" u="none" strike="noStrike" kern="1200" cap="none" spc="0" normalizeH="0" baseline="0" noProof="0" dirty="0">
              <a:ln>
                <a:noFill/>
              </a:ln>
              <a:solidFill>
                <a:prstClr val="white"/>
              </a:solidFill>
              <a:effectLst/>
              <a:uLnTx/>
              <a:uFillTx/>
              <a:latin typeface="Meiryo UI"/>
              <a:ea typeface="Meiryo UI"/>
              <a:cs typeface="+mn-cs"/>
            </a:endParaRPr>
          </a:p>
        </p:txBody>
      </p:sp>
      <p:sp>
        <p:nvSpPr>
          <p:cNvPr id="5" name="テキスト ボックス 4">
            <a:extLst>
              <a:ext uri="{FF2B5EF4-FFF2-40B4-BE49-F238E27FC236}">
                <a16:creationId xmlns:a16="http://schemas.microsoft.com/office/drawing/2014/main" id="{52FE626E-8284-4A03-56B4-D3BAD811D791}"/>
              </a:ext>
            </a:extLst>
          </p:cNvPr>
          <p:cNvSpPr txBox="1"/>
          <p:nvPr/>
        </p:nvSpPr>
        <p:spPr>
          <a:xfrm>
            <a:off x="6118426" y="2686580"/>
            <a:ext cx="1150969" cy="67864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道場</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六三郎</a:t>
            </a:r>
            <a:endParaRPr kumimoji="1"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さん</a:t>
            </a:r>
          </a:p>
        </p:txBody>
      </p:sp>
      <p:sp>
        <p:nvSpPr>
          <p:cNvPr id="6" name="テキスト ボックス 5">
            <a:extLst>
              <a:ext uri="{FF2B5EF4-FFF2-40B4-BE49-F238E27FC236}">
                <a16:creationId xmlns:a16="http://schemas.microsoft.com/office/drawing/2014/main" id="{FACCB530-7701-7AD8-9272-90E598F9A058}"/>
              </a:ext>
            </a:extLst>
          </p:cNvPr>
          <p:cNvSpPr txBox="1"/>
          <p:nvPr/>
        </p:nvSpPr>
        <p:spPr>
          <a:xfrm>
            <a:off x="3202924" y="2860562"/>
            <a:ext cx="1150969" cy="48320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小池</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都知事</a:t>
            </a:r>
          </a:p>
        </p:txBody>
      </p:sp>
      <p:sp>
        <p:nvSpPr>
          <p:cNvPr id="7" name="テキスト ボックス 6">
            <a:extLst>
              <a:ext uri="{FF2B5EF4-FFF2-40B4-BE49-F238E27FC236}">
                <a16:creationId xmlns:a16="http://schemas.microsoft.com/office/drawing/2014/main" id="{CE8AE07F-90B3-501E-B8D0-CBF8048F2201}"/>
              </a:ext>
            </a:extLst>
          </p:cNvPr>
          <p:cNvSpPr txBox="1"/>
          <p:nvPr/>
        </p:nvSpPr>
        <p:spPr>
          <a:xfrm>
            <a:off x="2385355" y="2678291"/>
            <a:ext cx="1150969" cy="67864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俵</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万智</a:t>
            </a:r>
            <a:endParaRPr kumimoji="1"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さん</a:t>
            </a:r>
          </a:p>
        </p:txBody>
      </p:sp>
      <p:sp>
        <p:nvSpPr>
          <p:cNvPr id="8" name="テキスト ボックス 7">
            <a:extLst>
              <a:ext uri="{FF2B5EF4-FFF2-40B4-BE49-F238E27FC236}">
                <a16:creationId xmlns:a16="http://schemas.microsoft.com/office/drawing/2014/main" id="{7E644575-FFA0-E05D-7256-6361C437CE38}"/>
              </a:ext>
            </a:extLst>
          </p:cNvPr>
          <p:cNvSpPr txBox="1"/>
          <p:nvPr/>
        </p:nvSpPr>
        <p:spPr>
          <a:xfrm>
            <a:off x="6704828" y="2633152"/>
            <a:ext cx="1150969" cy="67864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髙橋</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尚子</a:t>
            </a:r>
            <a:endParaRPr kumimoji="1"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さん</a:t>
            </a:r>
          </a:p>
        </p:txBody>
      </p:sp>
      <p:sp>
        <p:nvSpPr>
          <p:cNvPr id="9" name="テキスト ボックス 8">
            <a:extLst>
              <a:ext uri="{FF2B5EF4-FFF2-40B4-BE49-F238E27FC236}">
                <a16:creationId xmlns:a16="http://schemas.microsoft.com/office/drawing/2014/main" id="{BD9108C3-E601-AB63-91B6-30DC2D8D915E}"/>
              </a:ext>
            </a:extLst>
          </p:cNvPr>
          <p:cNvSpPr txBox="1"/>
          <p:nvPr/>
        </p:nvSpPr>
        <p:spPr>
          <a:xfrm>
            <a:off x="1142742" y="2493548"/>
            <a:ext cx="1355304" cy="28777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サンドウィッチマン</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p:txBody>
      </p:sp>
      <p:sp>
        <p:nvSpPr>
          <p:cNvPr id="11" name="テキスト ボックス 10">
            <a:extLst>
              <a:ext uri="{FF2B5EF4-FFF2-40B4-BE49-F238E27FC236}">
                <a16:creationId xmlns:a16="http://schemas.microsoft.com/office/drawing/2014/main" id="{E6D30543-75C6-A4CE-DD03-2FE8B1D54B9B}"/>
              </a:ext>
            </a:extLst>
          </p:cNvPr>
          <p:cNvSpPr txBox="1"/>
          <p:nvPr/>
        </p:nvSpPr>
        <p:spPr>
          <a:xfrm>
            <a:off x="826081" y="2686580"/>
            <a:ext cx="1150969" cy="67864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伊達</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みきお</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さん</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p:txBody>
      </p:sp>
      <p:sp>
        <p:nvSpPr>
          <p:cNvPr id="14" name="テキスト ボックス 13">
            <a:extLst>
              <a:ext uri="{FF2B5EF4-FFF2-40B4-BE49-F238E27FC236}">
                <a16:creationId xmlns:a16="http://schemas.microsoft.com/office/drawing/2014/main" id="{6243AC74-1C05-C118-445B-5C3C6A7507E8}"/>
              </a:ext>
            </a:extLst>
          </p:cNvPr>
          <p:cNvSpPr txBox="1"/>
          <p:nvPr/>
        </p:nvSpPr>
        <p:spPr>
          <a:xfrm>
            <a:off x="1673078" y="2669106"/>
            <a:ext cx="1150969" cy="67864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富澤</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たけし</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さん</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p:txBody>
      </p:sp>
      <p:sp>
        <p:nvSpPr>
          <p:cNvPr id="17" name="テキスト ボックス 16">
            <a:extLst>
              <a:ext uri="{FF2B5EF4-FFF2-40B4-BE49-F238E27FC236}">
                <a16:creationId xmlns:a16="http://schemas.microsoft.com/office/drawing/2014/main" id="{182E96A4-1CA7-170C-E94F-F1AAD505D836}"/>
              </a:ext>
            </a:extLst>
          </p:cNvPr>
          <p:cNvSpPr txBox="1"/>
          <p:nvPr/>
        </p:nvSpPr>
        <p:spPr>
          <a:xfrm>
            <a:off x="110515" y="2688752"/>
            <a:ext cx="1150969" cy="67864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上白石</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萌音</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70" b="0" i="0" u="none" strike="noStrike" kern="1200" cap="none" spc="0" normalizeH="0" baseline="0" noProof="0" dirty="0">
                <a:ln>
                  <a:noFill/>
                </a:ln>
                <a:solidFill>
                  <a:prstClr val="white"/>
                </a:solidFill>
                <a:effectLst/>
                <a:uLnTx/>
                <a:uFillTx/>
                <a:latin typeface="Meiryo UI"/>
                <a:ea typeface="Meiryo UI"/>
                <a:cs typeface="+mn-cs"/>
              </a:rPr>
              <a:t>さん</a:t>
            </a:r>
            <a:endParaRPr kumimoji="0" lang="en-US" altLang="ja-JP" sz="1270" b="0" i="0" u="none" strike="noStrike" kern="1200" cap="none" spc="0" normalizeH="0" baseline="0" noProof="0" dirty="0">
              <a:ln>
                <a:noFill/>
              </a:ln>
              <a:solidFill>
                <a:prstClr val="white"/>
              </a:solidFill>
              <a:effectLst/>
              <a:uLnTx/>
              <a:uFillTx/>
              <a:latin typeface="Meiryo UI"/>
              <a:ea typeface="Meiryo UI"/>
              <a:cs typeface="+mn-cs"/>
            </a:endParaRPr>
          </a:p>
        </p:txBody>
      </p:sp>
      <p:sp>
        <p:nvSpPr>
          <p:cNvPr id="18" name="テキスト ボックス 17">
            <a:extLst>
              <a:ext uri="{FF2B5EF4-FFF2-40B4-BE49-F238E27FC236}">
                <a16:creationId xmlns:a16="http://schemas.microsoft.com/office/drawing/2014/main" id="{758F73C1-7478-5E48-E767-524BB244B4C4}"/>
              </a:ext>
            </a:extLst>
          </p:cNvPr>
          <p:cNvSpPr txBox="1"/>
          <p:nvPr/>
        </p:nvSpPr>
        <p:spPr>
          <a:xfrm>
            <a:off x="7233882" y="2659866"/>
            <a:ext cx="1150969" cy="67864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桝</a:t>
            </a:r>
            <a:endParaRPr kumimoji="1"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太一</a:t>
            </a:r>
            <a:endParaRPr kumimoji="1"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さん</a:t>
            </a:r>
          </a:p>
        </p:txBody>
      </p:sp>
      <p:sp>
        <p:nvSpPr>
          <p:cNvPr id="20" name="テキスト ボックス 19">
            <a:extLst>
              <a:ext uri="{FF2B5EF4-FFF2-40B4-BE49-F238E27FC236}">
                <a16:creationId xmlns:a16="http://schemas.microsoft.com/office/drawing/2014/main" id="{F403D014-D99D-77DD-6244-482817BC2188}"/>
              </a:ext>
            </a:extLst>
          </p:cNvPr>
          <p:cNvSpPr txBox="1"/>
          <p:nvPr/>
        </p:nvSpPr>
        <p:spPr>
          <a:xfrm>
            <a:off x="7794680" y="2652943"/>
            <a:ext cx="1150969" cy="67864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足立</a:t>
            </a:r>
            <a:endParaRPr kumimoji="1"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梨花</a:t>
            </a:r>
            <a:endParaRPr kumimoji="1"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さん</a:t>
            </a:r>
          </a:p>
        </p:txBody>
      </p:sp>
      <p:sp>
        <p:nvSpPr>
          <p:cNvPr id="21" name="テキスト ボックス 20">
            <a:extLst>
              <a:ext uri="{FF2B5EF4-FFF2-40B4-BE49-F238E27FC236}">
                <a16:creationId xmlns:a16="http://schemas.microsoft.com/office/drawing/2014/main" id="{2AB5CF41-7818-3BD9-6073-9C9830AC54F5}"/>
              </a:ext>
            </a:extLst>
          </p:cNvPr>
          <p:cNvSpPr txBox="1"/>
          <p:nvPr/>
        </p:nvSpPr>
        <p:spPr>
          <a:xfrm>
            <a:off x="8522090" y="2633152"/>
            <a:ext cx="1150969" cy="67864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田牧</a:t>
            </a:r>
            <a:endParaRPr kumimoji="1"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そら</a:t>
            </a:r>
            <a:endParaRPr kumimoji="1" lang="en-US" altLang="ja-JP" sz="1270" b="0" i="0" u="none" strike="noStrike" kern="1200" cap="none" spc="0" normalizeH="0" baseline="0" noProof="0" dirty="0">
              <a:ln>
                <a:noFill/>
              </a:ln>
              <a:solidFill>
                <a:prstClr val="white"/>
              </a:solidFill>
              <a:effectLst/>
              <a:uLnTx/>
              <a:uFillTx/>
              <a:latin typeface="Meiryo UI"/>
              <a:ea typeface="Meiryo UI"/>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70" b="0" i="0" u="none" strike="noStrike" kern="1200" cap="none" spc="0" normalizeH="0" baseline="0" noProof="0" dirty="0">
                <a:ln>
                  <a:noFill/>
                </a:ln>
                <a:solidFill>
                  <a:prstClr val="white"/>
                </a:solidFill>
                <a:effectLst/>
                <a:uLnTx/>
                <a:uFillTx/>
                <a:latin typeface="Meiryo UI"/>
                <a:ea typeface="Meiryo UI"/>
                <a:cs typeface="+mn-cs"/>
              </a:rPr>
              <a:t>さん</a:t>
            </a:r>
          </a:p>
        </p:txBody>
      </p:sp>
      <p:pic>
        <p:nvPicPr>
          <p:cNvPr id="25" name="図 24">
            <a:extLst>
              <a:ext uri="{FF2B5EF4-FFF2-40B4-BE49-F238E27FC236}">
                <a16:creationId xmlns:a16="http://schemas.microsoft.com/office/drawing/2014/main" id="{DECE8B8B-4F1C-E4D2-D76E-7F84E65CE0A8}"/>
              </a:ext>
            </a:extLst>
          </p:cNvPr>
          <p:cNvPicPr>
            <a:picLocks noChangeAspect="1"/>
          </p:cNvPicPr>
          <p:nvPr/>
        </p:nvPicPr>
        <p:blipFill>
          <a:blip r:embed="rId3"/>
          <a:stretch>
            <a:fillRect/>
          </a:stretch>
        </p:blipFill>
        <p:spPr>
          <a:xfrm>
            <a:off x="1534233" y="4191856"/>
            <a:ext cx="3889593" cy="1465964"/>
          </a:xfrm>
          <a:prstGeom prst="rect">
            <a:avLst/>
          </a:prstGeom>
        </p:spPr>
      </p:pic>
      <p:grpSp>
        <p:nvGrpSpPr>
          <p:cNvPr id="40" name="グループ化 39">
            <a:extLst>
              <a:ext uri="{FF2B5EF4-FFF2-40B4-BE49-F238E27FC236}">
                <a16:creationId xmlns:a16="http://schemas.microsoft.com/office/drawing/2014/main" id="{988AB778-E36C-3945-5A97-1BDF459DFBE9}"/>
              </a:ext>
            </a:extLst>
          </p:cNvPr>
          <p:cNvGrpSpPr/>
          <p:nvPr/>
        </p:nvGrpSpPr>
        <p:grpSpPr>
          <a:xfrm>
            <a:off x="5237626" y="4003919"/>
            <a:ext cx="5603176" cy="2209261"/>
            <a:chOff x="-148097" y="3111068"/>
            <a:chExt cx="9391601" cy="3360830"/>
          </a:xfrm>
        </p:grpSpPr>
        <p:sp>
          <p:nvSpPr>
            <p:cNvPr id="41" name="テキスト ボックス 40">
              <a:extLst>
                <a:ext uri="{FF2B5EF4-FFF2-40B4-BE49-F238E27FC236}">
                  <a16:creationId xmlns:a16="http://schemas.microsoft.com/office/drawing/2014/main" id="{357BBD97-F09D-A875-9690-52FAC3D9E249}"/>
                </a:ext>
              </a:extLst>
            </p:cNvPr>
            <p:cNvSpPr txBox="1"/>
            <p:nvPr/>
          </p:nvSpPr>
          <p:spPr>
            <a:xfrm>
              <a:off x="42917" y="3889693"/>
              <a:ext cx="9186005" cy="702306"/>
            </a:xfrm>
            <a:prstGeom prst="rect">
              <a:avLst/>
            </a:prstGeom>
            <a:noFill/>
            <a:ln>
              <a:noFill/>
            </a:ln>
          </p:spPr>
          <p:txBody>
            <a:bodyPr wrap="squar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2400" b="1" i="0" u="none" strike="noStrike" kern="1200" cap="none" spc="0" normalizeH="0" baseline="0" noProof="0" dirty="0">
                  <a:ln>
                    <a:noFill/>
                  </a:ln>
                  <a:solidFill>
                    <a:srgbClr val="0070C0"/>
                  </a:solidFill>
                  <a:effectLst/>
                  <a:uLnTx/>
                  <a:uFillTx/>
                  <a:latin typeface="Meiryo UI"/>
                  <a:ea typeface="Meiryo UI"/>
                  <a:cs typeface="+mn-cs"/>
                </a:rPr>
                <a:t>電気も省エネ　断熱住宅</a:t>
              </a:r>
            </a:p>
          </p:txBody>
        </p:sp>
        <p:sp>
          <p:nvSpPr>
            <p:cNvPr id="42" name="テキスト ボックス 41">
              <a:extLst>
                <a:ext uri="{FF2B5EF4-FFF2-40B4-BE49-F238E27FC236}">
                  <a16:creationId xmlns:a16="http://schemas.microsoft.com/office/drawing/2014/main" id="{BD48135C-A995-18D0-288B-E395914D8779}"/>
                </a:ext>
              </a:extLst>
            </p:cNvPr>
            <p:cNvSpPr txBox="1"/>
            <p:nvPr/>
          </p:nvSpPr>
          <p:spPr>
            <a:xfrm>
              <a:off x="57499" y="4527914"/>
              <a:ext cx="9186005" cy="702306"/>
            </a:xfrm>
            <a:prstGeom prst="rect">
              <a:avLst/>
            </a:prstGeom>
            <a:noFill/>
            <a:ln>
              <a:noFill/>
            </a:ln>
          </p:spPr>
          <p:txBody>
            <a:bodyPr wrap="squar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2400" b="1" i="0" u="none" strike="noStrike" kern="1200" cap="none" spc="0" normalizeH="0" baseline="0" noProof="0" dirty="0">
                  <a:ln>
                    <a:noFill/>
                  </a:ln>
                  <a:solidFill>
                    <a:srgbClr val="548235"/>
                  </a:solidFill>
                  <a:effectLst/>
                  <a:uLnTx/>
                  <a:uFillTx/>
                  <a:latin typeface="Meiryo UI"/>
                  <a:ea typeface="Meiryo UI"/>
                  <a:cs typeface="+mn-cs"/>
                </a:rPr>
                <a:t>こだわる楽しさ　エコグッズ</a:t>
              </a:r>
            </a:p>
          </p:txBody>
        </p:sp>
        <p:sp>
          <p:nvSpPr>
            <p:cNvPr id="43" name="テキスト ボックス 42">
              <a:extLst>
                <a:ext uri="{FF2B5EF4-FFF2-40B4-BE49-F238E27FC236}">
                  <a16:creationId xmlns:a16="http://schemas.microsoft.com/office/drawing/2014/main" id="{2E63018F-C8F0-FD17-6446-6FCBA3C7781D}"/>
                </a:ext>
              </a:extLst>
            </p:cNvPr>
            <p:cNvSpPr txBox="1"/>
            <p:nvPr/>
          </p:nvSpPr>
          <p:spPr>
            <a:xfrm>
              <a:off x="42910" y="5133799"/>
              <a:ext cx="9186005" cy="702306"/>
            </a:xfrm>
            <a:prstGeom prst="rect">
              <a:avLst/>
            </a:prstGeom>
            <a:noFill/>
            <a:ln>
              <a:noFill/>
            </a:ln>
          </p:spPr>
          <p:txBody>
            <a:bodyPr wrap="squar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2400" b="1" i="0" u="none" strike="noStrike" kern="1200" cap="none" spc="0" normalizeH="0" baseline="0" noProof="0" dirty="0">
                  <a:ln>
                    <a:noFill/>
                  </a:ln>
                  <a:solidFill>
                    <a:srgbClr val="C55A11"/>
                  </a:solidFill>
                  <a:effectLst/>
                  <a:uLnTx/>
                  <a:uFillTx/>
                  <a:latin typeface="Meiryo UI"/>
                  <a:ea typeface="Meiryo UI"/>
                  <a:cs typeface="+mn-cs"/>
                </a:rPr>
                <a:t>感謝の心　食べ残しゼロ</a:t>
              </a:r>
            </a:p>
          </p:txBody>
        </p:sp>
        <p:sp>
          <p:nvSpPr>
            <p:cNvPr id="44" name="テキスト ボックス 43">
              <a:extLst>
                <a:ext uri="{FF2B5EF4-FFF2-40B4-BE49-F238E27FC236}">
                  <a16:creationId xmlns:a16="http://schemas.microsoft.com/office/drawing/2014/main" id="{EDEB16C0-03CE-8BFA-01A2-20AD41087EAC}"/>
                </a:ext>
              </a:extLst>
            </p:cNvPr>
            <p:cNvSpPr txBox="1"/>
            <p:nvPr/>
          </p:nvSpPr>
          <p:spPr>
            <a:xfrm>
              <a:off x="-148097" y="5744263"/>
              <a:ext cx="9186001" cy="702306"/>
            </a:xfrm>
            <a:prstGeom prst="rect">
              <a:avLst/>
            </a:prstGeom>
            <a:noFill/>
            <a:ln>
              <a:noFill/>
            </a:ln>
          </p:spPr>
          <p:txBody>
            <a:bodyPr wrap="squar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Meiryo UI"/>
                  <a:ea typeface="Meiryo UI"/>
                  <a:cs typeface="+mn-cs"/>
                </a:rPr>
                <a:t>　　　　</a:t>
              </a:r>
              <a:r>
                <a:rPr kumimoji="1" lang="ja-JP" altLang="en-US" sz="2400" b="1" i="0" u="none" strike="noStrike" kern="1200" cap="none" spc="0" normalizeH="0" baseline="0" noProof="0" dirty="0">
                  <a:ln>
                    <a:noFill/>
                  </a:ln>
                  <a:solidFill>
                    <a:srgbClr val="7030A0"/>
                  </a:solidFill>
                  <a:effectLst/>
                  <a:uLnTx/>
                  <a:uFillTx/>
                  <a:latin typeface="Meiryo UI"/>
                  <a:ea typeface="Meiryo UI"/>
                  <a:cs typeface="+mn-cs"/>
                </a:rPr>
                <a:t>  つながるオフィス テレワーク</a:t>
              </a:r>
            </a:p>
          </p:txBody>
        </p:sp>
        <p:sp>
          <p:nvSpPr>
            <p:cNvPr id="45" name="楕円 44">
              <a:extLst>
                <a:ext uri="{FF2B5EF4-FFF2-40B4-BE49-F238E27FC236}">
                  <a16:creationId xmlns:a16="http://schemas.microsoft.com/office/drawing/2014/main" id="{07F27521-0A8C-D0FA-ECAF-C4B0684F74A9}"/>
                </a:ext>
              </a:extLst>
            </p:cNvPr>
            <p:cNvSpPr/>
            <p:nvPr/>
          </p:nvSpPr>
          <p:spPr>
            <a:xfrm>
              <a:off x="803304" y="3891996"/>
              <a:ext cx="728934" cy="672629"/>
            </a:xfrm>
            <a:prstGeom prst="ellipse">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Meiryo UI"/>
                  <a:ea typeface="Meiryo UI"/>
                  <a:cs typeface="+mn-cs"/>
                </a:rPr>
                <a:t>デ</a:t>
              </a:r>
            </a:p>
          </p:txBody>
        </p:sp>
        <p:sp>
          <p:nvSpPr>
            <p:cNvPr id="46" name="楕円 45">
              <a:extLst>
                <a:ext uri="{FF2B5EF4-FFF2-40B4-BE49-F238E27FC236}">
                  <a16:creationId xmlns:a16="http://schemas.microsoft.com/office/drawing/2014/main" id="{1C9E3509-E21E-EB34-1CFF-18E4A86F6D7F}"/>
                </a:ext>
              </a:extLst>
            </p:cNvPr>
            <p:cNvSpPr/>
            <p:nvPr/>
          </p:nvSpPr>
          <p:spPr>
            <a:xfrm>
              <a:off x="803305" y="4532085"/>
              <a:ext cx="728930" cy="643830"/>
            </a:xfrm>
            <a:prstGeom prst="ellipse">
              <a:avLst/>
            </a:prstGeom>
            <a:solidFill>
              <a:srgbClr val="54823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white"/>
                  </a:solidFill>
                  <a:effectLst/>
                  <a:uLnTx/>
                  <a:uFillTx/>
                  <a:latin typeface="Meiryo UI"/>
                  <a:ea typeface="Meiryo UI"/>
                  <a:cs typeface="+mn-cs"/>
                </a:rPr>
                <a:t>コ</a:t>
              </a:r>
            </a:p>
          </p:txBody>
        </p:sp>
        <p:sp>
          <p:nvSpPr>
            <p:cNvPr id="47" name="楕円 46">
              <a:extLst>
                <a:ext uri="{FF2B5EF4-FFF2-40B4-BE49-F238E27FC236}">
                  <a16:creationId xmlns:a16="http://schemas.microsoft.com/office/drawing/2014/main" id="{F9E80CE8-9780-5939-5245-A361123A8DF4}"/>
                </a:ext>
              </a:extLst>
            </p:cNvPr>
            <p:cNvSpPr/>
            <p:nvPr/>
          </p:nvSpPr>
          <p:spPr>
            <a:xfrm>
              <a:off x="803305" y="5147372"/>
              <a:ext cx="728930" cy="656743"/>
            </a:xfrm>
            <a:prstGeom prst="ellipse">
              <a:avLst/>
            </a:prstGeom>
            <a:solidFill>
              <a:srgbClr val="C55A1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Meiryo UI"/>
                  <a:ea typeface="Meiryo UI"/>
                  <a:cs typeface="+mn-cs"/>
                </a:rPr>
                <a:t>カ</a:t>
              </a:r>
            </a:p>
          </p:txBody>
        </p:sp>
        <p:sp>
          <p:nvSpPr>
            <p:cNvPr id="48" name="楕円 47">
              <a:extLst>
                <a:ext uri="{FF2B5EF4-FFF2-40B4-BE49-F238E27FC236}">
                  <a16:creationId xmlns:a16="http://schemas.microsoft.com/office/drawing/2014/main" id="{9E7CC5A9-06BF-1368-6286-756E94B9DEE9}"/>
                </a:ext>
              </a:extLst>
            </p:cNvPr>
            <p:cNvSpPr/>
            <p:nvPr/>
          </p:nvSpPr>
          <p:spPr>
            <a:xfrm>
              <a:off x="803304" y="5804115"/>
              <a:ext cx="728930" cy="667783"/>
            </a:xfrm>
            <a:prstGeom prst="ellipse">
              <a:avLst/>
            </a:prstGeom>
            <a:solidFill>
              <a:srgbClr val="7030A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white"/>
                  </a:solidFill>
                  <a:effectLst/>
                  <a:uLnTx/>
                  <a:uFillTx/>
                  <a:latin typeface="Meiryo UI"/>
                  <a:ea typeface="Meiryo UI"/>
                  <a:cs typeface="+mn-cs"/>
                </a:rPr>
                <a:t>ツ</a:t>
              </a:r>
            </a:p>
          </p:txBody>
        </p:sp>
        <p:sp>
          <p:nvSpPr>
            <p:cNvPr id="49" name="四角形: 角を丸くする 48">
              <a:extLst>
                <a:ext uri="{FF2B5EF4-FFF2-40B4-BE49-F238E27FC236}">
                  <a16:creationId xmlns:a16="http://schemas.microsoft.com/office/drawing/2014/main" id="{C0ECE237-B7AC-A356-F470-FDFB98C785BB}"/>
                </a:ext>
              </a:extLst>
            </p:cNvPr>
            <p:cNvSpPr/>
            <p:nvPr/>
          </p:nvSpPr>
          <p:spPr>
            <a:xfrm>
              <a:off x="866395" y="3111068"/>
              <a:ext cx="3690450" cy="703907"/>
            </a:xfrm>
            <a:prstGeom prst="roundRect">
              <a:avLst/>
            </a:prstGeom>
            <a:solidFill>
              <a:srgbClr val="0070C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dirty="0">
                  <a:ln>
                    <a:noFill/>
                  </a:ln>
                  <a:solidFill>
                    <a:prstClr val="white"/>
                  </a:solidFill>
                  <a:effectLst/>
                  <a:uLnTx/>
                  <a:uFillTx/>
                  <a:latin typeface="Meiryo UI"/>
                  <a:ea typeface="Meiryo UI"/>
                  <a:cs typeface="+mn-cs"/>
                </a:rPr>
                <a:t>デコ活アクション</a:t>
              </a:r>
            </a:p>
          </p:txBody>
        </p:sp>
        <p:sp>
          <p:nvSpPr>
            <p:cNvPr id="50" name="テキスト ボックス 49">
              <a:extLst>
                <a:ext uri="{FF2B5EF4-FFF2-40B4-BE49-F238E27FC236}">
                  <a16:creationId xmlns:a16="http://schemas.microsoft.com/office/drawing/2014/main" id="{FCBAFA6E-0B3A-7C99-820C-95480EAC602D}"/>
                </a:ext>
              </a:extLst>
            </p:cNvPr>
            <p:cNvSpPr txBox="1"/>
            <p:nvPr/>
          </p:nvSpPr>
          <p:spPr>
            <a:xfrm>
              <a:off x="4533694" y="3286264"/>
              <a:ext cx="3178252" cy="810900"/>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UI"/>
                  <a:ea typeface="Meiryo UI"/>
                  <a:cs typeface="+mn-cs"/>
                </a:rPr>
                <a:t>まずはここから</a:t>
              </a:r>
              <a:endParaRPr kumimoji="0" lang="ja-JP" altLang="en-US" sz="2000" b="0" i="0" u="none" strike="noStrike" kern="1200" cap="none" spc="0" normalizeH="0" baseline="0" noProof="0" dirty="0">
                <a:ln>
                  <a:noFill/>
                </a:ln>
                <a:solidFill>
                  <a:prstClr val="black"/>
                </a:solidFill>
                <a:effectLst/>
                <a:uLnTx/>
                <a:uFillTx/>
                <a:latin typeface="Meiryo UI"/>
                <a:ea typeface="Meiryo UI"/>
                <a:cs typeface="+mn-cs"/>
              </a:endParaRPr>
            </a:p>
          </p:txBody>
        </p:sp>
      </p:grpSp>
      <p:sp>
        <p:nvSpPr>
          <p:cNvPr id="22" name="正方形/長方形 21">
            <a:extLst>
              <a:ext uri="{FF2B5EF4-FFF2-40B4-BE49-F238E27FC236}">
                <a16:creationId xmlns:a16="http://schemas.microsoft.com/office/drawing/2014/main" id="{374DAF7F-3E50-7AD6-52DB-CA8A61BBD638}"/>
              </a:ext>
            </a:extLst>
          </p:cNvPr>
          <p:cNvSpPr/>
          <p:nvPr/>
        </p:nvSpPr>
        <p:spPr>
          <a:xfrm>
            <a:off x="1147147" y="3354244"/>
            <a:ext cx="8662549" cy="576000"/>
          </a:xfrm>
          <a:prstGeom prst="rect">
            <a:avLst/>
          </a:prstGeom>
          <a:solidFill>
            <a:schemeClr val="tx2">
              <a:lumMod val="75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47663" rtl="0" eaLnBrk="1" fontAlgn="auto" latinLnBrk="0" hangingPunct="1">
              <a:lnSpc>
                <a:spcPct val="100000"/>
              </a:lnSpc>
              <a:spcBef>
                <a:spcPts val="0"/>
              </a:spcBef>
              <a:spcAft>
                <a:spcPts val="0"/>
              </a:spcAft>
              <a:buClrTx/>
              <a:buSzTx/>
              <a:buFontTx/>
              <a:buNone/>
              <a:tabLst/>
              <a:defRPr/>
            </a:pPr>
            <a:r>
              <a:rPr kumimoji="0" lang="ja-JP" altLang="en-US" sz="1724"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国民に広く公募し（</a:t>
            </a:r>
            <a:r>
              <a:rPr kumimoji="0" lang="en-US" altLang="ja-JP" sz="1724"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8,200</a:t>
            </a:r>
            <a:r>
              <a:rPr kumimoji="0" lang="ja-JP" altLang="en-US" sz="1724"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件の応募）、愛称公募選定会議で</a:t>
            </a:r>
            <a:r>
              <a:rPr kumimoji="0" lang="ja-JP" altLang="en-US" sz="1861"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コ活」</a:t>
            </a:r>
            <a:r>
              <a:rPr kumimoji="0" lang="en-US" altLang="ja-JP" sz="1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724"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に決定</a:t>
            </a:r>
            <a:r>
              <a:rPr kumimoji="0" lang="ja-JP" altLang="en-US" sz="1371"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生みの親↑）</a:t>
            </a:r>
            <a:endParaRPr kumimoji="0" lang="en-US" altLang="ja-JP" sz="1371"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a:p>
            <a:pPr marL="0" marR="0" lvl="0" indent="0" algn="ctr" defTabSz="447663" rtl="0" eaLnBrk="1" fontAlgn="auto" latinLnBrk="0" hangingPunct="1">
              <a:lnSpc>
                <a:spcPct val="100000"/>
              </a:lnSpc>
              <a:spcBef>
                <a:spcPts val="0"/>
              </a:spcBef>
              <a:spcAft>
                <a:spcPts val="0"/>
              </a:spcAft>
              <a:buClrTx/>
              <a:buSzTx/>
              <a:buFontTx/>
              <a:buNone/>
              <a:tabLst/>
              <a:defRPr/>
            </a:pPr>
            <a:r>
              <a:rPr kumimoji="0" lang="en-US" altLang="ja-JP"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二酸化炭素</a:t>
            </a:r>
            <a:r>
              <a:rPr kumimoji="0" lang="en-US" altLang="ja-JP"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CO2)</a:t>
            </a:r>
            <a:r>
              <a:rPr kumimoji="0" lang="ja-JP" altLang="en-US"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を減らす</a:t>
            </a:r>
            <a:r>
              <a:rPr kumimoji="0" lang="en-US" altLang="ja-JP"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DE)</a:t>
            </a:r>
            <a:r>
              <a:rPr kumimoji="0" lang="ja-JP" altLang="en-US"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脱炭素</a:t>
            </a:r>
            <a:r>
              <a:rPr kumimoji="0" lang="en-US" altLang="ja-JP"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Decarbonization)</a:t>
            </a:r>
            <a:r>
              <a:rPr kumimoji="0" lang="ja-JP" altLang="en-US"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と、環境に良いエコ</a:t>
            </a:r>
            <a:r>
              <a:rPr kumimoji="0" lang="en-US" altLang="ja-JP"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Eco)</a:t>
            </a:r>
            <a:r>
              <a:rPr kumimoji="0" lang="ja-JP" altLang="en-US"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を含む</a:t>
            </a:r>
            <a:r>
              <a:rPr kumimoji="0" lang="en-US" altLang="ja-JP"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a:t>
            </a:r>
            <a:r>
              <a:rPr kumimoji="0" lang="ja-JP" altLang="en-US" sz="11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デコ“と活動・生活を組み合わせた新しい言葉</a:t>
            </a:r>
            <a:endParaRPr kumimoji="1" lang="ja-JP" altLang="en-US" sz="16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569096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pp2WbIjTzasUhxwbwMq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qFJNRHWVwAXWOu4tPH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5H7CgRxRRLMBTg_iVvk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_QUF5pjGgEUB4qmW6qK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mlPiQxFkYzTQSEz398A5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OTeX_VEY10YUPpIKoSxm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Jgji9MzvFiBM6NF1o_o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DcuCLaw0YFGa3VkhmKFF9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_yrvIn2XVI3ZO8FIlaBd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sPGn98z6o8.5tOotX4IWw"/>
</p:tagLst>
</file>

<file path=ppt/tags/tag23.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idEkWdWD.FYDSKj9sky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7cpIEQAR6UvOiUlAx0OwrA"/>
</p:tagLst>
</file>

<file path=ppt/tags/tag2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FHPyqZ1JQxDvke.8dox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zTrDnCbzbxRZSp6yNqqI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環境省template_A4横">
  <a:themeElements>
    <a:clrScheme name="環境省">
      <a:dk1>
        <a:sysClr val="windowText" lastClr="000000"/>
      </a:dk1>
      <a:lt1>
        <a:sysClr val="window" lastClr="FFFFFF"/>
      </a:lt1>
      <a:dk2>
        <a:srgbClr val="44546A"/>
      </a:dk2>
      <a:lt2>
        <a:srgbClr val="E7E6E6"/>
      </a:lt2>
      <a:accent1>
        <a:srgbClr val="00584E"/>
      </a:accent1>
      <a:accent2>
        <a:srgbClr val="008676"/>
      </a:accent2>
      <a:accent3>
        <a:srgbClr val="009C89"/>
      </a:accent3>
      <a:accent4>
        <a:srgbClr val="00C0A9"/>
      </a:accent4>
      <a:accent5>
        <a:srgbClr val="00B0F6"/>
      </a:accent5>
      <a:accent6>
        <a:srgbClr val="ED7D31"/>
      </a:accent6>
      <a:hlink>
        <a:srgbClr val="0563C1"/>
      </a:hlink>
      <a:folHlink>
        <a:srgbClr val="954F72"/>
      </a:folHlink>
    </a:clrScheme>
    <a:fontScheme name="ユーザー定義 2">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txDef>
      <a:spPr>
        <a:ln w="19050">
          <a:solidFill>
            <a:schemeClr val="tx2"/>
          </a:solidFill>
        </a:ln>
      </a:spPr>
      <a:bodyPr wrap="none" lIns="180000" tIns="180000" rIns="180000" bIns="144000" anchor="ctr" anchorCtr="0">
        <a:noAutofit/>
      </a:bodyPr>
      <a:lstStyle>
        <a:defPPr algn="l">
          <a:defRPr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00c355a-b01b-4953-b226-f68073d94c8f">
      <Terms xmlns="http://schemas.microsoft.com/office/infopath/2007/PartnerControls"/>
    </lcf76f155ced4ddcb4097134ff3c332f>
    <TaxCatchAll xmlns="bb21e1b2-9532-4896-ba9e-820afafc3499"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741FE881CC6E344ACA2B52FE3256B10" ma:contentTypeVersion="11" ma:contentTypeDescription="Create a new document." ma:contentTypeScope="" ma:versionID="9dead9c7bffef12470a64038f8cc208b">
  <xsd:schema xmlns:xsd="http://www.w3.org/2001/XMLSchema" xmlns:xs="http://www.w3.org/2001/XMLSchema" xmlns:p="http://schemas.microsoft.com/office/2006/metadata/properties" xmlns:ns2="100c355a-b01b-4953-b226-f68073d94c8f" xmlns:ns3="bb21e1b2-9532-4896-ba9e-820afafc3499" targetNamespace="http://schemas.microsoft.com/office/2006/metadata/properties" ma:root="true" ma:fieldsID="e56e5e0895f4558a2210756926a672d2" ns2:_="" ns3:_="">
    <xsd:import namespace="100c355a-b01b-4953-b226-f68073d94c8f"/>
    <xsd:import namespace="bb21e1b2-9532-4896-ba9e-820afafc3499"/>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Location"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0c355a-b01b-4953-b226-f68073d94c8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Location" ma:index="14" nillable="true" ma:displayName="Location" ma:indexed="true"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b21e1b2-9532-4896-ba9e-820afafc3499"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0635474d-2c46-471a-bc38-68d0affb9b5d}" ma:internalName="TaxCatchAll" ma:showField="CatchAllData" ma:web="bb21e1b2-9532-4896-ba9e-820afafc34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79CF5BE-644A-495A-92EC-82926CF6AE12}">
  <ds:schemaRefs>
    <ds:schemaRef ds:uri="http://schemas.microsoft.com/sharepoint/v3/contenttype/forms"/>
  </ds:schemaRefs>
</ds:datastoreItem>
</file>

<file path=customXml/itemProps2.xml><?xml version="1.0" encoding="utf-8"?>
<ds:datastoreItem xmlns:ds="http://schemas.openxmlformats.org/officeDocument/2006/customXml" ds:itemID="{7BE0462D-D50B-4F4D-9418-D1702AD8A21B}">
  <ds:schemaRefs>
    <ds:schemaRef ds:uri="http://schemas.openxmlformats.org/package/2006/metadata/core-properties"/>
    <ds:schemaRef ds:uri="http://schemas.microsoft.com/office/2006/documentManagement/types"/>
    <ds:schemaRef ds:uri="http://purl.org/dc/dcmitype/"/>
    <ds:schemaRef ds:uri="100c355a-b01b-4953-b226-f68073d94c8f"/>
    <ds:schemaRef ds:uri="http://schemas.microsoft.com/office/2006/metadata/properties"/>
    <ds:schemaRef ds:uri="http://schemas.microsoft.com/office/infopath/2007/PartnerControls"/>
    <ds:schemaRef ds:uri="bb21e1b2-9532-4896-ba9e-820afafc3499"/>
    <ds:schemaRef ds:uri="http://www.w3.org/XML/1998/namespace"/>
    <ds:schemaRef ds:uri="http://purl.org/dc/terms/"/>
    <ds:schemaRef ds:uri="http://purl.org/dc/elements/1.1/"/>
  </ds:schemaRefs>
</ds:datastoreItem>
</file>

<file path=customXml/itemProps3.xml><?xml version="1.0" encoding="utf-8"?>
<ds:datastoreItem xmlns:ds="http://schemas.openxmlformats.org/officeDocument/2006/customXml" ds:itemID="{C962A60A-1DB3-4F0D-B474-6642C0B974D8}">
  <ds:schemaRefs>
    <ds:schemaRef ds:uri="100c355a-b01b-4953-b226-f68073d94c8f"/>
    <ds:schemaRef ds:uri="bb21e1b2-9532-4896-ba9e-820afafc34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4649</TotalTime>
  <Words>3075</Words>
  <Application>Microsoft Office PowerPoint</Application>
  <PresentationFormat>A4 210 x 297 mm</PresentationFormat>
  <Paragraphs>331</Paragraphs>
  <Slides>22</Slides>
  <Notes>3</Notes>
  <HiddenSlides>0</HiddenSlides>
  <MMClips>0</MMClips>
  <ScaleCrop>false</ScaleCrop>
  <HeadingPairs>
    <vt:vector size="8" baseType="variant">
      <vt:variant>
        <vt:lpstr>使用されているフォント</vt:lpstr>
      </vt:variant>
      <vt:variant>
        <vt:i4>8</vt:i4>
      </vt:variant>
      <vt:variant>
        <vt:lpstr>テーマ</vt:lpstr>
      </vt:variant>
      <vt:variant>
        <vt:i4>8</vt:i4>
      </vt:variant>
      <vt:variant>
        <vt:lpstr>埋め込まれた OLE サーバー</vt:lpstr>
      </vt:variant>
      <vt:variant>
        <vt:i4>1</vt:i4>
      </vt:variant>
      <vt:variant>
        <vt:lpstr>スライド タイトル</vt:lpstr>
      </vt:variant>
      <vt:variant>
        <vt:i4>22</vt:i4>
      </vt:variant>
    </vt:vector>
  </HeadingPairs>
  <TitlesOfParts>
    <vt:vector size="39" baseType="lpstr">
      <vt:lpstr>Meiryo UI</vt:lpstr>
      <vt:lpstr>Meiryo</vt:lpstr>
      <vt:lpstr>Meiryo</vt:lpstr>
      <vt:lpstr>游ゴシック</vt:lpstr>
      <vt:lpstr>游ゴシック Light</vt:lpstr>
      <vt:lpstr>Arial</vt:lpstr>
      <vt:lpstr>Trebuchet MS</vt:lpstr>
      <vt:lpstr>Wingdings</vt:lpstr>
      <vt:lpstr>4_デザインの設定</vt:lpstr>
      <vt:lpstr>Office テーマ</vt:lpstr>
      <vt:lpstr>デザインの設定</vt:lpstr>
      <vt:lpstr>環境省template_A4横</vt:lpstr>
      <vt:lpstr>1_Office テーマ</vt:lpstr>
      <vt:lpstr>2_Office テーマ</vt:lpstr>
      <vt:lpstr>4_Office テーマ</vt:lpstr>
      <vt:lpstr>3_Office テーマ</vt:lpstr>
      <vt:lpstr>think-cell スライド</vt:lpstr>
      <vt:lpstr>デコ活 脱炭素につながる新しい豊かな暮らしを創る国民運動</vt:lpstr>
      <vt:lpstr>まずはこちらの動画を（高橋尚子さん）</vt:lpstr>
      <vt:lpstr>デコ活の背景（1/2）</vt:lpstr>
      <vt:lpstr>デコ活の背景（2/2）</vt:lpstr>
      <vt:lpstr>大阪市のCO2排出状況①</vt:lpstr>
      <vt:lpstr>大阪市のCO2排出状況➁</vt:lpstr>
      <vt:lpstr>「デコ活」（脱炭素につながる新しい豊かな暮らしを創る国民運動）とは</vt:lpstr>
      <vt:lpstr>デコ活の全体像（脱炭素につながる将来の豊かな暮らしの絵姿）</vt:lpstr>
      <vt:lpstr>新国民運動の愛称＝「デコ活」</vt:lpstr>
      <vt:lpstr>デコ活の内容</vt:lpstr>
      <vt:lpstr>デコ活応援団（新国民運動官民連携協議会）</vt:lpstr>
      <vt:lpstr>スモールグループの立ち上げ及びテーマ設定</vt:lpstr>
      <vt:lpstr>デコ活応援団の位置付け、機能</vt:lpstr>
      <vt:lpstr>「新しい豊かな暮らし」に向けた個別アクション</vt:lpstr>
      <vt:lpstr>住宅省エネ対策（断熱リフォーム）の推進</vt:lpstr>
      <vt:lpstr>「新しい豊かな暮らし」に向けた個別アクション</vt:lpstr>
      <vt:lpstr>クールビズ×サステナブルファッション、熱中症予防キャンペーン</vt:lpstr>
      <vt:lpstr>製品・サービス・取組の登録と発信</vt:lpstr>
      <vt:lpstr>【参考】官民連携実践プロジェクト・応援の場の支援のあり方</vt:lpstr>
      <vt:lpstr>【参考】　「デコ活」（脱炭素につながる新しい豊かな暮らしを創る国民運動）推進事業</vt:lpstr>
      <vt:lpstr>最後に</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MOE</dc:creator>
  <cp:lastModifiedBy>阪本 悠佑（YUSUKE SAKAMOTO）</cp:lastModifiedBy>
  <cp:revision>94</cp:revision>
  <cp:lastPrinted>2024-01-15T10:17:59Z</cp:lastPrinted>
  <dcterms:created xsi:type="dcterms:W3CDTF">2012-11-02T13:24:31Z</dcterms:created>
  <dcterms:modified xsi:type="dcterms:W3CDTF">2024-02-07T07:35: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3-04-07T01:07:26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3c3e3d6a-0dd9-40fe-8f77-1d4cc5a78fae</vt:lpwstr>
  </property>
  <property fmtid="{D5CDD505-2E9C-101B-9397-08002B2CF9AE}" pid="8" name="MSIP_Label_b0d5c4f4-7a29-4385-b7a5-afbe2154ae6f_ContentBits">
    <vt:lpwstr>0</vt:lpwstr>
  </property>
  <property fmtid="{D5CDD505-2E9C-101B-9397-08002B2CF9AE}" pid="9" name="bcgClassification">
    <vt:lpwstr>bcgConfidential</vt:lpwstr>
  </property>
  <property fmtid="{D5CDD505-2E9C-101B-9397-08002B2CF9AE}" pid="10" name="ContentTypeId">
    <vt:lpwstr>0x0101008741FE881CC6E344ACA2B52FE3256B10</vt:lpwstr>
  </property>
  <property fmtid="{D5CDD505-2E9C-101B-9397-08002B2CF9AE}" pid="11" name="MediaServiceImageTags">
    <vt:lpwstr/>
  </property>
</Properties>
</file>